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789" r:id="rId6"/>
  </p:sldMasterIdLst>
  <p:notesMasterIdLst>
    <p:notesMasterId r:id="rId21"/>
  </p:notesMasterIdLst>
  <p:handoutMasterIdLst>
    <p:handoutMasterId r:id="rId22"/>
  </p:handoutMasterIdLst>
  <p:sldIdLst>
    <p:sldId id="2134807290" r:id="rId7"/>
    <p:sldId id="287" r:id="rId8"/>
    <p:sldId id="2134807291" r:id="rId9"/>
    <p:sldId id="275" r:id="rId10"/>
    <p:sldId id="294" r:id="rId11"/>
    <p:sldId id="295" r:id="rId12"/>
    <p:sldId id="266" r:id="rId13"/>
    <p:sldId id="290" r:id="rId14"/>
    <p:sldId id="284" r:id="rId15"/>
    <p:sldId id="293" r:id="rId16"/>
    <p:sldId id="285" r:id="rId17"/>
    <p:sldId id="296" r:id="rId18"/>
    <p:sldId id="286" r:id="rId19"/>
    <p:sldId id="298"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mith, Meagan {PEP}" initials="SM{" lastIdx="26" clrIdx="0">
    <p:extLst>
      <p:ext uri="{19B8F6BF-5375-455C-9EA6-DF929625EA0E}">
        <p15:presenceInfo xmlns:p15="http://schemas.microsoft.com/office/powerpoint/2012/main" userId="S::Meagan.Smith@pepsico.com::330715a8-4d2f-4e72-b189-3d9c3c36dd13" providerId="AD"/>
      </p:ext>
    </p:extLst>
  </p:cmAuthor>
  <p:cmAuthor id="2" name="Kim, Wooyoung - Contractor {PEP}" initials="KW-C{" lastIdx="2" clrIdx="1">
    <p:extLst>
      <p:ext uri="{19B8F6BF-5375-455C-9EA6-DF929625EA0E}">
        <p15:presenceInfo xmlns:p15="http://schemas.microsoft.com/office/powerpoint/2012/main" userId="S::wooyoung.kim.contractor@pepsico.com::90e0b37e-577e-4be9-a5f4-d14d4d592b17" providerId="AD"/>
      </p:ext>
    </p:extLst>
  </p:cmAuthor>
  <p:cmAuthor id="3" name="Rys, Emma {PEP}" initials="RE{" lastIdx="2" clrIdx="2">
    <p:extLst>
      <p:ext uri="{19B8F6BF-5375-455C-9EA6-DF929625EA0E}">
        <p15:presenceInfo xmlns:p15="http://schemas.microsoft.com/office/powerpoint/2012/main" userId="S::Emma.Rys@pepsico.com::c61f5f15-5dfb-43e5-bf22-df65219cbc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660F"/>
    <a:srgbClr val="357FCD"/>
    <a:srgbClr val="A4CAED"/>
    <a:srgbClr val="5D910A"/>
    <a:srgbClr val="022087"/>
    <a:srgbClr val="061F90"/>
    <a:srgbClr val="8CDA43"/>
    <a:srgbClr val="0251D9"/>
    <a:srgbClr val="FEC526"/>
    <a:srgbClr val="93D50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EDF210-DCF1-BB25-44F3-F18AF9585213}" v="1" dt="2026-06-29T14:36:50.355"/>
    <p1510:client id="{505F0E08-CA1D-5945-FE0D-C0DB76670090}" v="2" dt="2026-06-29T14:19:00.779"/>
    <p1510:client id="{790D2232-7D87-4AF8-BF2D-33911D0BF8AC}" v="1376" dt="2026-06-29T13:45:11.784"/>
  </p1510:revLst>
</p1510:revInfo>
</file>

<file path=ppt/tableStyles.xml><?xml version="1.0" encoding="utf-8"?>
<a:tblStyleLst xmlns:a="http://schemas.openxmlformats.org/drawingml/2006/main" def="{5C22544A-7EE6-4342-B048-85BDC9FD1C3A}">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2" d="100"/>
          <a:sy n="72" d="100"/>
        </p:scale>
        <p:origin x="432" y="8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est User" userId="S::urn:spo:tenantanon#25b262c6-3135-4102-9fd1-8cc793b35eee::" providerId="AD" clId="Web-{505F0E08-CA1D-5945-FE0D-C0DB76670090}"/>
    <pc:docChg chg="modSld">
      <pc:chgData name="Guest User" userId="S::urn:spo:tenantanon#25b262c6-3135-4102-9fd1-8cc793b35eee::" providerId="AD" clId="Web-{505F0E08-CA1D-5945-FE0D-C0DB76670090}" dt="2026-06-29T14:19:00.779" v="1"/>
      <pc:docMkLst>
        <pc:docMk/>
      </pc:docMkLst>
      <pc:sldChg chg="delSp modSp">
        <pc:chgData name="Guest User" userId="S::urn:spo:tenantanon#25b262c6-3135-4102-9fd1-8cc793b35eee::" providerId="AD" clId="Web-{505F0E08-CA1D-5945-FE0D-C0DB76670090}" dt="2026-06-29T14:19:00.779" v="1"/>
        <pc:sldMkLst>
          <pc:docMk/>
          <pc:sldMk cId="1949283552" sldId="2134807290"/>
        </pc:sldMkLst>
        <pc:spChg chg="mod">
          <ac:chgData name="Guest User" userId="S::urn:spo:tenantanon#25b262c6-3135-4102-9fd1-8cc793b35eee::" providerId="AD" clId="Web-{505F0E08-CA1D-5945-FE0D-C0DB76670090}" dt="2026-06-29T14:18:55.248" v="0" actId="20577"/>
          <ac:spMkLst>
            <pc:docMk/>
            <pc:sldMk cId="1949283552" sldId="2134807290"/>
            <ac:spMk id="11" creationId="{97E9E2AC-5A79-4409-361A-EAA1F08B4B5F}"/>
          </ac:spMkLst>
        </pc:spChg>
        <pc:spChg chg="del">
          <ac:chgData name="Guest User" userId="S::urn:spo:tenantanon#25b262c6-3135-4102-9fd1-8cc793b35eee::" providerId="AD" clId="Web-{505F0E08-CA1D-5945-FE0D-C0DB76670090}" dt="2026-06-29T14:19:00.779" v="1"/>
          <ac:spMkLst>
            <pc:docMk/>
            <pc:sldMk cId="1949283552" sldId="2134807290"/>
            <ac:spMk id="18" creationId="{E6ACC65E-B60A-0FC9-0371-2810F364C069}"/>
          </ac:spMkLst>
        </pc:spChg>
      </pc:sldChg>
    </pc:docChg>
  </pc:docChgLst>
  <pc:docChgLst>
    <pc:chgData name="Guest User" userId="S::urn:spo:tenantanon#25b262c6-3135-4102-9fd1-8cc793b35eee::" providerId="AD" clId="Web-{0CEDF210-DCF1-BB25-44F3-F18AF9585213}"/>
    <pc:docChg chg="modSld">
      <pc:chgData name="Guest User" userId="S::urn:spo:tenantanon#25b262c6-3135-4102-9fd1-8cc793b35eee::" providerId="AD" clId="Web-{0CEDF210-DCF1-BB25-44F3-F18AF9585213}" dt="2026-06-29T14:36:50.355" v="0" actId="20577"/>
      <pc:docMkLst>
        <pc:docMk/>
      </pc:docMkLst>
      <pc:sldChg chg="modSp">
        <pc:chgData name="Guest User" userId="S::urn:spo:tenantanon#25b262c6-3135-4102-9fd1-8cc793b35eee::" providerId="AD" clId="Web-{0CEDF210-DCF1-BB25-44F3-F18AF9585213}" dt="2026-06-29T14:36:50.355" v="0" actId="20577"/>
        <pc:sldMkLst>
          <pc:docMk/>
          <pc:sldMk cId="1949283552" sldId="2134807290"/>
        </pc:sldMkLst>
        <pc:spChg chg="mod">
          <ac:chgData name="Guest User" userId="S::urn:spo:tenantanon#25b262c6-3135-4102-9fd1-8cc793b35eee::" providerId="AD" clId="Web-{0CEDF210-DCF1-BB25-44F3-F18AF9585213}" dt="2026-06-29T14:36:50.355" v="0" actId="20577"/>
          <ac:spMkLst>
            <pc:docMk/>
            <pc:sldMk cId="1949283552" sldId="2134807290"/>
            <ac:spMk id="11" creationId="{97E9E2AC-5A79-4409-361A-EAA1F08B4B5F}"/>
          </ac:spMkLst>
        </pc:spChg>
      </pc:sldChg>
    </pc:docChg>
  </pc:docChgLst>
  <pc:docChgLst>
    <pc:chgData name="Evyan Lyngshing [Chillibreeze]" userId="b5a92789-231b-4933-b5e3-9c4db485d6cf" providerId="ADAL" clId="{3C7A14F0-AC9D-4C0F-B2FD-5645A9CA3617}"/>
    <pc:docChg chg="undo custSel addSld delSld modSld delMainMaster modSection">
      <pc:chgData name="Evyan Lyngshing [Chillibreeze]" userId="b5a92789-231b-4933-b5e3-9c4db485d6cf" providerId="ADAL" clId="{3C7A14F0-AC9D-4C0F-B2FD-5645A9CA3617}" dt="2026-06-29T13:45:11.784" v="4466" actId="164"/>
      <pc:docMkLst>
        <pc:docMk/>
      </pc:docMkLst>
      <pc:sldChg chg="addSp delSp modSp mod modClrScheme chgLayout">
        <pc:chgData name="Evyan Lyngshing [Chillibreeze]" userId="b5a92789-231b-4933-b5e3-9c4db485d6cf" providerId="ADAL" clId="{3C7A14F0-AC9D-4C0F-B2FD-5645A9CA3617}" dt="2026-06-29T13:09:59.761" v="3568" actId="21"/>
        <pc:sldMkLst>
          <pc:docMk/>
          <pc:sldMk cId="2381101970" sldId="266"/>
        </pc:sldMkLst>
        <pc:spChg chg="add mod ord">
          <ac:chgData name="Evyan Lyngshing [Chillibreeze]" userId="b5a92789-231b-4933-b5e3-9c4db485d6cf" providerId="ADAL" clId="{3C7A14F0-AC9D-4C0F-B2FD-5645A9CA3617}" dt="2026-06-29T11:23:07.068" v="1226" actId="948"/>
          <ac:spMkLst>
            <pc:docMk/>
            <pc:sldMk cId="2381101970" sldId="266"/>
            <ac:spMk id="2" creationId="{4AC44B2D-1228-D13D-62F5-4695E7028FE4}"/>
          </ac:spMkLst>
        </pc:spChg>
        <pc:spChg chg="del mod">
          <ac:chgData name="Evyan Lyngshing [Chillibreeze]" userId="b5a92789-231b-4933-b5e3-9c4db485d6cf" providerId="ADAL" clId="{3C7A14F0-AC9D-4C0F-B2FD-5645A9CA3617}" dt="2026-06-29T11:24:01.203" v="1227" actId="478"/>
          <ac:spMkLst>
            <pc:docMk/>
            <pc:sldMk cId="2381101970" sldId="266"/>
            <ac:spMk id="3" creationId="{6B51EBF0-BBE0-9A48-BE3F-F3A88A5050B0}"/>
          </ac:spMkLst>
        </pc:spChg>
        <pc:spChg chg="add del mod">
          <ac:chgData name="Evyan Lyngshing [Chillibreeze]" userId="b5a92789-231b-4933-b5e3-9c4db485d6cf" providerId="ADAL" clId="{3C7A14F0-AC9D-4C0F-B2FD-5645A9CA3617}" dt="2026-06-29T11:23:01.029" v="1215" actId="6264"/>
          <ac:spMkLst>
            <pc:docMk/>
            <pc:sldMk cId="2381101970" sldId="266"/>
            <ac:spMk id="5" creationId="{2C19D649-91E5-F0D3-B8AB-A74683149967}"/>
          </ac:spMkLst>
        </pc:spChg>
        <pc:spChg chg="del mod">
          <ac:chgData name="Evyan Lyngshing [Chillibreeze]" userId="b5a92789-231b-4933-b5e3-9c4db485d6cf" providerId="ADAL" clId="{3C7A14F0-AC9D-4C0F-B2FD-5645A9CA3617}" dt="2026-06-29T11:24:01.203" v="1227" actId="478"/>
          <ac:spMkLst>
            <pc:docMk/>
            <pc:sldMk cId="2381101970" sldId="266"/>
            <ac:spMk id="14" creationId="{7F8D626A-701E-6309-6916-487E21AC96E3}"/>
          </ac:spMkLst>
        </pc:spChg>
        <pc:grpChg chg="del mod">
          <ac:chgData name="Evyan Lyngshing [Chillibreeze]" userId="b5a92789-231b-4933-b5e3-9c4db485d6cf" providerId="ADAL" clId="{3C7A14F0-AC9D-4C0F-B2FD-5645A9CA3617}" dt="2026-06-29T11:24:01.203" v="1227" actId="478"/>
          <ac:grpSpMkLst>
            <pc:docMk/>
            <pc:sldMk cId="2381101970" sldId="266"/>
            <ac:grpSpMk id="15" creationId="{DF29B7AB-0D82-B80B-2292-6B16F82FA709}"/>
          </ac:grpSpMkLst>
        </pc:grpChg>
        <pc:graphicFrameChg chg="add mod ord modVis">
          <ac:chgData name="Evyan Lyngshing [Chillibreeze]" userId="b5a92789-231b-4933-b5e3-9c4db485d6cf" providerId="ADAL" clId="{3C7A14F0-AC9D-4C0F-B2FD-5645A9CA3617}" dt="2026-06-29T11:22:58.679" v="1208"/>
          <ac:graphicFrameMkLst>
            <pc:docMk/>
            <pc:sldMk cId="2381101970" sldId="266"/>
            <ac:graphicFrameMk id="4" creationId="{4D00BCB3-3289-DFAC-EAC8-5B0EC147CE2A}"/>
          </ac:graphicFrameMkLst>
        </pc:graphicFrameChg>
        <pc:picChg chg="add mod">
          <ac:chgData name="Evyan Lyngshing [Chillibreeze]" userId="b5a92789-231b-4933-b5e3-9c4db485d6cf" providerId="ADAL" clId="{3C7A14F0-AC9D-4C0F-B2FD-5645A9CA3617}" dt="2026-06-29T13:09:45.132" v="3543"/>
          <ac:picMkLst>
            <pc:docMk/>
            <pc:sldMk cId="2381101970" sldId="266"/>
            <ac:picMk id="6" creationId="{E6670A2E-C374-3D55-BE70-61A0C2C98EEF}"/>
          </ac:picMkLst>
        </pc:picChg>
        <pc:picChg chg="add mod">
          <ac:chgData name="Evyan Lyngshing [Chillibreeze]" userId="b5a92789-231b-4933-b5e3-9c4db485d6cf" providerId="ADAL" clId="{3C7A14F0-AC9D-4C0F-B2FD-5645A9CA3617}" dt="2026-06-29T13:09:45.132" v="3543"/>
          <ac:picMkLst>
            <pc:docMk/>
            <pc:sldMk cId="2381101970" sldId="266"/>
            <ac:picMk id="7" creationId="{CA974E60-8F31-7E36-4D84-A07E89A53DF3}"/>
          </ac:picMkLst>
        </pc:picChg>
        <pc:picChg chg="add del mod ord">
          <ac:chgData name="Evyan Lyngshing [Chillibreeze]" userId="b5a92789-231b-4933-b5e3-9c4db485d6cf" providerId="ADAL" clId="{3C7A14F0-AC9D-4C0F-B2FD-5645A9CA3617}" dt="2026-06-29T13:09:59.761" v="3568" actId="21"/>
          <ac:picMkLst>
            <pc:docMk/>
            <pc:sldMk cId="2381101970" sldId="266"/>
            <ac:picMk id="8" creationId="{A70DED87-8172-3B08-96A2-17172C46B8E8}"/>
          </ac:picMkLst>
        </pc:picChg>
        <pc:picChg chg="add mod ord">
          <ac:chgData name="Evyan Lyngshing [Chillibreeze]" userId="b5a92789-231b-4933-b5e3-9c4db485d6cf" providerId="ADAL" clId="{3C7A14F0-AC9D-4C0F-B2FD-5645A9CA3617}" dt="2026-06-29T13:09:57.110" v="3567"/>
          <ac:picMkLst>
            <pc:docMk/>
            <pc:sldMk cId="2381101970" sldId="266"/>
            <ac:picMk id="9" creationId="{02EFEDAB-F5EC-D40B-2BE0-F29496D3E513}"/>
          </ac:picMkLst>
        </pc:picChg>
      </pc:sldChg>
      <pc:sldChg chg="addSp delSp modSp mod modClrScheme chgLayout">
        <pc:chgData name="Evyan Lyngshing [Chillibreeze]" userId="b5a92789-231b-4933-b5e3-9c4db485d6cf" providerId="ADAL" clId="{3C7A14F0-AC9D-4C0F-B2FD-5645A9CA3617}" dt="2026-06-29T13:09:38.897" v="3542" actId="21"/>
        <pc:sldMkLst>
          <pc:docMk/>
          <pc:sldMk cId="2568993673" sldId="275"/>
        </pc:sldMkLst>
        <pc:spChg chg="mod ord">
          <ac:chgData name="Evyan Lyngshing [Chillibreeze]" userId="b5a92789-231b-4933-b5e3-9c4db485d6cf" providerId="ADAL" clId="{3C7A14F0-AC9D-4C0F-B2FD-5645A9CA3617}" dt="2026-06-29T10:56:35.709" v="617" actId="948"/>
          <ac:spMkLst>
            <pc:docMk/>
            <pc:sldMk cId="2568993673" sldId="275"/>
            <ac:spMk id="2" creationId="{41166964-5736-194B-90B4-16B96E3AB0C7}"/>
          </ac:spMkLst>
        </pc:spChg>
        <pc:spChg chg="add del mod">
          <ac:chgData name="Evyan Lyngshing [Chillibreeze]" userId="b5a92789-231b-4933-b5e3-9c4db485d6cf" providerId="ADAL" clId="{3C7A14F0-AC9D-4C0F-B2FD-5645A9CA3617}" dt="2026-06-29T10:56:28.659" v="605" actId="6264"/>
          <ac:spMkLst>
            <pc:docMk/>
            <pc:sldMk cId="2568993673" sldId="275"/>
            <ac:spMk id="12" creationId="{7DE39517-DDDB-C441-CFD9-4343954F6C43}"/>
          </ac:spMkLst>
        </pc:spChg>
        <pc:spChg chg="mod">
          <ac:chgData name="Evyan Lyngshing [Chillibreeze]" userId="b5a92789-231b-4933-b5e3-9c4db485d6cf" providerId="ADAL" clId="{3C7A14F0-AC9D-4C0F-B2FD-5645A9CA3617}" dt="2026-06-29T13:09:04.844" v="3505"/>
          <ac:spMkLst>
            <pc:docMk/>
            <pc:sldMk cId="2568993673" sldId="275"/>
            <ac:spMk id="16" creationId="{C423BDC4-6BBF-DCB8-CFDF-199B52AB6FCC}"/>
          </ac:spMkLst>
        </pc:spChg>
        <pc:spChg chg="mod">
          <ac:chgData name="Evyan Lyngshing [Chillibreeze]" userId="b5a92789-231b-4933-b5e3-9c4db485d6cf" providerId="ADAL" clId="{3C7A14F0-AC9D-4C0F-B2FD-5645A9CA3617}" dt="2026-06-29T13:09:04.844" v="3505"/>
          <ac:spMkLst>
            <pc:docMk/>
            <pc:sldMk cId="2568993673" sldId="275"/>
            <ac:spMk id="18" creationId="{B02B7D3E-E5C1-88B7-A207-E53D1FA2D1EF}"/>
          </ac:spMkLst>
        </pc:spChg>
        <pc:spChg chg="mod">
          <ac:chgData name="Evyan Lyngshing [Chillibreeze]" userId="b5a92789-231b-4933-b5e3-9c4db485d6cf" providerId="ADAL" clId="{3C7A14F0-AC9D-4C0F-B2FD-5645A9CA3617}" dt="2026-06-29T13:09:04.844" v="3505"/>
          <ac:spMkLst>
            <pc:docMk/>
            <pc:sldMk cId="2568993673" sldId="275"/>
            <ac:spMk id="20" creationId="{2B231030-80D8-A322-E4AA-B39515405DE4}"/>
          </ac:spMkLst>
        </pc:spChg>
        <pc:spChg chg="mod">
          <ac:chgData name="Evyan Lyngshing [Chillibreeze]" userId="b5a92789-231b-4933-b5e3-9c4db485d6cf" providerId="ADAL" clId="{3C7A14F0-AC9D-4C0F-B2FD-5645A9CA3617}" dt="2026-06-29T13:09:04.844" v="3505"/>
          <ac:spMkLst>
            <pc:docMk/>
            <pc:sldMk cId="2568993673" sldId="275"/>
            <ac:spMk id="21" creationId="{93538CBA-FE17-DF59-E11C-ADEBE9DCE07E}"/>
          </ac:spMkLst>
        </pc:spChg>
        <pc:spChg chg="mod">
          <ac:chgData name="Evyan Lyngshing [Chillibreeze]" userId="b5a92789-231b-4933-b5e3-9c4db485d6cf" providerId="ADAL" clId="{3C7A14F0-AC9D-4C0F-B2FD-5645A9CA3617}" dt="2026-06-29T13:09:36.417" v="3531"/>
          <ac:spMkLst>
            <pc:docMk/>
            <pc:sldMk cId="2568993673" sldId="275"/>
            <ac:spMk id="24" creationId="{0211FCC0-EF78-B552-F733-E14DB0608F23}"/>
          </ac:spMkLst>
        </pc:spChg>
        <pc:spChg chg="mod">
          <ac:chgData name="Evyan Lyngshing [Chillibreeze]" userId="b5a92789-231b-4933-b5e3-9c4db485d6cf" providerId="ADAL" clId="{3C7A14F0-AC9D-4C0F-B2FD-5645A9CA3617}" dt="2026-06-29T13:09:36.417" v="3531"/>
          <ac:spMkLst>
            <pc:docMk/>
            <pc:sldMk cId="2568993673" sldId="275"/>
            <ac:spMk id="26" creationId="{A04DC41E-CE93-78E6-6E16-87A89DE1BADE}"/>
          </ac:spMkLst>
        </pc:spChg>
        <pc:spChg chg="mod">
          <ac:chgData name="Evyan Lyngshing [Chillibreeze]" userId="b5a92789-231b-4933-b5e3-9c4db485d6cf" providerId="ADAL" clId="{3C7A14F0-AC9D-4C0F-B2FD-5645A9CA3617}" dt="2026-06-29T13:09:36.417" v="3531"/>
          <ac:spMkLst>
            <pc:docMk/>
            <pc:sldMk cId="2568993673" sldId="275"/>
            <ac:spMk id="28" creationId="{45CDC652-BCD3-08F5-7DD8-A98D73C690A9}"/>
          </ac:spMkLst>
        </pc:spChg>
        <pc:spChg chg="mod">
          <ac:chgData name="Evyan Lyngshing [Chillibreeze]" userId="b5a92789-231b-4933-b5e3-9c4db485d6cf" providerId="ADAL" clId="{3C7A14F0-AC9D-4C0F-B2FD-5645A9CA3617}" dt="2026-06-29T13:09:36.417" v="3531"/>
          <ac:spMkLst>
            <pc:docMk/>
            <pc:sldMk cId="2568993673" sldId="275"/>
            <ac:spMk id="29" creationId="{3B8B37AF-0CE2-F13F-8AF4-6440578C786D}"/>
          </ac:spMkLst>
        </pc:spChg>
        <pc:grpChg chg="del">
          <ac:chgData name="Evyan Lyngshing [Chillibreeze]" userId="b5a92789-231b-4933-b5e3-9c4db485d6cf" providerId="ADAL" clId="{3C7A14F0-AC9D-4C0F-B2FD-5645A9CA3617}" dt="2026-06-29T10:56:33.202" v="611" actId="21"/>
          <ac:grpSpMkLst>
            <pc:docMk/>
            <pc:sldMk cId="2568993673" sldId="275"/>
            <ac:grpSpMk id="3" creationId="{130D96B8-2FEA-3EA1-5560-EF48A3C669EA}"/>
          </ac:grpSpMkLst>
        </pc:grpChg>
        <pc:grpChg chg="add del mod ord">
          <ac:chgData name="Evyan Lyngshing [Chillibreeze]" userId="b5a92789-231b-4933-b5e3-9c4db485d6cf" providerId="ADAL" clId="{3C7A14F0-AC9D-4C0F-B2FD-5645A9CA3617}" dt="2026-06-29T13:09:07.118" v="3514" actId="21"/>
          <ac:grpSpMkLst>
            <pc:docMk/>
            <pc:sldMk cId="2568993673" sldId="275"/>
            <ac:grpSpMk id="15" creationId="{35EC1344-BA86-5EE2-6820-019D1E0E4DFD}"/>
          </ac:grpSpMkLst>
        </pc:grpChg>
        <pc:grpChg chg="mod">
          <ac:chgData name="Evyan Lyngshing [Chillibreeze]" userId="b5a92789-231b-4933-b5e3-9c4db485d6cf" providerId="ADAL" clId="{3C7A14F0-AC9D-4C0F-B2FD-5645A9CA3617}" dt="2026-06-29T13:09:04.844" v="3505"/>
          <ac:grpSpMkLst>
            <pc:docMk/>
            <pc:sldMk cId="2568993673" sldId="275"/>
            <ac:grpSpMk id="17" creationId="{0CE5EC70-DBA8-FADB-6F08-317DA9972857}"/>
          </ac:grpSpMkLst>
        </pc:grpChg>
        <pc:grpChg chg="mod">
          <ac:chgData name="Evyan Lyngshing [Chillibreeze]" userId="b5a92789-231b-4933-b5e3-9c4db485d6cf" providerId="ADAL" clId="{3C7A14F0-AC9D-4C0F-B2FD-5645A9CA3617}" dt="2026-06-29T13:09:04.844" v="3505"/>
          <ac:grpSpMkLst>
            <pc:docMk/>
            <pc:sldMk cId="2568993673" sldId="275"/>
            <ac:grpSpMk id="19" creationId="{2CCB3C0A-B256-FF97-DCFD-3BE9B5A02539}"/>
          </ac:grpSpMkLst>
        </pc:grpChg>
        <pc:grpChg chg="add del mod ord">
          <ac:chgData name="Evyan Lyngshing [Chillibreeze]" userId="b5a92789-231b-4933-b5e3-9c4db485d6cf" providerId="ADAL" clId="{3C7A14F0-AC9D-4C0F-B2FD-5645A9CA3617}" dt="2026-06-29T13:09:38.897" v="3542" actId="21"/>
          <ac:grpSpMkLst>
            <pc:docMk/>
            <pc:sldMk cId="2568993673" sldId="275"/>
            <ac:grpSpMk id="23" creationId="{58A39F8E-D83A-53A6-6D49-94764E5A6B83}"/>
          </ac:grpSpMkLst>
        </pc:grpChg>
        <pc:grpChg chg="mod">
          <ac:chgData name="Evyan Lyngshing [Chillibreeze]" userId="b5a92789-231b-4933-b5e3-9c4db485d6cf" providerId="ADAL" clId="{3C7A14F0-AC9D-4C0F-B2FD-5645A9CA3617}" dt="2026-06-29T13:09:36.417" v="3531"/>
          <ac:grpSpMkLst>
            <pc:docMk/>
            <pc:sldMk cId="2568993673" sldId="275"/>
            <ac:grpSpMk id="25" creationId="{7BEBBD74-063A-8D63-DACD-C04576B64966}"/>
          </ac:grpSpMkLst>
        </pc:grpChg>
        <pc:grpChg chg="mod">
          <ac:chgData name="Evyan Lyngshing [Chillibreeze]" userId="b5a92789-231b-4933-b5e3-9c4db485d6cf" providerId="ADAL" clId="{3C7A14F0-AC9D-4C0F-B2FD-5645A9CA3617}" dt="2026-06-29T13:09:36.417" v="3531"/>
          <ac:grpSpMkLst>
            <pc:docMk/>
            <pc:sldMk cId="2568993673" sldId="275"/>
            <ac:grpSpMk id="27" creationId="{67C8B08B-2D03-4908-9E4F-8BDE0E28A150}"/>
          </ac:grpSpMkLst>
        </pc:grpChg>
        <pc:graphicFrameChg chg="add mod ord modVis">
          <ac:chgData name="Evyan Lyngshing [Chillibreeze]" userId="b5a92789-231b-4933-b5e3-9c4db485d6cf" providerId="ADAL" clId="{3C7A14F0-AC9D-4C0F-B2FD-5645A9CA3617}" dt="2026-06-29T10:56:27.957" v="604"/>
          <ac:graphicFrameMkLst>
            <pc:docMk/>
            <pc:sldMk cId="2568993673" sldId="275"/>
            <ac:graphicFrameMk id="11" creationId="{116D7BD6-F994-2B83-CF83-CDC496166ECB}"/>
          </ac:graphicFrameMkLst>
        </pc:graphicFrameChg>
        <pc:picChg chg="add mod">
          <ac:chgData name="Evyan Lyngshing [Chillibreeze]" userId="b5a92789-231b-4933-b5e3-9c4db485d6cf" providerId="ADAL" clId="{3C7A14F0-AC9D-4C0F-B2FD-5645A9CA3617}" dt="2026-06-29T13:08:52.848" v="3489"/>
          <ac:picMkLst>
            <pc:docMk/>
            <pc:sldMk cId="2568993673" sldId="275"/>
            <ac:picMk id="13" creationId="{AAB21E83-F3A5-4746-ABED-AAB443A5F807}"/>
          </ac:picMkLst>
        </pc:picChg>
        <pc:picChg chg="add mod">
          <ac:chgData name="Evyan Lyngshing [Chillibreeze]" userId="b5a92789-231b-4933-b5e3-9c4db485d6cf" providerId="ADAL" clId="{3C7A14F0-AC9D-4C0F-B2FD-5645A9CA3617}" dt="2026-06-29T13:08:52.848" v="3489"/>
          <ac:picMkLst>
            <pc:docMk/>
            <pc:sldMk cId="2568993673" sldId="275"/>
            <ac:picMk id="14" creationId="{5438FBD4-08E8-8EFF-499D-6C0C20F7DAF4}"/>
          </ac:picMkLst>
        </pc:picChg>
        <pc:picChg chg="add mod ord">
          <ac:chgData name="Evyan Lyngshing [Chillibreeze]" userId="b5a92789-231b-4933-b5e3-9c4db485d6cf" providerId="ADAL" clId="{3C7A14F0-AC9D-4C0F-B2FD-5645A9CA3617}" dt="2026-06-29T13:09:36.423" v="3537"/>
          <ac:picMkLst>
            <pc:docMk/>
            <pc:sldMk cId="2568993673" sldId="275"/>
            <ac:picMk id="22" creationId="{FE0CAD2A-5F7D-8CA1-35D2-285AB6F4BA2A}"/>
          </ac:picMkLst>
        </pc:picChg>
      </pc:sldChg>
      <pc:sldChg chg="addSp delSp modSp mod modClrScheme chgLayout">
        <pc:chgData name="Evyan Lyngshing [Chillibreeze]" userId="b5a92789-231b-4933-b5e3-9c4db485d6cf" providerId="ADAL" clId="{3C7A14F0-AC9D-4C0F-B2FD-5645A9CA3617}" dt="2026-06-29T13:10:24.982" v="3593" actId="21"/>
        <pc:sldMkLst>
          <pc:docMk/>
          <pc:sldMk cId="33617382" sldId="284"/>
        </pc:sldMkLst>
        <pc:spChg chg="mod ord">
          <ac:chgData name="Evyan Lyngshing [Chillibreeze]" userId="b5a92789-231b-4933-b5e3-9c4db485d6cf" providerId="ADAL" clId="{3C7A14F0-AC9D-4C0F-B2FD-5645A9CA3617}" dt="2026-06-29T11:35:14.460" v="1505" actId="948"/>
          <ac:spMkLst>
            <pc:docMk/>
            <pc:sldMk cId="33617382" sldId="284"/>
            <ac:spMk id="2" creationId="{658B995A-64CF-120E-6933-923AEACD8E1D}"/>
          </ac:spMkLst>
        </pc:spChg>
        <pc:spChg chg="add del mod">
          <ac:chgData name="Evyan Lyngshing [Chillibreeze]" userId="b5a92789-231b-4933-b5e3-9c4db485d6cf" providerId="ADAL" clId="{3C7A14F0-AC9D-4C0F-B2FD-5645A9CA3617}" dt="2026-06-29T11:34:18.234" v="1493" actId="6264"/>
          <ac:spMkLst>
            <pc:docMk/>
            <pc:sldMk cId="33617382" sldId="284"/>
            <ac:spMk id="4" creationId="{D37F99B8-DEA4-3BC8-20C4-45DBCF84481F}"/>
          </ac:spMkLst>
        </pc:spChg>
        <pc:spChg chg="add del mod">
          <ac:chgData name="Evyan Lyngshing [Chillibreeze]" userId="b5a92789-231b-4933-b5e3-9c4db485d6cf" providerId="ADAL" clId="{3C7A14F0-AC9D-4C0F-B2FD-5645A9CA3617}" dt="2026-06-29T11:35:12.901" v="1500" actId="6264"/>
          <ac:spMkLst>
            <pc:docMk/>
            <pc:sldMk cId="33617382" sldId="284"/>
            <ac:spMk id="5" creationId="{A70CB8E2-4535-537B-17AF-E43AE8442531}"/>
          </ac:spMkLst>
        </pc:spChg>
        <pc:grpChg chg="del mod">
          <ac:chgData name="Evyan Lyngshing [Chillibreeze]" userId="b5a92789-231b-4933-b5e3-9c4db485d6cf" providerId="ADAL" clId="{3C7A14F0-AC9D-4C0F-B2FD-5645A9CA3617}" dt="2026-06-29T11:35:10.069" v="1499" actId="478"/>
          <ac:grpSpMkLst>
            <pc:docMk/>
            <pc:sldMk cId="33617382" sldId="284"/>
            <ac:grpSpMk id="13" creationId="{3FA37426-09E3-AD5D-C904-FFC7F37336E2}"/>
          </ac:grpSpMkLst>
        </pc:grpChg>
        <pc:graphicFrameChg chg="add mod ord modVis">
          <ac:chgData name="Evyan Lyngshing [Chillibreeze]" userId="b5a92789-231b-4933-b5e3-9c4db485d6cf" providerId="ADAL" clId="{3C7A14F0-AC9D-4C0F-B2FD-5645A9CA3617}" dt="2026-06-29T11:33:54.443" v="1488"/>
          <ac:graphicFrameMkLst>
            <pc:docMk/>
            <pc:sldMk cId="33617382" sldId="284"/>
            <ac:graphicFrameMk id="3" creationId="{DE40EA4C-6E7E-D929-164D-2B9AD62A407C}"/>
          </ac:graphicFrameMkLst>
        </pc:graphicFrameChg>
        <pc:picChg chg="add mod">
          <ac:chgData name="Evyan Lyngshing [Chillibreeze]" userId="b5a92789-231b-4933-b5e3-9c4db485d6cf" providerId="ADAL" clId="{3C7A14F0-AC9D-4C0F-B2FD-5645A9CA3617}" dt="2026-06-29T13:10:05.618" v="3569"/>
          <ac:picMkLst>
            <pc:docMk/>
            <pc:sldMk cId="33617382" sldId="284"/>
            <ac:picMk id="6" creationId="{5BD082BC-0875-EE40-67B0-B74AB7FFC7CC}"/>
          </ac:picMkLst>
        </pc:picChg>
        <pc:picChg chg="add mod">
          <ac:chgData name="Evyan Lyngshing [Chillibreeze]" userId="b5a92789-231b-4933-b5e3-9c4db485d6cf" providerId="ADAL" clId="{3C7A14F0-AC9D-4C0F-B2FD-5645A9CA3617}" dt="2026-06-29T13:10:05.618" v="3569"/>
          <ac:picMkLst>
            <pc:docMk/>
            <pc:sldMk cId="33617382" sldId="284"/>
            <ac:picMk id="7" creationId="{C01247C3-8889-59AA-F775-DEAEF78F126E}"/>
          </ac:picMkLst>
        </pc:picChg>
        <pc:picChg chg="add del mod ord">
          <ac:chgData name="Evyan Lyngshing [Chillibreeze]" userId="b5a92789-231b-4933-b5e3-9c4db485d6cf" providerId="ADAL" clId="{3C7A14F0-AC9D-4C0F-B2FD-5645A9CA3617}" dt="2026-06-29T13:10:24.982" v="3593" actId="21"/>
          <ac:picMkLst>
            <pc:docMk/>
            <pc:sldMk cId="33617382" sldId="284"/>
            <ac:picMk id="8" creationId="{EB6E0A49-5728-635D-18A0-7421EDCBB39E}"/>
          </ac:picMkLst>
        </pc:picChg>
        <pc:picChg chg="add mod ord">
          <ac:chgData name="Evyan Lyngshing [Chillibreeze]" userId="b5a92789-231b-4933-b5e3-9c4db485d6cf" providerId="ADAL" clId="{3C7A14F0-AC9D-4C0F-B2FD-5645A9CA3617}" dt="2026-06-29T13:10:22.989" v="3592"/>
          <ac:picMkLst>
            <pc:docMk/>
            <pc:sldMk cId="33617382" sldId="284"/>
            <ac:picMk id="9" creationId="{2334C1AF-396D-AD8C-A8A6-63550702033F}"/>
          </ac:picMkLst>
        </pc:picChg>
        <pc:picChg chg="del mod">
          <ac:chgData name="Evyan Lyngshing [Chillibreeze]" userId="b5a92789-231b-4933-b5e3-9c4db485d6cf" providerId="ADAL" clId="{3C7A14F0-AC9D-4C0F-B2FD-5645A9CA3617}" dt="2026-06-29T11:35:10.069" v="1499" actId="478"/>
          <ac:picMkLst>
            <pc:docMk/>
            <pc:sldMk cId="33617382" sldId="284"/>
            <ac:picMk id="10" creationId="{261CE21B-98E9-5401-5324-68B8BBAED4DA}"/>
          </ac:picMkLst>
        </pc:picChg>
      </pc:sldChg>
      <pc:sldChg chg="addSp delSp modSp mod modClrScheme chgLayout">
        <pc:chgData name="Evyan Lyngshing [Chillibreeze]" userId="b5a92789-231b-4933-b5e3-9c4db485d6cf" providerId="ADAL" clId="{3C7A14F0-AC9D-4C0F-B2FD-5645A9CA3617}" dt="2026-06-29T13:10:55.440" v="3619" actId="21"/>
        <pc:sldMkLst>
          <pc:docMk/>
          <pc:sldMk cId="3999067240" sldId="285"/>
        </pc:sldMkLst>
        <pc:spChg chg="add mod ord">
          <ac:chgData name="Evyan Lyngshing [Chillibreeze]" userId="b5a92789-231b-4933-b5e3-9c4db485d6cf" providerId="ADAL" clId="{3C7A14F0-AC9D-4C0F-B2FD-5645A9CA3617}" dt="2026-06-29T11:54:35.456" v="1813" actId="948"/>
          <ac:spMkLst>
            <pc:docMk/>
            <pc:sldMk cId="3999067240" sldId="285"/>
            <ac:spMk id="2" creationId="{B5FDB826-E7F2-22D6-004E-929F9F0E68F2}"/>
          </ac:spMkLst>
        </pc:spChg>
        <pc:spChg chg="del mod">
          <ac:chgData name="Evyan Lyngshing [Chillibreeze]" userId="b5a92789-231b-4933-b5e3-9c4db485d6cf" providerId="ADAL" clId="{3C7A14F0-AC9D-4C0F-B2FD-5645A9CA3617}" dt="2026-06-29T11:55:51.082" v="1814" actId="21"/>
          <ac:spMkLst>
            <pc:docMk/>
            <pc:sldMk cId="3999067240" sldId="285"/>
            <ac:spMk id="3" creationId="{D817C0AA-BEAE-5F0C-F3D6-0A1C376E1F7F}"/>
          </ac:spMkLst>
        </pc:spChg>
        <pc:spChg chg="add del mod">
          <ac:chgData name="Evyan Lyngshing [Chillibreeze]" userId="b5a92789-231b-4933-b5e3-9c4db485d6cf" providerId="ADAL" clId="{3C7A14F0-AC9D-4C0F-B2FD-5645A9CA3617}" dt="2026-06-29T11:54:34.926" v="1808" actId="6264"/>
          <ac:spMkLst>
            <pc:docMk/>
            <pc:sldMk cId="3999067240" sldId="285"/>
            <ac:spMk id="6" creationId="{7868FC99-0E35-243F-5D4C-0CAE895DEC3A}"/>
          </ac:spMkLst>
        </pc:spChg>
        <pc:grpChg chg="del mod">
          <ac:chgData name="Evyan Lyngshing [Chillibreeze]" userId="b5a92789-231b-4933-b5e3-9c4db485d6cf" providerId="ADAL" clId="{3C7A14F0-AC9D-4C0F-B2FD-5645A9CA3617}" dt="2026-06-29T11:55:51.082" v="1814" actId="21"/>
          <ac:grpSpMkLst>
            <pc:docMk/>
            <pc:sldMk cId="3999067240" sldId="285"/>
            <ac:grpSpMk id="15" creationId="{5E59BA49-8454-0533-2EBC-EE643745EECD}"/>
          </ac:grpSpMkLst>
        </pc:grpChg>
        <pc:graphicFrameChg chg="add mod ord modVis">
          <ac:chgData name="Evyan Lyngshing [Chillibreeze]" userId="b5a92789-231b-4933-b5e3-9c4db485d6cf" providerId="ADAL" clId="{3C7A14F0-AC9D-4C0F-B2FD-5645A9CA3617}" dt="2026-06-29T11:54:31.746" v="1801"/>
          <ac:graphicFrameMkLst>
            <pc:docMk/>
            <pc:sldMk cId="3999067240" sldId="285"/>
            <ac:graphicFrameMk id="5" creationId="{700B9C45-3380-9C27-900B-40929B94A3BE}"/>
          </ac:graphicFrameMkLst>
        </pc:graphicFrameChg>
        <pc:picChg chg="del mod">
          <ac:chgData name="Evyan Lyngshing [Chillibreeze]" userId="b5a92789-231b-4933-b5e3-9c4db485d6cf" providerId="ADAL" clId="{3C7A14F0-AC9D-4C0F-B2FD-5645A9CA3617}" dt="2026-06-29T11:55:51.082" v="1814" actId="21"/>
          <ac:picMkLst>
            <pc:docMk/>
            <pc:sldMk cId="3999067240" sldId="285"/>
            <ac:picMk id="4" creationId="{C207053E-ED80-41B8-96E9-9F1077B085DC}"/>
          </ac:picMkLst>
        </pc:picChg>
        <pc:picChg chg="add mod">
          <ac:chgData name="Evyan Lyngshing [Chillibreeze]" userId="b5a92789-231b-4933-b5e3-9c4db485d6cf" providerId="ADAL" clId="{3C7A14F0-AC9D-4C0F-B2FD-5645A9CA3617}" dt="2026-06-29T13:10:40.283" v="3595"/>
          <ac:picMkLst>
            <pc:docMk/>
            <pc:sldMk cId="3999067240" sldId="285"/>
            <ac:picMk id="7" creationId="{C6D8368B-21A3-F72A-B85B-46A48864D61C}"/>
          </ac:picMkLst>
        </pc:picChg>
        <pc:picChg chg="add mod">
          <ac:chgData name="Evyan Lyngshing [Chillibreeze]" userId="b5a92789-231b-4933-b5e3-9c4db485d6cf" providerId="ADAL" clId="{3C7A14F0-AC9D-4C0F-B2FD-5645A9CA3617}" dt="2026-06-29T13:10:30.517" v="3594"/>
          <ac:picMkLst>
            <pc:docMk/>
            <pc:sldMk cId="3999067240" sldId="285"/>
            <ac:picMk id="8" creationId="{EB6E0A49-5728-635D-18A0-7421EDCBB39E}"/>
          </ac:picMkLst>
        </pc:picChg>
        <pc:picChg chg="add mod">
          <ac:chgData name="Evyan Lyngshing [Chillibreeze]" userId="b5a92789-231b-4933-b5e3-9c4db485d6cf" providerId="ADAL" clId="{3C7A14F0-AC9D-4C0F-B2FD-5645A9CA3617}" dt="2026-06-29T13:10:40.283" v="3595"/>
          <ac:picMkLst>
            <pc:docMk/>
            <pc:sldMk cId="3999067240" sldId="285"/>
            <ac:picMk id="9" creationId="{D21FAF26-1070-A3BC-02DE-0057A1490B4B}"/>
          </ac:picMkLst>
        </pc:picChg>
        <pc:picChg chg="add del mod ord">
          <ac:chgData name="Evyan Lyngshing [Chillibreeze]" userId="b5a92789-231b-4933-b5e3-9c4db485d6cf" providerId="ADAL" clId="{3C7A14F0-AC9D-4C0F-B2FD-5645A9CA3617}" dt="2026-06-29T13:10:55.440" v="3619" actId="21"/>
          <ac:picMkLst>
            <pc:docMk/>
            <pc:sldMk cId="3999067240" sldId="285"/>
            <ac:picMk id="10" creationId="{EE4055B6-5B52-E489-4C3E-84FC2C23C570}"/>
          </ac:picMkLst>
        </pc:picChg>
        <pc:picChg chg="add mod ord">
          <ac:chgData name="Evyan Lyngshing [Chillibreeze]" userId="b5a92789-231b-4933-b5e3-9c4db485d6cf" providerId="ADAL" clId="{3C7A14F0-AC9D-4C0F-B2FD-5645A9CA3617}" dt="2026-06-29T13:10:53.092" v="3618"/>
          <ac:picMkLst>
            <pc:docMk/>
            <pc:sldMk cId="3999067240" sldId="285"/>
            <ac:picMk id="11" creationId="{567B7851-D84E-9507-D254-47E51B307716}"/>
          </ac:picMkLst>
        </pc:picChg>
      </pc:sldChg>
      <pc:sldChg chg="addSp delSp modSp mod modClrScheme chgLayout">
        <pc:chgData name="Evyan Lyngshing [Chillibreeze]" userId="b5a92789-231b-4933-b5e3-9c4db485d6cf" providerId="ADAL" clId="{3C7A14F0-AC9D-4C0F-B2FD-5645A9CA3617}" dt="2026-06-29T13:11:12.806" v="3645" actId="21"/>
        <pc:sldMkLst>
          <pc:docMk/>
          <pc:sldMk cId="3344175260" sldId="286"/>
        </pc:sldMkLst>
        <pc:spChg chg="add mod ord">
          <ac:chgData name="Evyan Lyngshing [Chillibreeze]" userId="b5a92789-231b-4933-b5e3-9c4db485d6cf" providerId="ADAL" clId="{3C7A14F0-AC9D-4C0F-B2FD-5645A9CA3617}" dt="2026-06-29T12:14:24.558" v="2496" actId="948"/>
          <ac:spMkLst>
            <pc:docMk/>
            <pc:sldMk cId="3344175260" sldId="286"/>
            <ac:spMk id="2" creationId="{B27D636C-4B7D-C389-2546-CC4F5947363F}"/>
          </ac:spMkLst>
        </pc:spChg>
        <pc:spChg chg="del mod">
          <ac:chgData name="Evyan Lyngshing [Chillibreeze]" userId="b5a92789-231b-4933-b5e3-9c4db485d6cf" providerId="ADAL" clId="{3C7A14F0-AC9D-4C0F-B2FD-5645A9CA3617}" dt="2026-06-29T12:14:26.224" v="2497" actId="478"/>
          <ac:spMkLst>
            <pc:docMk/>
            <pc:sldMk cId="3344175260" sldId="286"/>
            <ac:spMk id="3" creationId="{4C8AD333-C456-2506-CDB8-591DF6D52AF7}"/>
          </ac:spMkLst>
        </pc:spChg>
        <pc:spChg chg="add del mod">
          <ac:chgData name="Evyan Lyngshing [Chillibreeze]" userId="b5a92789-231b-4933-b5e3-9c4db485d6cf" providerId="ADAL" clId="{3C7A14F0-AC9D-4C0F-B2FD-5645A9CA3617}" dt="2026-06-29T12:14:21.057" v="2479" actId="6264"/>
          <ac:spMkLst>
            <pc:docMk/>
            <pc:sldMk cId="3344175260" sldId="286"/>
            <ac:spMk id="6" creationId="{548E7B7A-3EA1-C95E-F690-01ACCB1690F1}"/>
          </ac:spMkLst>
        </pc:spChg>
        <pc:grpChg chg="del mod">
          <ac:chgData name="Evyan Lyngshing [Chillibreeze]" userId="b5a92789-231b-4933-b5e3-9c4db485d6cf" providerId="ADAL" clId="{3C7A14F0-AC9D-4C0F-B2FD-5645A9CA3617}" dt="2026-06-29T12:14:26.224" v="2497" actId="478"/>
          <ac:grpSpMkLst>
            <pc:docMk/>
            <pc:sldMk cId="3344175260" sldId="286"/>
            <ac:grpSpMk id="15" creationId="{CE4EA438-9CE0-A32B-E769-C197D96574DE}"/>
          </ac:grpSpMkLst>
        </pc:grpChg>
        <pc:graphicFrameChg chg="add mod ord modVis">
          <ac:chgData name="Evyan Lyngshing [Chillibreeze]" userId="b5a92789-231b-4933-b5e3-9c4db485d6cf" providerId="ADAL" clId="{3C7A14F0-AC9D-4C0F-B2FD-5645A9CA3617}" dt="2026-06-29T12:14:17.934" v="2472"/>
          <ac:graphicFrameMkLst>
            <pc:docMk/>
            <pc:sldMk cId="3344175260" sldId="286"/>
            <ac:graphicFrameMk id="4" creationId="{8CD0EA69-68AE-6B28-CBB4-2C7EA49A60EA}"/>
          </ac:graphicFrameMkLst>
        </pc:graphicFrameChg>
        <pc:picChg chg="del mod">
          <ac:chgData name="Evyan Lyngshing [Chillibreeze]" userId="b5a92789-231b-4933-b5e3-9c4db485d6cf" providerId="ADAL" clId="{3C7A14F0-AC9D-4C0F-B2FD-5645A9CA3617}" dt="2026-06-29T12:14:26.224" v="2497" actId="478"/>
          <ac:picMkLst>
            <pc:docMk/>
            <pc:sldMk cId="3344175260" sldId="286"/>
            <ac:picMk id="5" creationId="{6E71FBBD-3F29-7137-79E6-86789ABD1A24}"/>
          </ac:picMkLst>
        </pc:picChg>
        <pc:picChg chg="add mod">
          <ac:chgData name="Evyan Lyngshing [Chillibreeze]" userId="b5a92789-231b-4933-b5e3-9c4db485d6cf" providerId="ADAL" clId="{3C7A14F0-AC9D-4C0F-B2FD-5645A9CA3617}" dt="2026-06-29T13:11:00.720" v="3620"/>
          <ac:picMkLst>
            <pc:docMk/>
            <pc:sldMk cId="3344175260" sldId="286"/>
            <ac:picMk id="7" creationId="{11013C1B-49BB-0A80-48F0-CEE8D9864E7B}"/>
          </ac:picMkLst>
        </pc:picChg>
        <pc:picChg chg="add mod">
          <ac:chgData name="Evyan Lyngshing [Chillibreeze]" userId="b5a92789-231b-4933-b5e3-9c4db485d6cf" providerId="ADAL" clId="{3C7A14F0-AC9D-4C0F-B2FD-5645A9CA3617}" dt="2026-06-29T13:11:00.720" v="3620"/>
          <ac:picMkLst>
            <pc:docMk/>
            <pc:sldMk cId="3344175260" sldId="286"/>
            <ac:picMk id="8" creationId="{16F9B29D-3FB6-EA5A-DA81-841A3A7B19F0}"/>
          </ac:picMkLst>
        </pc:picChg>
        <pc:picChg chg="add del mod ord">
          <ac:chgData name="Evyan Lyngshing [Chillibreeze]" userId="b5a92789-231b-4933-b5e3-9c4db485d6cf" providerId="ADAL" clId="{3C7A14F0-AC9D-4C0F-B2FD-5645A9CA3617}" dt="2026-06-29T13:11:12.806" v="3645" actId="21"/>
          <ac:picMkLst>
            <pc:docMk/>
            <pc:sldMk cId="3344175260" sldId="286"/>
            <ac:picMk id="9" creationId="{1EBB4478-7AF8-233C-11CA-A37B2B9D5528}"/>
          </ac:picMkLst>
        </pc:picChg>
        <pc:picChg chg="add mod ord">
          <ac:chgData name="Evyan Lyngshing [Chillibreeze]" userId="b5a92789-231b-4933-b5e3-9c4db485d6cf" providerId="ADAL" clId="{3C7A14F0-AC9D-4C0F-B2FD-5645A9CA3617}" dt="2026-06-29T13:11:11.070" v="3644"/>
          <ac:picMkLst>
            <pc:docMk/>
            <pc:sldMk cId="3344175260" sldId="286"/>
            <ac:picMk id="10" creationId="{8FDD5ED0-7EC3-6D67-4E92-14B969FAAF52}"/>
          </ac:picMkLst>
        </pc:picChg>
      </pc:sldChg>
      <pc:sldChg chg="addSp delSp modSp mod modClrScheme chgLayout">
        <pc:chgData name="Evyan Lyngshing [Chillibreeze]" userId="b5a92789-231b-4933-b5e3-9c4db485d6cf" providerId="ADAL" clId="{3C7A14F0-AC9D-4C0F-B2FD-5645A9CA3617}" dt="2026-06-29T13:09:13.633" v="3515" actId="14100"/>
        <pc:sldMkLst>
          <pc:docMk/>
          <pc:sldMk cId="1037148075" sldId="287"/>
        </pc:sldMkLst>
        <pc:spChg chg="add mod ord">
          <ac:chgData name="Evyan Lyngshing [Chillibreeze]" userId="b5a92789-231b-4933-b5e3-9c4db485d6cf" providerId="ADAL" clId="{3C7A14F0-AC9D-4C0F-B2FD-5645A9CA3617}" dt="2026-06-29T13:05:30.071" v="3448"/>
          <ac:spMkLst>
            <pc:docMk/>
            <pc:sldMk cId="1037148075" sldId="287"/>
            <ac:spMk id="2" creationId="{6F4DA3C0-9305-0C68-97A7-CBCBC36AC849}"/>
          </ac:spMkLst>
        </pc:spChg>
        <pc:spChg chg="del">
          <ac:chgData name="Evyan Lyngshing [Chillibreeze]" userId="b5a92789-231b-4933-b5e3-9c4db485d6cf" providerId="ADAL" clId="{3C7A14F0-AC9D-4C0F-B2FD-5645A9CA3617}" dt="2026-06-29T09:57:38.545" v="79" actId="21"/>
          <ac:spMkLst>
            <pc:docMk/>
            <pc:sldMk cId="1037148075" sldId="287"/>
            <ac:spMk id="12" creationId="{08CA4BEA-D7C6-6531-521C-2096931BDBA4}"/>
          </ac:spMkLst>
        </pc:spChg>
        <pc:spChg chg="add del mod">
          <ac:chgData name="Evyan Lyngshing [Chillibreeze]" userId="b5a92789-231b-4933-b5e3-9c4db485d6cf" providerId="ADAL" clId="{3C7A14F0-AC9D-4C0F-B2FD-5645A9CA3617}" dt="2026-06-29T09:57:35.736" v="73" actId="6264"/>
          <ac:spMkLst>
            <pc:docMk/>
            <pc:sldMk cId="1037148075" sldId="287"/>
            <ac:spMk id="14" creationId="{835C2785-8720-8DF3-E95C-F23ECD49F1D0}"/>
          </ac:spMkLst>
        </pc:spChg>
        <pc:spChg chg="mod">
          <ac:chgData name="Evyan Lyngshing [Chillibreeze]" userId="b5a92789-231b-4933-b5e3-9c4db485d6cf" providerId="ADAL" clId="{3C7A14F0-AC9D-4C0F-B2FD-5645A9CA3617}" dt="2026-06-29T13:03:15.975" v="3385"/>
          <ac:spMkLst>
            <pc:docMk/>
            <pc:sldMk cId="1037148075" sldId="287"/>
            <ac:spMk id="16" creationId="{940B214F-E70B-1D9E-BCDF-70203468FF61}"/>
          </ac:spMkLst>
        </pc:spChg>
        <pc:spChg chg="mod">
          <ac:chgData name="Evyan Lyngshing [Chillibreeze]" userId="b5a92789-231b-4933-b5e3-9c4db485d6cf" providerId="ADAL" clId="{3C7A14F0-AC9D-4C0F-B2FD-5645A9CA3617}" dt="2026-06-29T13:03:15.975" v="3385"/>
          <ac:spMkLst>
            <pc:docMk/>
            <pc:sldMk cId="1037148075" sldId="287"/>
            <ac:spMk id="18" creationId="{63C4429F-E200-975F-6CD4-433270BEF314}"/>
          </ac:spMkLst>
        </pc:spChg>
        <pc:spChg chg="mod">
          <ac:chgData name="Evyan Lyngshing [Chillibreeze]" userId="b5a92789-231b-4933-b5e3-9c4db485d6cf" providerId="ADAL" clId="{3C7A14F0-AC9D-4C0F-B2FD-5645A9CA3617}" dt="2026-06-29T13:03:15.975" v="3385"/>
          <ac:spMkLst>
            <pc:docMk/>
            <pc:sldMk cId="1037148075" sldId="287"/>
            <ac:spMk id="20" creationId="{579667BE-38AC-D3C7-E592-AF92CBC8CE1E}"/>
          </ac:spMkLst>
        </pc:spChg>
        <pc:spChg chg="mod">
          <ac:chgData name="Evyan Lyngshing [Chillibreeze]" userId="b5a92789-231b-4933-b5e3-9c4db485d6cf" providerId="ADAL" clId="{3C7A14F0-AC9D-4C0F-B2FD-5645A9CA3617}" dt="2026-06-29T13:03:15.975" v="3385"/>
          <ac:spMkLst>
            <pc:docMk/>
            <pc:sldMk cId="1037148075" sldId="287"/>
            <ac:spMk id="21" creationId="{1241FBBA-6FD3-C83A-769E-927A821FD2B7}"/>
          </ac:spMkLst>
        </pc:spChg>
        <pc:spChg chg="add del mod">
          <ac:chgData name="Evyan Lyngshing [Chillibreeze]" userId="b5a92789-231b-4933-b5e3-9c4db485d6cf" providerId="ADAL" clId="{3C7A14F0-AC9D-4C0F-B2FD-5645A9CA3617}" dt="2026-06-29T13:04:46.297" v="3436"/>
          <ac:spMkLst>
            <pc:docMk/>
            <pc:sldMk cId="1037148075" sldId="287"/>
            <ac:spMk id="24" creationId="{E03A03F1-B718-02F6-40D7-D3F4C72F6666}"/>
          </ac:spMkLst>
        </pc:spChg>
        <pc:grpChg chg="del">
          <ac:chgData name="Evyan Lyngshing [Chillibreeze]" userId="b5a92789-231b-4933-b5e3-9c4db485d6cf" providerId="ADAL" clId="{3C7A14F0-AC9D-4C0F-B2FD-5645A9CA3617}" dt="2026-06-29T09:57:40.292" v="80" actId="21"/>
          <ac:grpSpMkLst>
            <pc:docMk/>
            <pc:sldMk cId="1037148075" sldId="287"/>
            <ac:grpSpMk id="3" creationId="{91838C70-8555-12E1-7ECF-2D0C3D3E87C4}"/>
          </ac:grpSpMkLst>
        </pc:grpChg>
        <pc:grpChg chg="add mod ord">
          <ac:chgData name="Evyan Lyngshing [Chillibreeze]" userId="b5a92789-231b-4933-b5e3-9c4db485d6cf" providerId="ADAL" clId="{3C7A14F0-AC9D-4C0F-B2FD-5645A9CA3617}" dt="2026-06-29T13:09:13.633" v="3515" actId="14100"/>
          <ac:grpSpMkLst>
            <pc:docMk/>
            <pc:sldMk cId="1037148075" sldId="287"/>
            <ac:grpSpMk id="15" creationId="{0F607BA0-AB61-4591-279A-A5483C1A67C2}"/>
          </ac:grpSpMkLst>
        </pc:grpChg>
        <pc:grpChg chg="mod">
          <ac:chgData name="Evyan Lyngshing [Chillibreeze]" userId="b5a92789-231b-4933-b5e3-9c4db485d6cf" providerId="ADAL" clId="{3C7A14F0-AC9D-4C0F-B2FD-5645A9CA3617}" dt="2026-06-29T13:03:15.975" v="3385"/>
          <ac:grpSpMkLst>
            <pc:docMk/>
            <pc:sldMk cId="1037148075" sldId="287"/>
            <ac:grpSpMk id="17" creationId="{A6926D1B-32D8-F3C2-A7F2-44D160CCF604}"/>
          </ac:grpSpMkLst>
        </pc:grpChg>
        <pc:grpChg chg="mod">
          <ac:chgData name="Evyan Lyngshing [Chillibreeze]" userId="b5a92789-231b-4933-b5e3-9c4db485d6cf" providerId="ADAL" clId="{3C7A14F0-AC9D-4C0F-B2FD-5645A9CA3617}" dt="2026-06-29T13:03:15.975" v="3385"/>
          <ac:grpSpMkLst>
            <pc:docMk/>
            <pc:sldMk cId="1037148075" sldId="287"/>
            <ac:grpSpMk id="19" creationId="{80E43954-048D-DA34-465D-CE14795B49F1}"/>
          </ac:grpSpMkLst>
        </pc:grpChg>
        <pc:graphicFrameChg chg="add mod ord modVis">
          <ac:chgData name="Evyan Lyngshing [Chillibreeze]" userId="b5a92789-231b-4933-b5e3-9c4db485d6cf" providerId="ADAL" clId="{3C7A14F0-AC9D-4C0F-B2FD-5645A9CA3617}" dt="2026-06-29T13:05:30.075" v="3458"/>
          <ac:graphicFrameMkLst>
            <pc:docMk/>
            <pc:sldMk cId="1037148075" sldId="287"/>
            <ac:graphicFrameMk id="13" creationId="{A7447308-8646-8C5F-C1CD-420A9E68C67B}"/>
          </ac:graphicFrameMkLst>
        </pc:graphicFrameChg>
        <pc:picChg chg="del">
          <ac:chgData name="Evyan Lyngshing [Chillibreeze]" userId="b5a92789-231b-4933-b5e3-9c4db485d6cf" providerId="ADAL" clId="{3C7A14F0-AC9D-4C0F-B2FD-5645A9CA3617}" dt="2026-06-29T09:57:28.530" v="46" actId="21"/>
          <ac:picMkLst>
            <pc:docMk/>
            <pc:sldMk cId="1037148075" sldId="287"/>
            <ac:picMk id="4" creationId="{22BD0148-AD04-EDA1-91FB-4BB6DC00B696}"/>
          </ac:picMkLst>
        </pc:picChg>
        <pc:picChg chg="add del mod">
          <ac:chgData name="Evyan Lyngshing [Chillibreeze]" userId="b5a92789-231b-4933-b5e3-9c4db485d6cf" providerId="ADAL" clId="{3C7A14F0-AC9D-4C0F-B2FD-5645A9CA3617}" dt="2026-06-29T13:04:46.297" v="3436"/>
          <ac:picMkLst>
            <pc:docMk/>
            <pc:sldMk cId="1037148075" sldId="287"/>
            <ac:picMk id="22" creationId="{80DB7395-CB39-F894-B890-53CFF11BD72C}"/>
          </ac:picMkLst>
        </pc:picChg>
        <pc:picChg chg="add mod ord">
          <ac:chgData name="Evyan Lyngshing [Chillibreeze]" userId="b5a92789-231b-4933-b5e3-9c4db485d6cf" providerId="ADAL" clId="{3C7A14F0-AC9D-4C0F-B2FD-5645A9CA3617}" dt="2026-06-29T13:05:48.781" v="3485" actId="553"/>
          <ac:picMkLst>
            <pc:docMk/>
            <pc:sldMk cId="1037148075" sldId="287"/>
            <ac:picMk id="23" creationId="{CA5F7252-C124-C32A-A794-8E220F96E59E}"/>
          </ac:picMkLst>
        </pc:picChg>
        <pc:picChg chg="mod ord">
          <ac:chgData name="Evyan Lyngshing [Chillibreeze]" userId="b5a92789-231b-4933-b5e3-9c4db485d6cf" providerId="ADAL" clId="{3C7A14F0-AC9D-4C0F-B2FD-5645A9CA3617}" dt="2026-06-29T13:05:57.242" v="3488" actId="1076"/>
          <ac:picMkLst>
            <pc:docMk/>
            <pc:sldMk cId="1037148075" sldId="287"/>
            <ac:picMk id="25" creationId="{BD06AE3E-D6B4-805E-4E72-AB7C8077F258}"/>
          </ac:picMkLst>
        </pc:picChg>
        <pc:cxnChg chg="add del mod ord">
          <ac:chgData name="Evyan Lyngshing [Chillibreeze]" userId="b5a92789-231b-4933-b5e3-9c4db485d6cf" providerId="ADAL" clId="{3C7A14F0-AC9D-4C0F-B2FD-5645A9CA3617}" dt="2026-06-29T13:05:43.773" v="3482" actId="21"/>
          <ac:cxnSpMkLst>
            <pc:docMk/>
            <pc:sldMk cId="1037148075" sldId="287"/>
            <ac:cxnSpMk id="27" creationId="{E8C7D651-C77C-CD55-BDE9-E8AEDD71F463}"/>
          </ac:cxnSpMkLst>
        </pc:cxnChg>
      </pc:sldChg>
      <pc:sldChg chg="addSp delSp modSp mod setBg modClrScheme chgLayout">
        <pc:chgData name="Evyan Lyngshing [Chillibreeze]" userId="b5a92789-231b-4933-b5e3-9c4db485d6cf" providerId="ADAL" clId="{3C7A14F0-AC9D-4C0F-B2FD-5645A9CA3617}" dt="2026-06-29T13:32:07.407" v="4170" actId="164"/>
        <pc:sldMkLst>
          <pc:docMk/>
          <pc:sldMk cId="310725064" sldId="290"/>
        </pc:sldMkLst>
        <pc:spChg chg="del mod ord">
          <ac:chgData name="Evyan Lyngshing [Chillibreeze]" userId="b5a92789-231b-4933-b5e3-9c4db485d6cf" providerId="ADAL" clId="{3C7A14F0-AC9D-4C0F-B2FD-5645A9CA3617}" dt="2026-06-29T11:27:36.794" v="1361" actId="478"/>
          <ac:spMkLst>
            <pc:docMk/>
            <pc:sldMk cId="310725064" sldId="290"/>
            <ac:spMk id="2" creationId="{34C1E759-988F-9F67-0E60-93613550FFAD}"/>
          </ac:spMkLst>
        </pc:spChg>
        <pc:spChg chg="mod ord">
          <ac:chgData name="Evyan Lyngshing [Chillibreeze]" userId="b5a92789-231b-4933-b5e3-9c4db485d6cf" providerId="ADAL" clId="{3C7A14F0-AC9D-4C0F-B2FD-5645A9CA3617}" dt="2026-06-29T12:26:05.850" v="3112"/>
          <ac:spMkLst>
            <pc:docMk/>
            <pc:sldMk cId="310725064" sldId="290"/>
            <ac:spMk id="4" creationId="{B15D0B8F-4376-9D46-9B62-21EEFCE8C7CD}"/>
          </ac:spMkLst>
        </pc:spChg>
        <pc:spChg chg="del mod ord">
          <ac:chgData name="Evyan Lyngshing [Chillibreeze]" userId="b5a92789-231b-4933-b5e3-9c4db485d6cf" providerId="ADAL" clId="{3C7A14F0-AC9D-4C0F-B2FD-5645A9CA3617}" dt="2026-06-29T11:27:36.794" v="1361" actId="478"/>
          <ac:spMkLst>
            <pc:docMk/>
            <pc:sldMk cId="310725064" sldId="290"/>
            <ac:spMk id="6" creationId="{0D70F2A2-9F33-0370-4723-78268F0FD10F}"/>
          </ac:spMkLst>
        </pc:spChg>
        <pc:spChg chg="add del mod">
          <ac:chgData name="Evyan Lyngshing [Chillibreeze]" userId="b5a92789-231b-4933-b5e3-9c4db485d6cf" providerId="ADAL" clId="{3C7A14F0-AC9D-4C0F-B2FD-5645A9CA3617}" dt="2026-06-29T11:25:44.120" v="1251" actId="6264"/>
          <ac:spMkLst>
            <pc:docMk/>
            <pc:sldMk cId="310725064" sldId="290"/>
            <ac:spMk id="14" creationId="{DB85CF24-5595-67BF-9836-0047AEECBF1D}"/>
          </ac:spMkLst>
        </pc:spChg>
        <pc:spChg chg="mod ord">
          <ac:chgData name="Evyan Lyngshing [Chillibreeze]" userId="b5a92789-231b-4933-b5e3-9c4db485d6cf" providerId="ADAL" clId="{3C7A14F0-AC9D-4C0F-B2FD-5645A9CA3617}" dt="2026-06-29T12:26:05.847" v="3088"/>
          <ac:spMkLst>
            <pc:docMk/>
            <pc:sldMk cId="310725064" sldId="290"/>
            <ac:spMk id="19" creationId="{F8595DF2-DFA5-501D-C271-3DD00F956E5C}"/>
          </ac:spMkLst>
        </pc:spChg>
        <pc:spChg chg="del mod ord">
          <ac:chgData name="Evyan Lyngshing [Chillibreeze]" userId="b5a92789-231b-4933-b5e3-9c4db485d6cf" providerId="ADAL" clId="{3C7A14F0-AC9D-4C0F-B2FD-5645A9CA3617}" dt="2026-06-29T12:22:51.374" v="2855" actId="21"/>
          <ac:spMkLst>
            <pc:docMk/>
            <pc:sldMk cId="310725064" sldId="290"/>
            <ac:spMk id="20" creationId="{76B0AB56-66E3-02D8-1C44-C239FF2E9FDC}"/>
          </ac:spMkLst>
        </pc:spChg>
        <pc:spChg chg="del mod ord">
          <ac:chgData name="Evyan Lyngshing [Chillibreeze]" userId="b5a92789-231b-4933-b5e3-9c4db485d6cf" providerId="ADAL" clId="{3C7A14F0-AC9D-4C0F-B2FD-5645A9CA3617}" dt="2026-06-29T12:26:03.393" v="3077" actId="478"/>
          <ac:spMkLst>
            <pc:docMk/>
            <pc:sldMk cId="310725064" sldId="290"/>
            <ac:spMk id="21" creationId="{B2CB34A0-96BC-9FB1-F8F3-AE323BDD25F1}"/>
          </ac:spMkLst>
        </pc:spChg>
        <pc:spChg chg="del mod ord">
          <ac:chgData name="Evyan Lyngshing [Chillibreeze]" userId="b5a92789-231b-4933-b5e3-9c4db485d6cf" providerId="ADAL" clId="{3C7A14F0-AC9D-4C0F-B2FD-5645A9CA3617}" dt="2026-06-29T12:26:03.393" v="3077" actId="478"/>
          <ac:spMkLst>
            <pc:docMk/>
            <pc:sldMk cId="310725064" sldId="290"/>
            <ac:spMk id="22" creationId="{FF4AB97A-49D8-6A9F-EA72-29BE392FEA11}"/>
          </ac:spMkLst>
        </pc:spChg>
        <pc:spChg chg="add mod ord">
          <ac:chgData name="Evyan Lyngshing [Chillibreeze]" userId="b5a92789-231b-4933-b5e3-9c4db485d6cf" providerId="ADAL" clId="{3C7A14F0-AC9D-4C0F-B2FD-5645A9CA3617}" dt="2026-06-29T13:31:00.935" v="4125" actId="20577"/>
          <ac:spMkLst>
            <pc:docMk/>
            <pc:sldMk cId="310725064" sldId="290"/>
            <ac:spMk id="23" creationId="{A7D8DE66-5984-1EA2-8506-7DA146E357BE}"/>
          </ac:spMkLst>
        </pc:spChg>
        <pc:spChg chg="mod ord">
          <ac:chgData name="Evyan Lyngshing [Chillibreeze]" userId="b5a92789-231b-4933-b5e3-9c4db485d6cf" providerId="ADAL" clId="{3C7A14F0-AC9D-4C0F-B2FD-5645A9CA3617}" dt="2026-06-29T12:26:05.850" v="3094"/>
          <ac:spMkLst>
            <pc:docMk/>
            <pc:sldMk cId="310725064" sldId="290"/>
            <ac:spMk id="24" creationId="{A4451302-9D91-FA40-881F-E07A7470018A}"/>
          </ac:spMkLst>
        </pc:spChg>
        <pc:spChg chg="add del mod ord">
          <ac:chgData name="Evyan Lyngshing [Chillibreeze]" userId="b5a92789-231b-4933-b5e3-9c4db485d6cf" providerId="ADAL" clId="{3C7A14F0-AC9D-4C0F-B2FD-5645A9CA3617}" dt="2026-06-29T11:28:16.897" v="1407" actId="478"/>
          <ac:spMkLst>
            <pc:docMk/>
            <pc:sldMk cId="310725064" sldId="290"/>
            <ac:spMk id="31" creationId="{81EDC6C5-9078-B514-D671-33647670D493}"/>
          </ac:spMkLst>
        </pc:spChg>
        <pc:spChg chg="del mod ord">
          <ac:chgData name="Evyan Lyngshing [Chillibreeze]" userId="b5a92789-231b-4933-b5e3-9c4db485d6cf" providerId="ADAL" clId="{3C7A14F0-AC9D-4C0F-B2FD-5645A9CA3617}" dt="2026-06-29T11:28:16.897" v="1407" actId="478"/>
          <ac:spMkLst>
            <pc:docMk/>
            <pc:sldMk cId="310725064" sldId="290"/>
            <ac:spMk id="32" creationId="{80139082-2FBA-4E84-CF4D-1448598C48B9}"/>
          </ac:spMkLst>
        </pc:spChg>
        <pc:spChg chg="add mod ord">
          <ac:chgData name="Evyan Lyngshing [Chillibreeze]" userId="b5a92789-231b-4933-b5e3-9c4db485d6cf" providerId="ADAL" clId="{3C7A14F0-AC9D-4C0F-B2FD-5645A9CA3617}" dt="2026-06-29T13:31:32.392" v="4147" actId="164"/>
          <ac:spMkLst>
            <pc:docMk/>
            <pc:sldMk cId="310725064" sldId="290"/>
            <ac:spMk id="36" creationId="{74BCC810-D5C9-B1ED-EF19-7F2D5C63383F}"/>
          </ac:spMkLst>
        </pc:spChg>
        <pc:spChg chg="mod ord">
          <ac:chgData name="Evyan Lyngshing [Chillibreeze]" userId="b5a92789-231b-4933-b5e3-9c4db485d6cf" providerId="ADAL" clId="{3C7A14F0-AC9D-4C0F-B2FD-5645A9CA3617}" dt="2026-06-29T13:32:07.407" v="4170" actId="164"/>
          <ac:spMkLst>
            <pc:docMk/>
            <pc:sldMk cId="310725064" sldId="290"/>
            <ac:spMk id="37" creationId="{B99DC259-19E5-4263-C252-8F3674D7397B}"/>
          </ac:spMkLst>
        </pc:spChg>
        <pc:spChg chg="del mod ord">
          <ac:chgData name="Evyan Lyngshing [Chillibreeze]" userId="b5a92789-231b-4933-b5e3-9c4db485d6cf" providerId="ADAL" clId="{3C7A14F0-AC9D-4C0F-B2FD-5645A9CA3617}" dt="2026-06-29T11:28:16.897" v="1407" actId="478"/>
          <ac:spMkLst>
            <pc:docMk/>
            <pc:sldMk cId="310725064" sldId="290"/>
            <ac:spMk id="38" creationId="{BF283E1E-B32D-268E-755E-2A23E75A4A6C}"/>
          </ac:spMkLst>
        </pc:spChg>
        <pc:spChg chg="add del mod ord">
          <ac:chgData name="Evyan Lyngshing [Chillibreeze]" userId="b5a92789-231b-4933-b5e3-9c4db485d6cf" providerId="ADAL" clId="{3C7A14F0-AC9D-4C0F-B2FD-5645A9CA3617}" dt="2026-06-29T11:28:16.897" v="1407" actId="478"/>
          <ac:spMkLst>
            <pc:docMk/>
            <pc:sldMk cId="310725064" sldId="290"/>
            <ac:spMk id="39" creationId="{D9DEF1C6-9353-A1A8-B0B7-DD8D9CCDE3EE}"/>
          </ac:spMkLst>
        </pc:spChg>
        <pc:spChg chg="add mod ord">
          <ac:chgData name="Evyan Lyngshing [Chillibreeze]" userId="b5a92789-231b-4933-b5e3-9c4db485d6cf" providerId="ADAL" clId="{3C7A14F0-AC9D-4C0F-B2FD-5645A9CA3617}" dt="2026-06-29T12:26:05.850" v="3102"/>
          <ac:spMkLst>
            <pc:docMk/>
            <pc:sldMk cId="310725064" sldId="290"/>
            <ac:spMk id="40" creationId="{DC5B072E-5897-B3E2-EC0D-B7D2D188B5FD}"/>
          </ac:spMkLst>
        </pc:spChg>
        <pc:spChg chg="add mod ord">
          <ac:chgData name="Evyan Lyngshing [Chillibreeze]" userId="b5a92789-231b-4933-b5e3-9c4db485d6cf" providerId="ADAL" clId="{3C7A14F0-AC9D-4C0F-B2FD-5645A9CA3617}" dt="2026-06-29T12:26:05.850" v="3104"/>
          <ac:spMkLst>
            <pc:docMk/>
            <pc:sldMk cId="310725064" sldId="290"/>
            <ac:spMk id="41" creationId="{9F1DEA88-94DA-535A-4B58-E3732BF87BB7}"/>
          </ac:spMkLst>
        </pc:spChg>
        <pc:spChg chg="del mod ord">
          <ac:chgData name="Evyan Lyngshing [Chillibreeze]" userId="b5a92789-231b-4933-b5e3-9c4db485d6cf" providerId="ADAL" clId="{3C7A14F0-AC9D-4C0F-B2FD-5645A9CA3617}" dt="2026-06-29T11:28:29.736" v="1447" actId="478"/>
          <ac:spMkLst>
            <pc:docMk/>
            <pc:sldMk cId="310725064" sldId="290"/>
            <ac:spMk id="42" creationId="{41DB5E36-5990-F568-C15D-CFDBFFE9610B}"/>
          </ac:spMkLst>
        </pc:spChg>
        <pc:spChg chg="add del mod ord">
          <ac:chgData name="Evyan Lyngshing [Chillibreeze]" userId="b5a92789-231b-4933-b5e3-9c4db485d6cf" providerId="ADAL" clId="{3C7A14F0-AC9D-4C0F-B2FD-5645A9CA3617}" dt="2026-06-29T11:28:29.736" v="1447" actId="478"/>
          <ac:spMkLst>
            <pc:docMk/>
            <pc:sldMk cId="310725064" sldId="290"/>
            <ac:spMk id="43" creationId="{6A752620-5580-C3FD-1A48-26043B373B5B}"/>
          </ac:spMkLst>
        </pc:spChg>
        <pc:spChg chg="del mod ord">
          <ac:chgData name="Evyan Lyngshing [Chillibreeze]" userId="b5a92789-231b-4933-b5e3-9c4db485d6cf" providerId="ADAL" clId="{3C7A14F0-AC9D-4C0F-B2FD-5645A9CA3617}" dt="2026-06-29T11:27:36.794" v="1361" actId="478"/>
          <ac:spMkLst>
            <pc:docMk/>
            <pc:sldMk cId="310725064" sldId="290"/>
            <ac:spMk id="58" creationId="{75805405-6126-19AB-467B-C36F6AF0DC59}"/>
          </ac:spMkLst>
        </pc:spChg>
        <pc:spChg chg="del mod ord">
          <ac:chgData name="Evyan Lyngshing [Chillibreeze]" userId="b5a92789-231b-4933-b5e3-9c4db485d6cf" providerId="ADAL" clId="{3C7A14F0-AC9D-4C0F-B2FD-5645A9CA3617}" dt="2026-06-29T11:27:36.794" v="1361" actId="478"/>
          <ac:spMkLst>
            <pc:docMk/>
            <pc:sldMk cId="310725064" sldId="290"/>
            <ac:spMk id="60" creationId="{88F870A3-A862-AE28-7836-660047016C82}"/>
          </ac:spMkLst>
        </pc:spChg>
        <pc:spChg chg="mod ord">
          <ac:chgData name="Evyan Lyngshing [Chillibreeze]" userId="b5a92789-231b-4933-b5e3-9c4db485d6cf" providerId="ADAL" clId="{3C7A14F0-AC9D-4C0F-B2FD-5645A9CA3617}" dt="2026-06-29T13:30:08.948" v="4109" actId="164"/>
          <ac:spMkLst>
            <pc:docMk/>
            <pc:sldMk cId="310725064" sldId="290"/>
            <ac:spMk id="70" creationId="{2D68CC67-4FDB-7CC0-47BE-FA95BFD1743E}"/>
          </ac:spMkLst>
        </pc:spChg>
        <pc:spChg chg="add mod ord">
          <ac:chgData name="Evyan Lyngshing [Chillibreeze]" userId="b5a92789-231b-4933-b5e3-9c4db485d6cf" providerId="ADAL" clId="{3C7A14F0-AC9D-4C0F-B2FD-5645A9CA3617}" dt="2026-06-29T13:30:51.376" v="4124" actId="164"/>
          <ac:spMkLst>
            <pc:docMk/>
            <pc:sldMk cId="310725064" sldId="290"/>
            <ac:spMk id="71" creationId="{20C708AF-836D-FD19-F39B-5D9D0BAD9819}"/>
          </ac:spMkLst>
        </pc:spChg>
        <pc:spChg chg="del mod ord">
          <ac:chgData name="Evyan Lyngshing [Chillibreeze]" userId="b5a92789-231b-4933-b5e3-9c4db485d6cf" providerId="ADAL" clId="{3C7A14F0-AC9D-4C0F-B2FD-5645A9CA3617}" dt="2026-06-29T11:28:29.736" v="1447" actId="478"/>
          <ac:spMkLst>
            <pc:docMk/>
            <pc:sldMk cId="310725064" sldId="290"/>
            <ac:spMk id="72" creationId="{2FA21497-C0CC-150C-37BD-2B0F62402C48}"/>
          </ac:spMkLst>
        </pc:spChg>
        <pc:spChg chg="add del mod ord">
          <ac:chgData name="Evyan Lyngshing [Chillibreeze]" userId="b5a92789-231b-4933-b5e3-9c4db485d6cf" providerId="ADAL" clId="{3C7A14F0-AC9D-4C0F-B2FD-5645A9CA3617}" dt="2026-06-29T11:28:29.736" v="1447" actId="478"/>
          <ac:spMkLst>
            <pc:docMk/>
            <pc:sldMk cId="310725064" sldId="290"/>
            <ac:spMk id="73" creationId="{5D8BDBE1-D0C8-425D-5877-0FCC3977EA80}"/>
          </ac:spMkLst>
        </pc:spChg>
        <pc:spChg chg="del mod ord">
          <ac:chgData name="Evyan Lyngshing [Chillibreeze]" userId="b5a92789-231b-4933-b5e3-9c4db485d6cf" providerId="ADAL" clId="{3C7A14F0-AC9D-4C0F-B2FD-5645A9CA3617}" dt="2026-06-29T11:28:29.736" v="1447" actId="478"/>
          <ac:spMkLst>
            <pc:docMk/>
            <pc:sldMk cId="310725064" sldId="290"/>
            <ac:spMk id="74" creationId="{73CA1D42-6500-0135-CD1A-E51062C35202}"/>
          </ac:spMkLst>
        </pc:spChg>
        <pc:spChg chg="add del mod ord">
          <ac:chgData name="Evyan Lyngshing [Chillibreeze]" userId="b5a92789-231b-4933-b5e3-9c4db485d6cf" providerId="ADAL" clId="{3C7A14F0-AC9D-4C0F-B2FD-5645A9CA3617}" dt="2026-06-29T11:28:29.736" v="1447" actId="478"/>
          <ac:spMkLst>
            <pc:docMk/>
            <pc:sldMk cId="310725064" sldId="290"/>
            <ac:spMk id="79" creationId="{AC587CE3-93FD-B153-CE3F-486BBAC7A1B6}"/>
          </ac:spMkLst>
        </pc:spChg>
        <pc:spChg chg="add mod ord">
          <ac:chgData name="Evyan Lyngshing [Chillibreeze]" userId="b5a92789-231b-4933-b5e3-9c4db485d6cf" providerId="ADAL" clId="{3C7A14F0-AC9D-4C0F-B2FD-5645A9CA3617}" dt="2026-06-29T13:30:42.555" v="4119" actId="1076"/>
          <ac:spMkLst>
            <pc:docMk/>
            <pc:sldMk cId="310725064" sldId="290"/>
            <ac:spMk id="83" creationId="{0236EB32-F523-9225-8408-ED6AFB038D63}"/>
          </ac:spMkLst>
        </pc:spChg>
        <pc:spChg chg="add mod ord">
          <ac:chgData name="Evyan Lyngshing [Chillibreeze]" userId="b5a92789-231b-4933-b5e3-9c4db485d6cf" providerId="ADAL" clId="{3C7A14F0-AC9D-4C0F-B2FD-5645A9CA3617}" dt="2026-06-29T12:26:05.837" v="3082"/>
          <ac:spMkLst>
            <pc:docMk/>
            <pc:sldMk cId="310725064" sldId="290"/>
            <ac:spMk id="84" creationId="{55753F27-AA37-1385-E962-C8E40E2FA885}"/>
          </ac:spMkLst>
        </pc:spChg>
        <pc:spChg chg="mod">
          <ac:chgData name="Evyan Lyngshing [Chillibreeze]" userId="b5a92789-231b-4933-b5e3-9c4db485d6cf" providerId="ADAL" clId="{3C7A14F0-AC9D-4C0F-B2FD-5645A9CA3617}" dt="2026-06-29T13:30:00.913" v="4102" actId="207"/>
          <ac:spMkLst>
            <pc:docMk/>
            <pc:sldMk cId="310725064" sldId="290"/>
            <ac:spMk id="88" creationId="{50D026A9-714A-D7D2-AD07-8F79B1C947AB}"/>
          </ac:spMkLst>
        </pc:spChg>
        <pc:spChg chg="mod">
          <ac:chgData name="Evyan Lyngshing [Chillibreeze]" userId="b5a92789-231b-4933-b5e3-9c4db485d6cf" providerId="ADAL" clId="{3C7A14F0-AC9D-4C0F-B2FD-5645A9CA3617}" dt="2026-06-29T13:30:00.913" v="4102" actId="207"/>
          <ac:spMkLst>
            <pc:docMk/>
            <pc:sldMk cId="310725064" sldId="290"/>
            <ac:spMk id="89" creationId="{1CF3501B-0860-1818-8BF8-C7DFAF591ADF}"/>
          </ac:spMkLst>
        </pc:spChg>
        <pc:spChg chg="mod">
          <ac:chgData name="Evyan Lyngshing [Chillibreeze]" userId="b5a92789-231b-4933-b5e3-9c4db485d6cf" providerId="ADAL" clId="{3C7A14F0-AC9D-4C0F-B2FD-5645A9CA3617}" dt="2026-06-29T13:30:00.913" v="4102" actId="207"/>
          <ac:spMkLst>
            <pc:docMk/>
            <pc:sldMk cId="310725064" sldId="290"/>
            <ac:spMk id="90" creationId="{4DBB70AD-1DE5-4F7B-4AF2-C1236EE5BD08}"/>
          </ac:spMkLst>
        </pc:spChg>
        <pc:spChg chg="mod">
          <ac:chgData name="Evyan Lyngshing [Chillibreeze]" userId="b5a92789-231b-4933-b5e3-9c4db485d6cf" providerId="ADAL" clId="{3C7A14F0-AC9D-4C0F-B2FD-5645A9CA3617}" dt="2026-06-29T13:30:00.913" v="4102" actId="207"/>
          <ac:spMkLst>
            <pc:docMk/>
            <pc:sldMk cId="310725064" sldId="290"/>
            <ac:spMk id="91" creationId="{83752BF8-4766-09E1-FE9D-E7D973EF5052}"/>
          </ac:spMkLst>
        </pc:spChg>
        <pc:spChg chg="mod">
          <ac:chgData name="Evyan Lyngshing [Chillibreeze]" userId="b5a92789-231b-4933-b5e3-9c4db485d6cf" providerId="ADAL" clId="{3C7A14F0-AC9D-4C0F-B2FD-5645A9CA3617}" dt="2026-06-29T13:30:00.913" v="4102" actId="207"/>
          <ac:spMkLst>
            <pc:docMk/>
            <pc:sldMk cId="310725064" sldId="290"/>
            <ac:spMk id="92" creationId="{D4FB4423-9531-1C82-805B-F7912DDDEF0C}"/>
          </ac:spMkLst>
        </pc:spChg>
        <pc:spChg chg="mod">
          <ac:chgData name="Evyan Lyngshing [Chillibreeze]" userId="b5a92789-231b-4933-b5e3-9c4db485d6cf" providerId="ADAL" clId="{3C7A14F0-AC9D-4C0F-B2FD-5645A9CA3617}" dt="2026-06-29T13:30:00.913" v="4102" actId="207"/>
          <ac:spMkLst>
            <pc:docMk/>
            <pc:sldMk cId="310725064" sldId="290"/>
            <ac:spMk id="93" creationId="{85C26819-92CF-60E2-DFE2-98C3A1F59799}"/>
          </ac:spMkLst>
        </pc:spChg>
        <pc:spChg chg="mod">
          <ac:chgData name="Evyan Lyngshing [Chillibreeze]" userId="b5a92789-231b-4933-b5e3-9c4db485d6cf" providerId="ADAL" clId="{3C7A14F0-AC9D-4C0F-B2FD-5645A9CA3617}" dt="2026-06-29T13:30:00.913" v="4102" actId="207"/>
          <ac:spMkLst>
            <pc:docMk/>
            <pc:sldMk cId="310725064" sldId="290"/>
            <ac:spMk id="94" creationId="{A2E2E922-4E4A-1D11-106C-AD3614CB6C8A}"/>
          </ac:spMkLst>
        </pc:spChg>
        <pc:spChg chg="mod">
          <ac:chgData name="Evyan Lyngshing [Chillibreeze]" userId="b5a92789-231b-4933-b5e3-9c4db485d6cf" providerId="ADAL" clId="{3C7A14F0-AC9D-4C0F-B2FD-5645A9CA3617}" dt="2026-06-29T13:30:51.376" v="4124" actId="164"/>
          <ac:spMkLst>
            <pc:docMk/>
            <pc:sldMk cId="310725064" sldId="290"/>
            <ac:spMk id="99" creationId="{17631812-088D-AC3A-562A-6A063B71314D}"/>
          </ac:spMkLst>
        </pc:spChg>
        <pc:spChg chg="mod">
          <ac:chgData name="Evyan Lyngshing [Chillibreeze]" userId="b5a92789-231b-4933-b5e3-9c4db485d6cf" providerId="ADAL" clId="{3C7A14F0-AC9D-4C0F-B2FD-5645A9CA3617}" dt="2026-06-29T13:31:22.105" v="4138" actId="207"/>
          <ac:spMkLst>
            <pc:docMk/>
            <pc:sldMk cId="310725064" sldId="290"/>
            <ac:spMk id="104" creationId="{DD51CCFC-0D16-82BF-8715-821EBFFF0586}"/>
          </ac:spMkLst>
        </pc:spChg>
        <pc:spChg chg="mod">
          <ac:chgData name="Evyan Lyngshing [Chillibreeze]" userId="b5a92789-231b-4933-b5e3-9c4db485d6cf" providerId="ADAL" clId="{3C7A14F0-AC9D-4C0F-B2FD-5645A9CA3617}" dt="2026-06-29T13:31:22.105" v="4138" actId="207"/>
          <ac:spMkLst>
            <pc:docMk/>
            <pc:sldMk cId="310725064" sldId="290"/>
            <ac:spMk id="105" creationId="{782EF1CF-7CB9-69CE-4B3D-8B66A6F5B1F2}"/>
          </ac:spMkLst>
        </pc:spChg>
        <pc:spChg chg="mod">
          <ac:chgData name="Evyan Lyngshing [Chillibreeze]" userId="b5a92789-231b-4933-b5e3-9c4db485d6cf" providerId="ADAL" clId="{3C7A14F0-AC9D-4C0F-B2FD-5645A9CA3617}" dt="2026-06-29T13:31:22.105" v="4138" actId="207"/>
          <ac:spMkLst>
            <pc:docMk/>
            <pc:sldMk cId="310725064" sldId="290"/>
            <ac:spMk id="106" creationId="{93D20998-9A07-BE81-9A02-C6CC92235E69}"/>
          </ac:spMkLst>
        </pc:spChg>
        <pc:spChg chg="del mod ord">
          <ac:chgData name="Evyan Lyngshing [Chillibreeze]" userId="b5a92789-231b-4933-b5e3-9c4db485d6cf" providerId="ADAL" clId="{3C7A14F0-AC9D-4C0F-B2FD-5645A9CA3617}" dt="2026-06-29T11:27:36.794" v="1361" actId="478"/>
          <ac:spMkLst>
            <pc:docMk/>
            <pc:sldMk cId="310725064" sldId="290"/>
            <ac:spMk id="107" creationId="{6A3E1CA6-0D58-BF3E-EDA9-322DA91E1378}"/>
          </ac:spMkLst>
        </pc:spChg>
        <pc:spChg chg="del mod ord">
          <ac:chgData name="Evyan Lyngshing [Chillibreeze]" userId="b5a92789-231b-4933-b5e3-9c4db485d6cf" providerId="ADAL" clId="{3C7A14F0-AC9D-4C0F-B2FD-5645A9CA3617}" dt="2026-06-29T11:27:36.794" v="1361" actId="478"/>
          <ac:spMkLst>
            <pc:docMk/>
            <pc:sldMk cId="310725064" sldId="290"/>
            <ac:spMk id="108" creationId="{3B64C89B-A1CF-D567-E5B3-30964E3B1A20}"/>
          </ac:spMkLst>
        </pc:spChg>
        <pc:spChg chg="mod">
          <ac:chgData name="Evyan Lyngshing [Chillibreeze]" userId="b5a92789-231b-4933-b5e3-9c4db485d6cf" providerId="ADAL" clId="{3C7A14F0-AC9D-4C0F-B2FD-5645A9CA3617}" dt="2026-06-29T13:31:22.105" v="4138" actId="207"/>
          <ac:spMkLst>
            <pc:docMk/>
            <pc:sldMk cId="310725064" sldId="290"/>
            <ac:spMk id="109" creationId="{705AA011-F71A-4DA8-209D-45810065D8D4}"/>
          </ac:spMkLst>
        </pc:spChg>
        <pc:spChg chg="del mod ord">
          <ac:chgData name="Evyan Lyngshing [Chillibreeze]" userId="b5a92789-231b-4933-b5e3-9c4db485d6cf" providerId="ADAL" clId="{3C7A14F0-AC9D-4C0F-B2FD-5645A9CA3617}" dt="2026-06-29T11:27:36.794" v="1361" actId="478"/>
          <ac:spMkLst>
            <pc:docMk/>
            <pc:sldMk cId="310725064" sldId="290"/>
            <ac:spMk id="110" creationId="{1DAFA96E-457F-760D-03DA-81B5B974BD37}"/>
          </ac:spMkLst>
        </pc:spChg>
        <pc:spChg chg="mod">
          <ac:chgData name="Evyan Lyngshing [Chillibreeze]" userId="b5a92789-231b-4933-b5e3-9c4db485d6cf" providerId="ADAL" clId="{3C7A14F0-AC9D-4C0F-B2FD-5645A9CA3617}" dt="2026-06-29T13:31:22.105" v="4138" actId="207"/>
          <ac:spMkLst>
            <pc:docMk/>
            <pc:sldMk cId="310725064" sldId="290"/>
            <ac:spMk id="112" creationId="{CDA5C8D6-C0DE-C67A-F145-D7BCCF212D82}"/>
          </ac:spMkLst>
        </pc:spChg>
        <pc:spChg chg="mod">
          <ac:chgData name="Evyan Lyngshing [Chillibreeze]" userId="b5a92789-231b-4933-b5e3-9c4db485d6cf" providerId="ADAL" clId="{3C7A14F0-AC9D-4C0F-B2FD-5645A9CA3617}" dt="2026-06-29T13:31:22.105" v="4138" actId="207"/>
          <ac:spMkLst>
            <pc:docMk/>
            <pc:sldMk cId="310725064" sldId="290"/>
            <ac:spMk id="113" creationId="{4846D212-98E2-2006-6543-BCBE9B32D4FD}"/>
          </ac:spMkLst>
        </pc:spChg>
        <pc:spChg chg="mod">
          <ac:chgData name="Evyan Lyngshing [Chillibreeze]" userId="b5a92789-231b-4933-b5e3-9c4db485d6cf" providerId="ADAL" clId="{3C7A14F0-AC9D-4C0F-B2FD-5645A9CA3617}" dt="2026-06-29T13:32:04.027" v="4165" actId="207"/>
          <ac:spMkLst>
            <pc:docMk/>
            <pc:sldMk cId="310725064" sldId="290"/>
            <ac:spMk id="119" creationId="{4D3E6B40-A266-6B95-1EC5-ACE7BF591103}"/>
          </ac:spMkLst>
        </pc:spChg>
        <pc:spChg chg="mod">
          <ac:chgData name="Evyan Lyngshing [Chillibreeze]" userId="b5a92789-231b-4933-b5e3-9c4db485d6cf" providerId="ADAL" clId="{3C7A14F0-AC9D-4C0F-B2FD-5645A9CA3617}" dt="2026-06-29T13:32:04.027" v="4165" actId="207"/>
          <ac:spMkLst>
            <pc:docMk/>
            <pc:sldMk cId="310725064" sldId="290"/>
            <ac:spMk id="120" creationId="{CFE101F8-2297-417D-14C0-B1B9EACB3239}"/>
          </ac:spMkLst>
        </pc:spChg>
        <pc:spChg chg="mod">
          <ac:chgData name="Evyan Lyngshing [Chillibreeze]" userId="b5a92789-231b-4933-b5e3-9c4db485d6cf" providerId="ADAL" clId="{3C7A14F0-AC9D-4C0F-B2FD-5645A9CA3617}" dt="2026-06-29T13:32:04.027" v="4165" actId="207"/>
          <ac:spMkLst>
            <pc:docMk/>
            <pc:sldMk cId="310725064" sldId="290"/>
            <ac:spMk id="121" creationId="{6582ADBA-F083-F569-FC75-B56331ACAD05}"/>
          </ac:spMkLst>
        </pc:spChg>
        <pc:spChg chg="mod">
          <ac:chgData name="Evyan Lyngshing [Chillibreeze]" userId="b5a92789-231b-4933-b5e3-9c4db485d6cf" providerId="ADAL" clId="{3C7A14F0-AC9D-4C0F-B2FD-5645A9CA3617}" dt="2026-06-29T13:32:04.027" v="4165" actId="207"/>
          <ac:spMkLst>
            <pc:docMk/>
            <pc:sldMk cId="310725064" sldId="290"/>
            <ac:spMk id="122" creationId="{FC522289-C7F5-1CF8-7F8B-0CEC5F25CC91}"/>
          </ac:spMkLst>
        </pc:spChg>
        <pc:spChg chg="mod">
          <ac:chgData name="Evyan Lyngshing [Chillibreeze]" userId="b5a92789-231b-4933-b5e3-9c4db485d6cf" providerId="ADAL" clId="{3C7A14F0-AC9D-4C0F-B2FD-5645A9CA3617}" dt="2026-06-29T13:32:04.027" v="4165" actId="207"/>
          <ac:spMkLst>
            <pc:docMk/>
            <pc:sldMk cId="310725064" sldId="290"/>
            <ac:spMk id="123" creationId="{D6A4633A-A9BE-F997-6BEC-EC2B074DFC14}"/>
          </ac:spMkLst>
        </pc:spChg>
        <pc:spChg chg="del mod ord">
          <ac:chgData name="Evyan Lyngshing [Chillibreeze]" userId="b5a92789-231b-4933-b5e3-9c4db485d6cf" providerId="ADAL" clId="{3C7A14F0-AC9D-4C0F-B2FD-5645A9CA3617}" dt="2026-06-29T11:27:36.794" v="1361" actId="478"/>
          <ac:spMkLst>
            <pc:docMk/>
            <pc:sldMk cId="310725064" sldId="290"/>
            <ac:spMk id="124" creationId="{874BF700-A289-89DD-56C5-215F9B7190B0}"/>
          </ac:spMkLst>
        </pc:spChg>
        <pc:spChg chg="mod">
          <ac:chgData name="Evyan Lyngshing [Chillibreeze]" userId="b5a92789-231b-4933-b5e3-9c4db485d6cf" providerId="ADAL" clId="{3C7A14F0-AC9D-4C0F-B2FD-5645A9CA3617}" dt="2026-06-29T13:32:04.027" v="4165" actId="207"/>
          <ac:spMkLst>
            <pc:docMk/>
            <pc:sldMk cId="310725064" sldId="290"/>
            <ac:spMk id="125" creationId="{1892388F-0910-AB12-A849-B5326E5296D1}"/>
          </ac:spMkLst>
        </pc:spChg>
        <pc:spChg chg="mod">
          <ac:chgData name="Evyan Lyngshing [Chillibreeze]" userId="b5a92789-231b-4933-b5e3-9c4db485d6cf" providerId="ADAL" clId="{3C7A14F0-AC9D-4C0F-B2FD-5645A9CA3617}" dt="2026-06-29T13:32:04.027" v="4165" actId="207"/>
          <ac:spMkLst>
            <pc:docMk/>
            <pc:sldMk cId="310725064" sldId="290"/>
            <ac:spMk id="126" creationId="{15D70505-CAEE-03B8-A4E9-80368BA7A33E}"/>
          </ac:spMkLst>
        </pc:spChg>
        <pc:spChg chg="mod">
          <ac:chgData name="Evyan Lyngshing [Chillibreeze]" userId="b5a92789-231b-4933-b5e3-9c4db485d6cf" providerId="ADAL" clId="{3C7A14F0-AC9D-4C0F-B2FD-5645A9CA3617}" dt="2026-06-29T13:32:04.027" v="4165" actId="207"/>
          <ac:spMkLst>
            <pc:docMk/>
            <pc:sldMk cId="310725064" sldId="290"/>
            <ac:spMk id="127" creationId="{A9A72FA3-91D6-8D34-6EBA-46DEA089EEDF}"/>
          </ac:spMkLst>
        </pc:spChg>
        <pc:spChg chg="mod">
          <ac:chgData name="Evyan Lyngshing [Chillibreeze]" userId="b5a92789-231b-4933-b5e3-9c4db485d6cf" providerId="ADAL" clId="{3C7A14F0-AC9D-4C0F-B2FD-5645A9CA3617}" dt="2026-06-29T13:32:04.027" v="4165" actId="207"/>
          <ac:spMkLst>
            <pc:docMk/>
            <pc:sldMk cId="310725064" sldId="290"/>
            <ac:spMk id="128" creationId="{8C2CA054-4846-3607-E14D-EA056F028972}"/>
          </ac:spMkLst>
        </pc:spChg>
        <pc:grpChg chg="mod ord">
          <ac:chgData name="Evyan Lyngshing [Chillibreeze]" userId="b5a92789-231b-4933-b5e3-9c4db485d6cf" providerId="ADAL" clId="{3C7A14F0-AC9D-4C0F-B2FD-5645A9CA3617}" dt="2026-06-29T11:27:04.711" v="1340"/>
          <ac:grpSpMkLst>
            <pc:docMk/>
            <pc:sldMk cId="310725064" sldId="290"/>
            <ac:grpSpMk id="3" creationId="{2DD64A6B-A09C-AAC4-0E49-0FD39D96BB9F}"/>
          </ac:grpSpMkLst>
        </pc:grpChg>
        <pc:grpChg chg="del mod ord">
          <ac:chgData name="Evyan Lyngshing [Chillibreeze]" userId="b5a92789-231b-4933-b5e3-9c4db485d6cf" providerId="ADAL" clId="{3C7A14F0-AC9D-4C0F-B2FD-5645A9CA3617}" dt="2026-06-29T11:27:36.794" v="1361" actId="478"/>
          <ac:grpSpMkLst>
            <pc:docMk/>
            <pc:sldMk cId="310725064" sldId="290"/>
            <ac:grpSpMk id="11" creationId="{1FD2CA99-58B1-47DB-1AF4-42C883D77A1F}"/>
          </ac:grpSpMkLst>
        </pc:grpChg>
        <pc:grpChg chg="mod ord">
          <ac:chgData name="Evyan Lyngshing [Chillibreeze]" userId="b5a92789-231b-4933-b5e3-9c4db485d6cf" providerId="ADAL" clId="{3C7A14F0-AC9D-4C0F-B2FD-5645A9CA3617}" dt="2026-06-29T11:27:04.711" v="1342"/>
          <ac:grpSpMkLst>
            <pc:docMk/>
            <pc:sldMk cId="310725064" sldId="290"/>
            <ac:grpSpMk id="44" creationId="{B09B2F8E-C498-9E2B-72E8-0749A544FCD0}"/>
          </ac:grpSpMkLst>
        </pc:grpChg>
        <pc:grpChg chg="mod ord">
          <ac:chgData name="Evyan Lyngshing [Chillibreeze]" userId="b5a92789-231b-4933-b5e3-9c4db485d6cf" providerId="ADAL" clId="{3C7A14F0-AC9D-4C0F-B2FD-5645A9CA3617}" dt="2026-06-29T11:27:04.713" v="1344"/>
          <ac:grpSpMkLst>
            <pc:docMk/>
            <pc:sldMk cId="310725064" sldId="290"/>
            <ac:grpSpMk id="52" creationId="{EDBA8151-68DF-DD56-D240-75DFC1CA0A71}"/>
          </ac:grpSpMkLst>
        </pc:grpChg>
        <pc:grpChg chg="del mod ord">
          <ac:chgData name="Evyan Lyngshing [Chillibreeze]" userId="b5a92789-231b-4933-b5e3-9c4db485d6cf" providerId="ADAL" clId="{3C7A14F0-AC9D-4C0F-B2FD-5645A9CA3617}" dt="2026-06-29T11:27:36.794" v="1361" actId="478"/>
          <ac:grpSpMkLst>
            <pc:docMk/>
            <pc:sldMk cId="310725064" sldId="290"/>
            <ac:grpSpMk id="62" creationId="{406DBFEF-20B9-D194-AA3C-6E6BFA6573D7}"/>
          </ac:grpSpMkLst>
        </pc:grpChg>
        <pc:grpChg chg="del mod">
          <ac:chgData name="Evyan Lyngshing [Chillibreeze]" userId="b5a92789-231b-4933-b5e3-9c4db485d6cf" providerId="ADAL" clId="{3C7A14F0-AC9D-4C0F-B2FD-5645A9CA3617}" dt="2026-06-29T13:29:46.942" v="4092" actId="27803"/>
          <ac:grpSpMkLst>
            <pc:docMk/>
            <pc:sldMk cId="310725064" sldId="290"/>
            <ac:grpSpMk id="87" creationId="{2323D0DB-787F-BB62-35F6-6D59376CEDCF}"/>
          </ac:grpSpMkLst>
        </pc:grpChg>
        <pc:grpChg chg="add mod">
          <ac:chgData name="Evyan Lyngshing [Chillibreeze]" userId="b5a92789-231b-4933-b5e3-9c4db485d6cf" providerId="ADAL" clId="{3C7A14F0-AC9D-4C0F-B2FD-5645A9CA3617}" dt="2026-06-29T13:30:08.948" v="4109" actId="164"/>
          <ac:grpSpMkLst>
            <pc:docMk/>
            <pc:sldMk cId="310725064" sldId="290"/>
            <ac:grpSpMk id="95" creationId="{1B042A5C-3016-DC60-E9FC-179B43FC4055}"/>
          </ac:grpSpMkLst>
        </pc:grpChg>
        <pc:grpChg chg="add mod">
          <ac:chgData name="Evyan Lyngshing [Chillibreeze]" userId="b5a92789-231b-4933-b5e3-9c4db485d6cf" providerId="ADAL" clId="{3C7A14F0-AC9D-4C0F-B2FD-5645A9CA3617}" dt="2026-06-29T13:30:08.948" v="4109" actId="164"/>
          <ac:grpSpMkLst>
            <pc:docMk/>
            <pc:sldMk cId="310725064" sldId="290"/>
            <ac:grpSpMk id="96" creationId="{DA3AE1B1-9BC2-1EC4-4BD3-B0F90D0314B4}"/>
          </ac:grpSpMkLst>
        </pc:grpChg>
        <pc:grpChg chg="add mod">
          <ac:chgData name="Evyan Lyngshing [Chillibreeze]" userId="b5a92789-231b-4933-b5e3-9c4db485d6cf" providerId="ADAL" clId="{3C7A14F0-AC9D-4C0F-B2FD-5645A9CA3617}" dt="2026-06-29T13:30:51.376" v="4124" actId="164"/>
          <ac:grpSpMkLst>
            <pc:docMk/>
            <pc:sldMk cId="310725064" sldId="290"/>
            <ac:grpSpMk id="100" creationId="{BB681DF5-179E-F11A-99F8-6D230454A8E5}"/>
          </ac:grpSpMkLst>
        </pc:grpChg>
        <pc:grpChg chg="del mod">
          <ac:chgData name="Evyan Lyngshing [Chillibreeze]" userId="b5a92789-231b-4933-b5e3-9c4db485d6cf" providerId="ADAL" clId="{3C7A14F0-AC9D-4C0F-B2FD-5645A9CA3617}" dt="2026-06-29T13:31:16.379" v="4128" actId="27803"/>
          <ac:grpSpMkLst>
            <pc:docMk/>
            <pc:sldMk cId="310725064" sldId="290"/>
            <ac:grpSpMk id="103" creationId="{73147B15-C6D5-D92B-41B6-0FC410B120D6}"/>
          </ac:grpSpMkLst>
        </pc:grpChg>
        <pc:grpChg chg="add mod">
          <ac:chgData name="Evyan Lyngshing [Chillibreeze]" userId="b5a92789-231b-4933-b5e3-9c4db485d6cf" providerId="ADAL" clId="{3C7A14F0-AC9D-4C0F-B2FD-5645A9CA3617}" dt="2026-06-29T13:31:32.392" v="4147" actId="164"/>
          <ac:grpSpMkLst>
            <pc:docMk/>
            <pc:sldMk cId="310725064" sldId="290"/>
            <ac:grpSpMk id="114" creationId="{962213BA-4916-D3B4-E037-E54F09CF7472}"/>
          </ac:grpSpMkLst>
        </pc:grpChg>
        <pc:grpChg chg="add mod">
          <ac:chgData name="Evyan Lyngshing [Chillibreeze]" userId="b5a92789-231b-4933-b5e3-9c4db485d6cf" providerId="ADAL" clId="{3C7A14F0-AC9D-4C0F-B2FD-5645A9CA3617}" dt="2026-06-29T13:31:32.392" v="4147" actId="164"/>
          <ac:grpSpMkLst>
            <pc:docMk/>
            <pc:sldMk cId="310725064" sldId="290"/>
            <ac:grpSpMk id="115" creationId="{F51E85E7-6B43-64F9-A522-2C4D6B986A94}"/>
          </ac:grpSpMkLst>
        </pc:grpChg>
        <pc:grpChg chg="mod">
          <ac:chgData name="Evyan Lyngshing [Chillibreeze]" userId="b5a92789-231b-4933-b5e3-9c4db485d6cf" providerId="ADAL" clId="{3C7A14F0-AC9D-4C0F-B2FD-5645A9CA3617}" dt="2026-06-29T13:32:07.407" v="4170" actId="164"/>
          <ac:grpSpMkLst>
            <pc:docMk/>
            <pc:sldMk cId="310725064" sldId="290"/>
            <ac:grpSpMk id="118" creationId="{FB379594-463A-D214-B000-9E656C168807}"/>
          </ac:grpSpMkLst>
        </pc:grpChg>
        <pc:grpChg chg="add mod">
          <ac:chgData name="Evyan Lyngshing [Chillibreeze]" userId="b5a92789-231b-4933-b5e3-9c4db485d6cf" providerId="ADAL" clId="{3C7A14F0-AC9D-4C0F-B2FD-5645A9CA3617}" dt="2026-06-29T13:32:07.407" v="4170" actId="164"/>
          <ac:grpSpMkLst>
            <pc:docMk/>
            <pc:sldMk cId="310725064" sldId="290"/>
            <ac:grpSpMk id="129" creationId="{C84E1C71-4F21-B53A-233D-8668C33CE1FF}"/>
          </ac:grpSpMkLst>
        </pc:grpChg>
        <pc:graphicFrameChg chg="add mod ord modVis">
          <ac:chgData name="Evyan Lyngshing [Chillibreeze]" userId="b5a92789-231b-4933-b5e3-9c4db485d6cf" providerId="ADAL" clId="{3C7A14F0-AC9D-4C0F-B2FD-5645A9CA3617}" dt="2026-06-29T12:26:05.850" v="3114"/>
          <ac:graphicFrameMkLst>
            <pc:docMk/>
            <pc:sldMk cId="310725064" sldId="290"/>
            <ac:graphicFrameMk id="10" creationId="{C39A04D9-00C8-ED6B-8135-CE4A335E48D4}"/>
          </ac:graphicFrameMkLst>
        </pc:graphicFrameChg>
        <pc:picChg chg="mod ord">
          <ac:chgData name="Evyan Lyngshing [Chillibreeze]" userId="b5a92789-231b-4933-b5e3-9c4db485d6cf" providerId="ADAL" clId="{3C7A14F0-AC9D-4C0F-B2FD-5645A9CA3617}" dt="2026-06-29T12:26:05.847" v="3086"/>
          <ac:picMkLst>
            <pc:docMk/>
            <pc:sldMk cId="310725064" sldId="290"/>
            <ac:picMk id="15" creationId="{056C0D3E-3661-5E38-F73F-432C82BA108F}"/>
          </ac:picMkLst>
        </pc:picChg>
        <pc:picChg chg="add mod ord">
          <ac:chgData name="Evyan Lyngshing [Chillibreeze]" userId="b5a92789-231b-4933-b5e3-9c4db485d6cf" providerId="ADAL" clId="{3C7A14F0-AC9D-4C0F-B2FD-5645A9CA3617}" dt="2026-06-29T12:26:05.837" v="3084"/>
          <ac:picMkLst>
            <pc:docMk/>
            <pc:sldMk cId="310725064" sldId="290"/>
            <ac:picMk id="80" creationId="{2EB07CB6-D248-7371-CD30-DCAF306D939A}"/>
          </ac:picMkLst>
        </pc:picChg>
        <pc:picChg chg="add mod ord">
          <ac:chgData name="Evyan Lyngshing [Chillibreeze]" userId="b5a92789-231b-4933-b5e3-9c4db485d6cf" providerId="ADAL" clId="{3C7A14F0-AC9D-4C0F-B2FD-5645A9CA3617}" dt="2026-06-29T12:26:05.847" v="3090"/>
          <ac:picMkLst>
            <pc:docMk/>
            <pc:sldMk cId="310725064" sldId="290"/>
            <ac:picMk id="82" creationId="{74265596-5D8A-A5EE-5706-FC7C504CBF3E}"/>
          </ac:picMkLst>
        </pc:picChg>
        <pc:picChg chg="add del mod">
          <ac:chgData name="Evyan Lyngshing [Chillibreeze]" userId="b5a92789-231b-4933-b5e3-9c4db485d6cf" providerId="ADAL" clId="{3C7A14F0-AC9D-4C0F-B2FD-5645A9CA3617}" dt="2026-06-29T13:29:46.942" v="4092" actId="27803"/>
          <ac:picMkLst>
            <pc:docMk/>
            <pc:sldMk cId="310725064" sldId="290"/>
            <ac:picMk id="86" creationId="{ED5738EF-1A01-7FB9-49F8-1AFF0FAD59D8}"/>
          </ac:picMkLst>
        </pc:picChg>
        <pc:picChg chg="add del mod">
          <ac:chgData name="Evyan Lyngshing [Chillibreeze]" userId="b5a92789-231b-4933-b5e3-9c4db485d6cf" providerId="ADAL" clId="{3C7A14F0-AC9D-4C0F-B2FD-5645A9CA3617}" dt="2026-06-29T13:30:31.161" v="4112" actId="27803"/>
          <ac:picMkLst>
            <pc:docMk/>
            <pc:sldMk cId="310725064" sldId="290"/>
            <ac:picMk id="98" creationId="{17631812-088D-AC3A-562A-6A063B71314D}"/>
          </ac:picMkLst>
        </pc:picChg>
        <pc:picChg chg="add del mod">
          <ac:chgData name="Evyan Lyngshing [Chillibreeze]" userId="b5a92789-231b-4933-b5e3-9c4db485d6cf" providerId="ADAL" clId="{3C7A14F0-AC9D-4C0F-B2FD-5645A9CA3617}" dt="2026-06-29T13:31:16.379" v="4128" actId="27803"/>
          <ac:picMkLst>
            <pc:docMk/>
            <pc:sldMk cId="310725064" sldId="290"/>
            <ac:picMk id="102" creationId="{6AAC1FF9-ABC0-B812-F496-BDFEF45214DF}"/>
          </ac:picMkLst>
        </pc:picChg>
        <pc:picChg chg="add del mod">
          <ac:chgData name="Evyan Lyngshing [Chillibreeze]" userId="b5a92789-231b-4933-b5e3-9c4db485d6cf" providerId="ADAL" clId="{3C7A14F0-AC9D-4C0F-B2FD-5645A9CA3617}" dt="2026-06-29T13:31:52.913" v="4150" actId="27803"/>
          <ac:picMkLst>
            <pc:docMk/>
            <pc:sldMk cId="310725064" sldId="290"/>
            <ac:picMk id="117" creationId="{000C0082-5AEA-FFD2-3AF6-63D27DE87924}"/>
          </ac:picMkLst>
        </pc:picChg>
        <pc:cxnChg chg="mod ord">
          <ac:chgData name="Evyan Lyngshing [Chillibreeze]" userId="b5a92789-231b-4933-b5e3-9c4db485d6cf" providerId="ADAL" clId="{3C7A14F0-AC9D-4C0F-B2FD-5645A9CA3617}" dt="2026-06-29T11:27:04.705" v="1324"/>
          <ac:cxnSpMkLst>
            <pc:docMk/>
            <pc:sldMk cId="310725064" sldId="290"/>
            <ac:cxnSpMk id="7" creationId="{DB5AF152-A0AA-676B-78B6-489CB8EF9C71}"/>
          </ac:cxnSpMkLst>
        </pc:cxnChg>
        <pc:cxnChg chg="mod ord">
          <ac:chgData name="Evyan Lyngshing [Chillibreeze]" userId="b5a92789-231b-4933-b5e3-9c4db485d6cf" providerId="ADAL" clId="{3C7A14F0-AC9D-4C0F-B2FD-5645A9CA3617}" dt="2026-06-29T12:26:05.850" v="3096"/>
          <ac:cxnSpMkLst>
            <pc:docMk/>
            <pc:sldMk cId="310725064" sldId="290"/>
            <ac:cxnSpMk id="33" creationId="{B1148E5F-1CFF-7783-1766-37ABA41AEDC5}"/>
          </ac:cxnSpMkLst>
        </pc:cxnChg>
        <pc:cxnChg chg="del mod ord">
          <ac:chgData name="Evyan Lyngshing [Chillibreeze]" userId="b5a92789-231b-4933-b5e3-9c4db485d6cf" providerId="ADAL" clId="{3C7A14F0-AC9D-4C0F-B2FD-5645A9CA3617}" dt="2026-06-29T11:28:16.897" v="1407" actId="478"/>
          <ac:cxnSpMkLst>
            <pc:docMk/>
            <pc:sldMk cId="310725064" sldId="290"/>
            <ac:cxnSpMk id="34" creationId="{2A155A7C-4238-8E3E-FC19-4064C47F77E1}"/>
          </ac:cxnSpMkLst>
        </pc:cxnChg>
        <pc:cxnChg chg="del mod ord">
          <ac:chgData name="Evyan Lyngshing [Chillibreeze]" userId="b5a92789-231b-4933-b5e3-9c4db485d6cf" providerId="ADAL" clId="{3C7A14F0-AC9D-4C0F-B2FD-5645A9CA3617}" dt="2026-06-29T11:28:16.897" v="1407" actId="478"/>
          <ac:cxnSpMkLst>
            <pc:docMk/>
            <pc:sldMk cId="310725064" sldId="290"/>
            <ac:cxnSpMk id="35" creationId="{ABE9EAB6-F7A4-48B3-9256-34C2F2F24156}"/>
          </ac:cxnSpMkLst>
        </pc:cxnChg>
        <pc:cxnChg chg="mod ord">
          <ac:chgData name="Evyan Lyngshing [Chillibreeze]" userId="b5a92789-231b-4933-b5e3-9c4db485d6cf" providerId="ADAL" clId="{3C7A14F0-AC9D-4C0F-B2FD-5645A9CA3617}" dt="2026-06-29T12:26:05.850" v="3110"/>
          <ac:cxnSpMkLst>
            <pc:docMk/>
            <pc:sldMk cId="310725064" sldId="290"/>
            <ac:cxnSpMk id="75" creationId="{60EC7D3D-4811-1468-8D40-F34A9D5BE4F3}"/>
          </ac:cxnSpMkLst>
        </pc:cxnChg>
        <pc:cxnChg chg="del mod ord">
          <ac:chgData name="Evyan Lyngshing [Chillibreeze]" userId="b5a92789-231b-4933-b5e3-9c4db485d6cf" providerId="ADAL" clId="{3C7A14F0-AC9D-4C0F-B2FD-5645A9CA3617}" dt="2026-06-29T11:28:29.736" v="1447" actId="478"/>
          <ac:cxnSpMkLst>
            <pc:docMk/>
            <pc:sldMk cId="310725064" sldId="290"/>
            <ac:cxnSpMk id="76" creationId="{EAB00B9A-9941-5472-CADC-6979CB05076B}"/>
          </ac:cxnSpMkLst>
        </pc:cxnChg>
        <pc:cxnChg chg="del mod ord">
          <ac:chgData name="Evyan Lyngshing [Chillibreeze]" userId="b5a92789-231b-4933-b5e3-9c4db485d6cf" providerId="ADAL" clId="{3C7A14F0-AC9D-4C0F-B2FD-5645A9CA3617}" dt="2026-06-29T11:28:29.736" v="1447" actId="478"/>
          <ac:cxnSpMkLst>
            <pc:docMk/>
            <pc:sldMk cId="310725064" sldId="290"/>
            <ac:cxnSpMk id="77" creationId="{AC2C06D8-D54E-6F71-4A33-0578889707F2}"/>
          </ac:cxnSpMkLst>
        </pc:cxnChg>
        <pc:cxnChg chg="del mod ord">
          <ac:chgData name="Evyan Lyngshing [Chillibreeze]" userId="b5a92789-231b-4933-b5e3-9c4db485d6cf" providerId="ADAL" clId="{3C7A14F0-AC9D-4C0F-B2FD-5645A9CA3617}" dt="2026-06-29T11:28:29.736" v="1447" actId="478"/>
          <ac:cxnSpMkLst>
            <pc:docMk/>
            <pc:sldMk cId="310725064" sldId="290"/>
            <ac:cxnSpMk id="78" creationId="{15C2E5A4-99A3-4DD7-40B9-C2588009772F}"/>
          </ac:cxnSpMkLst>
        </pc:cxnChg>
        <pc:cxnChg chg="mod ord">
          <ac:chgData name="Evyan Lyngshing [Chillibreeze]" userId="b5a92789-231b-4933-b5e3-9c4db485d6cf" providerId="ADAL" clId="{3C7A14F0-AC9D-4C0F-B2FD-5645A9CA3617}" dt="2026-06-29T11:27:04.709" v="1336"/>
          <ac:cxnSpMkLst>
            <pc:docMk/>
            <pc:sldMk cId="310725064" sldId="290"/>
            <ac:cxnSpMk id="111" creationId="{C47E52DD-E419-F0CD-ADBA-DAEA61D6BC6D}"/>
          </ac:cxnSpMkLst>
        </pc:cxnChg>
      </pc:sldChg>
      <pc:sldChg chg="addSp delSp modSp mod setBg modClrScheme chgLayout">
        <pc:chgData name="Evyan Lyngshing [Chillibreeze]" userId="b5a92789-231b-4933-b5e3-9c4db485d6cf" providerId="ADAL" clId="{3C7A14F0-AC9D-4C0F-B2FD-5645A9CA3617}" dt="2026-06-29T13:36:51.591" v="4283" actId="164"/>
        <pc:sldMkLst>
          <pc:docMk/>
          <pc:sldMk cId="1091536529" sldId="293"/>
        </pc:sldMkLst>
        <pc:spChg chg="mod ord">
          <ac:chgData name="Evyan Lyngshing [Chillibreeze]" userId="b5a92789-231b-4933-b5e3-9c4db485d6cf" providerId="ADAL" clId="{3C7A14F0-AC9D-4C0F-B2FD-5645A9CA3617}" dt="2026-06-29T12:26:15.594" v="3150"/>
          <ac:spMkLst>
            <pc:docMk/>
            <pc:sldMk cId="1091536529" sldId="293"/>
            <ac:spMk id="4" creationId="{B15D0B8F-4376-9D46-9B62-21EEFCE8C7CD}"/>
          </ac:spMkLst>
        </pc:spChg>
        <pc:spChg chg="mod ord">
          <ac:chgData name="Evyan Lyngshing [Chillibreeze]" userId="b5a92789-231b-4933-b5e3-9c4db485d6cf" providerId="ADAL" clId="{3C7A14F0-AC9D-4C0F-B2FD-5645A9CA3617}" dt="2026-06-29T11:41:07.610" v="1580"/>
          <ac:spMkLst>
            <pc:docMk/>
            <pc:sldMk cId="1091536529" sldId="293"/>
            <ac:spMk id="11" creationId="{BFB7D971-2C3D-05C0-C575-7F804268E66B}"/>
          </ac:spMkLst>
        </pc:spChg>
        <pc:spChg chg="del mod ord">
          <ac:chgData name="Evyan Lyngshing [Chillibreeze]" userId="b5a92789-231b-4933-b5e3-9c4db485d6cf" providerId="ADAL" clId="{3C7A14F0-AC9D-4C0F-B2FD-5645A9CA3617}" dt="2026-06-29T11:41:42.611" v="1634" actId="478"/>
          <ac:spMkLst>
            <pc:docMk/>
            <pc:sldMk cId="1091536529" sldId="293"/>
            <ac:spMk id="14" creationId="{FAE16B3C-0994-4EF5-07C8-031998226DD2}"/>
          </ac:spMkLst>
        </pc:spChg>
        <pc:spChg chg="add del mod">
          <ac:chgData name="Evyan Lyngshing [Chillibreeze]" userId="b5a92789-231b-4933-b5e3-9c4db485d6cf" providerId="ADAL" clId="{3C7A14F0-AC9D-4C0F-B2FD-5645A9CA3617}" dt="2026-06-29T11:37:04.092" v="1534" actId="6264"/>
          <ac:spMkLst>
            <pc:docMk/>
            <pc:sldMk cId="1091536529" sldId="293"/>
            <ac:spMk id="30" creationId="{42C60CCD-6B90-B8E7-4B2F-F88525AA2CE3}"/>
          </ac:spMkLst>
        </pc:spChg>
        <pc:spChg chg="add mod ord">
          <ac:chgData name="Evyan Lyngshing [Chillibreeze]" userId="b5a92789-231b-4933-b5e3-9c4db485d6cf" providerId="ADAL" clId="{3C7A14F0-AC9D-4C0F-B2FD-5645A9CA3617}" dt="2026-06-29T12:26:15.586" v="3126"/>
          <ac:spMkLst>
            <pc:docMk/>
            <pc:sldMk cId="1091536529" sldId="293"/>
            <ac:spMk id="32" creationId="{AAD0C1DE-F843-ECA3-4C03-08F6BD747801}"/>
          </ac:spMkLst>
        </pc:spChg>
        <pc:spChg chg="add del mod ord">
          <ac:chgData name="Evyan Lyngshing [Chillibreeze]" userId="b5a92789-231b-4933-b5e3-9c4db485d6cf" providerId="ADAL" clId="{3C7A14F0-AC9D-4C0F-B2FD-5645A9CA3617}" dt="2026-06-29T12:22:29.312" v="2805" actId="21"/>
          <ac:spMkLst>
            <pc:docMk/>
            <pc:sldMk cId="1091536529" sldId="293"/>
            <ac:spMk id="33" creationId="{12F32A45-6FBE-8444-453E-136DCF78FD49}"/>
          </ac:spMkLst>
        </pc:spChg>
        <pc:spChg chg="add del mod ord">
          <ac:chgData name="Evyan Lyngshing [Chillibreeze]" userId="b5a92789-231b-4933-b5e3-9c4db485d6cf" providerId="ADAL" clId="{3C7A14F0-AC9D-4C0F-B2FD-5645A9CA3617}" dt="2026-06-29T12:26:13.357" v="3115" actId="478"/>
          <ac:spMkLst>
            <pc:docMk/>
            <pc:sldMk cId="1091536529" sldId="293"/>
            <ac:spMk id="34" creationId="{F013BC54-F37A-09DE-0F61-B94D57EFEF97}"/>
          </ac:spMkLst>
        </pc:spChg>
        <pc:spChg chg="add del mod ord">
          <ac:chgData name="Evyan Lyngshing [Chillibreeze]" userId="b5a92789-231b-4933-b5e3-9c4db485d6cf" providerId="ADAL" clId="{3C7A14F0-AC9D-4C0F-B2FD-5645A9CA3617}" dt="2026-06-29T12:26:13.357" v="3115" actId="478"/>
          <ac:spMkLst>
            <pc:docMk/>
            <pc:sldMk cId="1091536529" sldId="293"/>
            <ac:spMk id="35" creationId="{5882A28E-EE78-B81A-F0EC-9AA8482823B2}"/>
          </ac:spMkLst>
        </pc:spChg>
        <pc:spChg chg="add mod ord">
          <ac:chgData name="Evyan Lyngshing [Chillibreeze]" userId="b5a92789-231b-4933-b5e3-9c4db485d6cf" providerId="ADAL" clId="{3C7A14F0-AC9D-4C0F-B2FD-5645A9CA3617}" dt="2026-06-29T12:26:15.587" v="3130"/>
          <ac:spMkLst>
            <pc:docMk/>
            <pc:sldMk cId="1091536529" sldId="293"/>
            <ac:spMk id="36" creationId="{CB0C4126-2CD9-91AC-A4E9-075255AFC341}"/>
          </ac:spMkLst>
        </pc:spChg>
        <pc:spChg chg="mod ord">
          <ac:chgData name="Evyan Lyngshing [Chillibreeze]" userId="b5a92789-231b-4933-b5e3-9c4db485d6cf" providerId="ADAL" clId="{3C7A14F0-AC9D-4C0F-B2FD-5645A9CA3617}" dt="2026-06-29T12:26:15.587" v="3132"/>
          <ac:spMkLst>
            <pc:docMk/>
            <pc:sldMk cId="1091536529" sldId="293"/>
            <ac:spMk id="37" creationId="{7681EDE2-698A-D5E6-55D1-6ACE8141125B}"/>
          </ac:spMkLst>
        </pc:spChg>
        <pc:spChg chg="add mod ord">
          <ac:chgData name="Evyan Lyngshing [Chillibreeze]" userId="b5a92789-231b-4933-b5e3-9c4db485d6cf" providerId="ADAL" clId="{3C7A14F0-AC9D-4C0F-B2FD-5645A9CA3617}" dt="2026-06-29T13:35:29.762" v="4252" actId="164"/>
          <ac:spMkLst>
            <pc:docMk/>
            <pc:sldMk cId="1091536529" sldId="293"/>
            <ac:spMk id="39" creationId="{A9FE9B5D-143F-BB9A-C557-3AF55D173F6A}"/>
          </ac:spMkLst>
        </pc:spChg>
        <pc:spChg chg="add mod ord">
          <ac:chgData name="Evyan Lyngshing [Chillibreeze]" userId="b5a92789-231b-4933-b5e3-9c4db485d6cf" providerId="ADAL" clId="{3C7A14F0-AC9D-4C0F-B2FD-5645A9CA3617}" dt="2026-06-29T13:36:13.413" v="4264" actId="164"/>
          <ac:spMkLst>
            <pc:docMk/>
            <pc:sldMk cId="1091536529" sldId="293"/>
            <ac:spMk id="40" creationId="{1EDFDBD4-722D-F340-49A3-EF12E54D600B}"/>
          </ac:spMkLst>
        </pc:spChg>
        <pc:spChg chg="add mod ord">
          <ac:chgData name="Evyan Lyngshing [Chillibreeze]" userId="b5a92789-231b-4933-b5e3-9c4db485d6cf" providerId="ADAL" clId="{3C7A14F0-AC9D-4C0F-B2FD-5645A9CA3617}" dt="2026-06-29T12:26:15.589" v="3140"/>
          <ac:spMkLst>
            <pc:docMk/>
            <pc:sldMk cId="1091536529" sldId="293"/>
            <ac:spMk id="41" creationId="{04B0EB88-75B8-589E-DC62-A0A336E415F3}"/>
          </ac:spMkLst>
        </pc:spChg>
        <pc:spChg chg="del mod ord">
          <ac:chgData name="Evyan Lyngshing [Chillibreeze]" userId="b5a92789-231b-4933-b5e3-9c4db485d6cf" providerId="ADAL" clId="{3C7A14F0-AC9D-4C0F-B2FD-5645A9CA3617}" dt="2026-06-29T11:41:42.611" v="1634" actId="478"/>
          <ac:spMkLst>
            <pc:docMk/>
            <pc:sldMk cId="1091536529" sldId="293"/>
            <ac:spMk id="42" creationId="{BADBE492-A24C-D3AE-A473-18519A479478}"/>
          </ac:spMkLst>
        </pc:spChg>
        <pc:spChg chg="del mod ord">
          <ac:chgData name="Evyan Lyngshing [Chillibreeze]" userId="b5a92789-231b-4933-b5e3-9c4db485d6cf" providerId="ADAL" clId="{3C7A14F0-AC9D-4C0F-B2FD-5645A9CA3617}" dt="2026-06-29T11:41:42.611" v="1634" actId="478"/>
          <ac:spMkLst>
            <pc:docMk/>
            <pc:sldMk cId="1091536529" sldId="293"/>
            <ac:spMk id="43" creationId="{6E80E528-8CA5-5061-68EB-690C726AC227}"/>
          </ac:spMkLst>
        </pc:spChg>
        <pc:spChg chg="mod ord">
          <ac:chgData name="Evyan Lyngshing [Chillibreeze]" userId="b5a92789-231b-4933-b5e3-9c4db485d6cf" providerId="ADAL" clId="{3C7A14F0-AC9D-4C0F-B2FD-5645A9CA3617}" dt="2026-06-29T12:26:15.591" v="3142"/>
          <ac:spMkLst>
            <pc:docMk/>
            <pc:sldMk cId="1091536529" sldId="293"/>
            <ac:spMk id="44" creationId="{A37205C0-37A1-B3C8-6162-9982E1F27CFE}"/>
          </ac:spMkLst>
        </pc:spChg>
        <pc:spChg chg="add mod ord">
          <ac:chgData name="Evyan Lyngshing [Chillibreeze]" userId="b5a92789-231b-4933-b5e3-9c4db485d6cf" providerId="ADAL" clId="{3C7A14F0-AC9D-4C0F-B2FD-5645A9CA3617}" dt="2026-06-29T13:32:50.498" v="4194" actId="164"/>
          <ac:spMkLst>
            <pc:docMk/>
            <pc:sldMk cId="1091536529" sldId="293"/>
            <ac:spMk id="45" creationId="{3D483148-ACD6-87CD-CAE1-505C795FCF08}"/>
          </ac:spMkLst>
        </pc:spChg>
        <pc:spChg chg="add mod ord">
          <ac:chgData name="Evyan Lyngshing [Chillibreeze]" userId="b5a92789-231b-4933-b5e3-9c4db485d6cf" providerId="ADAL" clId="{3C7A14F0-AC9D-4C0F-B2FD-5645A9CA3617}" dt="2026-06-29T13:33:49.981" v="4207" actId="164"/>
          <ac:spMkLst>
            <pc:docMk/>
            <pc:sldMk cId="1091536529" sldId="293"/>
            <ac:spMk id="46" creationId="{9F886952-70BD-5125-D80A-400653767039}"/>
          </ac:spMkLst>
        </pc:spChg>
        <pc:spChg chg="add mod ord">
          <ac:chgData name="Evyan Lyngshing [Chillibreeze]" userId="b5a92789-231b-4933-b5e3-9c4db485d6cf" providerId="ADAL" clId="{3C7A14F0-AC9D-4C0F-B2FD-5645A9CA3617}" dt="2026-06-29T12:26:15.594" v="3152"/>
          <ac:spMkLst>
            <pc:docMk/>
            <pc:sldMk cId="1091536529" sldId="293"/>
            <ac:spMk id="48" creationId="{1B2F5042-4745-F090-1585-C92859BEF9E6}"/>
          </ac:spMkLst>
        </pc:spChg>
        <pc:spChg chg="add mod ord">
          <ac:chgData name="Evyan Lyngshing [Chillibreeze]" userId="b5a92789-231b-4933-b5e3-9c4db485d6cf" providerId="ADAL" clId="{3C7A14F0-AC9D-4C0F-B2FD-5645A9CA3617}" dt="2026-06-29T13:34:17.384" v="4224" actId="164"/>
          <ac:spMkLst>
            <pc:docMk/>
            <pc:sldMk cId="1091536529" sldId="293"/>
            <ac:spMk id="49" creationId="{9B0D3340-4B2A-3BCE-26C2-DC90EBF6E252}"/>
          </ac:spMkLst>
        </pc:spChg>
        <pc:spChg chg="add mod ord">
          <ac:chgData name="Evyan Lyngshing [Chillibreeze]" userId="b5a92789-231b-4933-b5e3-9c4db485d6cf" providerId="ADAL" clId="{3C7A14F0-AC9D-4C0F-B2FD-5645A9CA3617}" dt="2026-06-29T12:26:15.596" v="3158"/>
          <ac:spMkLst>
            <pc:docMk/>
            <pc:sldMk cId="1091536529" sldId="293"/>
            <ac:spMk id="51" creationId="{5C2B0F00-C355-ECC5-15A3-6782EB2049E4}"/>
          </ac:spMkLst>
        </pc:spChg>
        <pc:spChg chg="add mod ord">
          <ac:chgData name="Evyan Lyngshing [Chillibreeze]" userId="b5a92789-231b-4933-b5e3-9c4db485d6cf" providerId="ADAL" clId="{3C7A14F0-AC9D-4C0F-B2FD-5645A9CA3617}" dt="2026-06-29T13:36:51.591" v="4283" actId="164"/>
          <ac:spMkLst>
            <pc:docMk/>
            <pc:sldMk cId="1091536529" sldId="293"/>
            <ac:spMk id="53" creationId="{3D8B3C3C-B16E-AEAD-C3BF-C0DC1B401B96}"/>
          </ac:spMkLst>
        </pc:spChg>
        <pc:spChg chg="add mod ord">
          <ac:chgData name="Evyan Lyngshing [Chillibreeze]" userId="b5a92789-231b-4933-b5e3-9c4db485d6cf" providerId="ADAL" clId="{3C7A14F0-AC9D-4C0F-B2FD-5645A9CA3617}" dt="2026-06-29T12:26:15.577" v="3118"/>
          <ac:spMkLst>
            <pc:docMk/>
            <pc:sldMk cId="1091536529" sldId="293"/>
            <ac:spMk id="57" creationId="{F6BBF802-4415-635F-DF6B-82D78E48E3ED}"/>
          </ac:spMkLst>
        </pc:spChg>
        <pc:spChg chg="add mod ord">
          <ac:chgData name="Evyan Lyngshing [Chillibreeze]" userId="b5a92789-231b-4933-b5e3-9c4db485d6cf" providerId="ADAL" clId="{3C7A14F0-AC9D-4C0F-B2FD-5645A9CA3617}" dt="2026-06-29T12:26:15.581" v="3120"/>
          <ac:spMkLst>
            <pc:docMk/>
            <pc:sldMk cId="1091536529" sldId="293"/>
            <ac:spMk id="58" creationId="{530F325D-B03C-7868-60DA-26FDDFE68389}"/>
          </ac:spMkLst>
        </pc:spChg>
        <pc:spChg chg="mod">
          <ac:chgData name="Evyan Lyngshing [Chillibreeze]" userId="b5a92789-231b-4933-b5e3-9c4db485d6cf" providerId="ADAL" clId="{3C7A14F0-AC9D-4C0F-B2FD-5645A9CA3617}" dt="2026-06-29T13:32:47.288" v="4190" actId="207"/>
          <ac:spMkLst>
            <pc:docMk/>
            <pc:sldMk cId="1091536529" sldId="293"/>
            <ac:spMk id="62" creationId="{3751F3B8-0DBB-717B-30D2-4A8C74BD1C4B}"/>
          </ac:spMkLst>
        </pc:spChg>
        <pc:spChg chg="mod">
          <ac:chgData name="Evyan Lyngshing [Chillibreeze]" userId="b5a92789-231b-4933-b5e3-9c4db485d6cf" providerId="ADAL" clId="{3C7A14F0-AC9D-4C0F-B2FD-5645A9CA3617}" dt="2026-06-29T13:32:47.288" v="4190" actId="207"/>
          <ac:spMkLst>
            <pc:docMk/>
            <pc:sldMk cId="1091536529" sldId="293"/>
            <ac:spMk id="63" creationId="{7F8D2AF9-984D-A0AE-7758-72EF688027AA}"/>
          </ac:spMkLst>
        </pc:spChg>
        <pc:spChg chg="mod">
          <ac:chgData name="Evyan Lyngshing [Chillibreeze]" userId="b5a92789-231b-4933-b5e3-9c4db485d6cf" providerId="ADAL" clId="{3C7A14F0-AC9D-4C0F-B2FD-5645A9CA3617}" dt="2026-06-29T13:32:47.288" v="4190" actId="207"/>
          <ac:spMkLst>
            <pc:docMk/>
            <pc:sldMk cId="1091536529" sldId="293"/>
            <ac:spMk id="64" creationId="{25CE11D2-1DB1-A177-D5CF-477522EAA5E4}"/>
          </ac:spMkLst>
        </pc:spChg>
        <pc:spChg chg="mod">
          <ac:chgData name="Evyan Lyngshing [Chillibreeze]" userId="b5a92789-231b-4933-b5e3-9c4db485d6cf" providerId="ADAL" clId="{3C7A14F0-AC9D-4C0F-B2FD-5645A9CA3617}" dt="2026-06-29T13:32:47.288" v="4190" actId="207"/>
          <ac:spMkLst>
            <pc:docMk/>
            <pc:sldMk cId="1091536529" sldId="293"/>
            <ac:spMk id="65" creationId="{BE058106-FC51-611B-C650-E9BBE93D0172}"/>
          </ac:spMkLst>
        </pc:spChg>
        <pc:spChg chg="mod">
          <ac:chgData name="Evyan Lyngshing [Chillibreeze]" userId="b5a92789-231b-4933-b5e3-9c4db485d6cf" providerId="ADAL" clId="{3C7A14F0-AC9D-4C0F-B2FD-5645A9CA3617}" dt="2026-06-29T13:32:47.288" v="4190" actId="207"/>
          <ac:spMkLst>
            <pc:docMk/>
            <pc:sldMk cId="1091536529" sldId="293"/>
            <ac:spMk id="66" creationId="{5D5D9ADC-6911-DE4B-5140-C99184C2F531}"/>
          </ac:spMkLst>
        </pc:spChg>
        <pc:spChg chg="mod">
          <ac:chgData name="Evyan Lyngshing [Chillibreeze]" userId="b5a92789-231b-4933-b5e3-9c4db485d6cf" providerId="ADAL" clId="{3C7A14F0-AC9D-4C0F-B2FD-5645A9CA3617}" dt="2026-06-29T13:32:47.288" v="4190" actId="207"/>
          <ac:spMkLst>
            <pc:docMk/>
            <pc:sldMk cId="1091536529" sldId="293"/>
            <ac:spMk id="67" creationId="{BA997E56-EF36-D47F-C44F-2CB2DDD19762}"/>
          </ac:spMkLst>
        </pc:spChg>
        <pc:spChg chg="mod">
          <ac:chgData name="Evyan Lyngshing [Chillibreeze]" userId="b5a92789-231b-4933-b5e3-9c4db485d6cf" providerId="ADAL" clId="{3C7A14F0-AC9D-4C0F-B2FD-5645A9CA3617}" dt="2026-06-29T13:32:47.288" v="4190" actId="207"/>
          <ac:spMkLst>
            <pc:docMk/>
            <pc:sldMk cId="1091536529" sldId="293"/>
            <ac:spMk id="68" creationId="{1DA7E43C-872B-0F48-1435-525A0F133575}"/>
          </ac:spMkLst>
        </pc:spChg>
        <pc:spChg chg="mod">
          <ac:chgData name="Evyan Lyngshing [Chillibreeze]" userId="b5a92789-231b-4933-b5e3-9c4db485d6cf" providerId="ADAL" clId="{3C7A14F0-AC9D-4C0F-B2FD-5645A9CA3617}" dt="2026-06-29T13:32:47.288" v="4190" actId="207"/>
          <ac:spMkLst>
            <pc:docMk/>
            <pc:sldMk cId="1091536529" sldId="293"/>
            <ac:spMk id="69" creationId="{254078C3-B2ED-B046-A67D-7F6436829E90}"/>
          </ac:spMkLst>
        </pc:spChg>
        <pc:spChg chg="mod">
          <ac:chgData name="Evyan Lyngshing [Chillibreeze]" userId="b5a92789-231b-4933-b5e3-9c4db485d6cf" providerId="ADAL" clId="{3C7A14F0-AC9D-4C0F-B2FD-5645A9CA3617}" dt="2026-06-29T13:32:47.288" v="4190" actId="207"/>
          <ac:spMkLst>
            <pc:docMk/>
            <pc:sldMk cId="1091536529" sldId="293"/>
            <ac:spMk id="78" creationId="{D84C68B4-0AD0-48BA-1182-0CA1A3971C6D}"/>
          </ac:spMkLst>
        </pc:spChg>
        <pc:spChg chg="mod">
          <ac:chgData name="Evyan Lyngshing [Chillibreeze]" userId="b5a92789-231b-4933-b5e3-9c4db485d6cf" providerId="ADAL" clId="{3C7A14F0-AC9D-4C0F-B2FD-5645A9CA3617}" dt="2026-06-29T13:32:47.288" v="4190" actId="207"/>
          <ac:spMkLst>
            <pc:docMk/>
            <pc:sldMk cId="1091536529" sldId="293"/>
            <ac:spMk id="79" creationId="{37A8337D-5AED-6100-3E1D-F2FF696762EC}"/>
          </ac:spMkLst>
        </pc:spChg>
        <pc:spChg chg="mod">
          <ac:chgData name="Evyan Lyngshing [Chillibreeze]" userId="b5a92789-231b-4933-b5e3-9c4db485d6cf" providerId="ADAL" clId="{3C7A14F0-AC9D-4C0F-B2FD-5645A9CA3617}" dt="2026-06-29T13:32:32.931" v="4184" actId="20577"/>
          <ac:spMkLst>
            <pc:docMk/>
            <pc:sldMk cId="1091536529" sldId="293"/>
            <ac:spMk id="80" creationId="{9FEB3A95-AC1F-01AB-671B-B32A5E4E0CDD}"/>
          </ac:spMkLst>
        </pc:spChg>
        <pc:spChg chg="del mod ord">
          <ac:chgData name="Evyan Lyngshing [Chillibreeze]" userId="b5a92789-231b-4933-b5e3-9c4db485d6cf" providerId="ADAL" clId="{3C7A14F0-AC9D-4C0F-B2FD-5645A9CA3617}" dt="2026-06-29T11:41:42.611" v="1634" actId="478"/>
          <ac:spMkLst>
            <pc:docMk/>
            <pc:sldMk cId="1091536529" sldId="293"/>
            <ac:spMk id="89" creationId="{E186954B-94FF-92E1-FA5E-7DB5699795C8}"/>
          </ac:spMkLst>
        </pc:spChg>
        <pc:spChg chg="del mod ord">
          <ac:chgData name="Evyan Lyngshing [Chillibreeze]" userId="b5a92789-231b-4933-b5e3-9c4db485d6cf" providerId="ADAL" clId="{3C7A14F0-AC9D-4C0F-B2FD-5645A9CA3617}" dt="2026-06-29T11:41:42.611" v="1634" actId="478"/>
          <ac:spMkLst>
            <pc:docMk/>
            <pc:sldMk cId="1091536529" sldId="293"/>
            <ac:spMk id="90" creationId="{810190D3-4B6D-93C1-EFEF-E95625CE9717}"/>
          </ac:spMkLst>
        </pc:spChg>
        <pc:spChg chg="del mod ord">
          <ac:chgData name="Evyan Lyngshing [Chillibreeze]" userId="b5a92789-231b-4933-b5e3-9c4db485d6cf" providerId="ADAL" clId="{3C7A14F0-AC9D-4C0F-B2FD-5645A9CA3617}" dt="2026-06-29T11:41:42.611" v="1634" actId="478"/>
          <ac:spMkLst>
            <pc:docMk/>
            <pc:sldMk cId="1091536529" sldId="293"/>
            <ac:spMk id="102" creationId="{97605A77-0004-5233-EAF7-52BA873394FD}"/>
          </ac:spMkLst>
        </pc:spChg>
        <pc:spChg chg="del mod ord">
          <ac:chgData name="Evyan Lyngshing [Chillibreeze]" userId="b5a92789-231b-4933-b5e3-9c4db485d6cf" providerId="ADAL" clId="{3C7A14F0-AC9D-4C0F-B2FD-5645A9CA3617}" dt="2026-06-29T11:41:42.611" v="1634" actId="478"/>
          <ac:spMkLst>
            <pc:docMk/>
            <pc:sldMk cId="1091536529" sldId="293"/>
            <ac:spMk id="103" creationId="{A4CB6FD0-4D79-DD46-0AA8-2FF285342DC0}"/>
          </ac:spMkLst>
        </pc:spChg>
        <pc:spChg chg="mod">
          <ac:chgData name="Evyan Lyngshing [Chillibreeze]" userId="b5a92789-231b-4933-b5e3-9c4db485d6cf" providerId="ADAL" clId="{3C7A14F0-AC9D-4C0F-B2FD-5645A9CA3617}" dt="2026-06-29T13:33:46.561" v="4204" actId="207"/>
          <ac:spMkLst>
            <pc:docMk/>
            <pc:sldMk cId="1091536529" sldId="293"/>
            <ac:spMk id="107" creationId="{F892BA99-60B3-FE06-A986-3FA2FE599604}"/>
          </ac:spMkLst>
        </pc:spChg>
        <pc:spChg chg="mod">
          <ac:chgData name="Evyan Lyngshing [Chillibreeze]" userId="b5a92789-231b-4933-b5e3-9c4db485d6cf" providerId="ADAL" clId="{3C7A14F0-AC9D-4C0F-B2FD-5645A9CA3617}" dt="2026-06-29T13:33:46.561" v="4204" actId="207"/>
          <ac:spMkLst>
            <pc:docMk/>
            <pc:sldMk cId="1091536529" sldId="293"/>
            <ac:spMk id="108" creationId="{EF3C03BD-18A8-7C26-9824-D2E8EF4891B3}"/>
          </ac:spMkLst>
        </pc:spChg>
        <pc:spChg chg="mod">
          <ac:chgData name="Evyan Lyngshing [Chillibreeze]" userId="b5a92789-231b-4933-b5e3-9c4db485d6cf" providerId="ADAL" clId="{3C7A14F0-AC9D-4C0F-B2FD-5645A9CA3617}" dt="2026-06-29T13:33:46.561" v="4204" actId="207"/>
          <ac:spMkLst>
            <pc:docMk/>
            <pc:sldMk cId="1091536529" sldId="293"/>
            <ac:spMk id="110" creationId="{5B3AC6D8-7008-51B0-E343-51D8F1D584CF}"/>
          </ac:spMkLst>
        </pc:spChg>
        <pc:spChg chg="del mod ord">
          <ac:chgData name="Evyan Lyngshing [Chillibreeze]" userId="b5a92789-231b-4933-b5e3-9c4db485d6cf" providerId="ADAL" clId="{3C7A14F0-AC9D-4C0F-B2FD-5645A9CA3617}" dt="2026-06-29T11:41:42.611" v="1634" actId="478"/>
          <ac:spMkLst>
            <pc:docMk/>
            <pc:sldMk cId="1091536529" sldId="293"/>
            <ac:spMk id="119" creationId="{5E5371B4-660B-6C3F-3BD0-8A7E3E9DE56A}"/>
          </ac:spMkLst>
        </pc:spChg>
        <pc:spChg chg="del mod ord">
          <ac:chgData name="Evyan Lyngshing [Chillibreeze]" userId="b5a92789-231b-4933-b5e3-9c4db485d6cf" providerId="ADAL" clId="{3C7A14F0-AC9D-4C0F-B2FD-5645A9CA3617}" dt="2026-06-29T11:41:42.611" v="1634" actId="478"/>
          <ac:spMkLst>
            <pc:docMk/>
            <pc:sldMk cId="1091536529" sldId="293"/>
            <ac:spMk id="120" creationId="{D796F91E-6E7C-D3F2-74B8-B98427BC2AD1}"/>
          </ac:spMkLst>
        </pc:spChg>
        <pc:spChg chg="del mod ord">
          <ac:chgData name="Evyan Lyngshing [Chillibreeze]" userId="b5a92789-231b-4933-b5e3-9c4db485d6cf" providerId="ADAL" clId="{3C7A14F0-AC9D-4C0F-B2FD-5645A9CA3617}" dt="2026-06-29T11:41:42.611" v="1634" actId="478"/>
          <ac:spMkLst>
            <pc:docMk/>
            <pc:sldMk cId="1091536529" sldId="293"/>
            <ac:spMk id="133" creationId="{77444349-844E-123E-3B18-D2FA12900359}"/>
          </ac:spMkLst>
        </pc:spChg>
        <pc:spChg chg="mod ord">
          <ac:chgData name="Evyan Lyngshing [Chillibreeze]" userId="b5a92789-231b-4933-b5e3-9c4db485d6cf" providerId="ADAL" clId="{3C7A14F0-AC9D-4C0F-B2FD-5645A9CA3617}" dt="2026-06-29T11:41:07.620" v="1610"/>
          <ac:spMkLst>
            <pc:docMk/>
            <pc:sldMk cId="1091536529" sldId="293"/>
            <ac:spMk id="134" creationId="{444663D2-2C50-D787-6636-94676F2E0733}"/>
          </ac:spMkLst>
        </pc:spChg>
        <pc:spChg chg="mod">
          <ac:chgData name="Evyan Lyngshing [Chillibreeze]" userId="b5a92789-231b-4933-b5e3-9c4db485d6cf" providerId="ADAL" clId="{3C7A14F0-AC9D-4C0F-B2FD-5645A9CA3617}" dt="2026-06-29T13:34:12.115" v="4220" actId="207"/>
          <ac:spMkLst>
            <pc:docMk/>
            <pc:sldMk cId="1091536529" sldId="293"/>
            <ac:spMk id="151" creationId="{20222CD7-4EC5-3490-9FAC-2CA971CF81FD}"/>
          </ac:spMkLst>
        </pc:spChg>
        <pc:spChg chg="mod">
          <ac:chgData name="Evyan Lyngshing [Chillibreeze]" userId="b5a92789-231b-4933-b5e3-9c4db485d6cf" providerId="ADAL" clId="{3C7A14F0-AC9D-4C0F-B2FD-5645A9CA3617}" dt="2026-06-29T13:34:12.115" v="4220" actId="207"/>
          <ac:spMkLst>
            <pc:docMk/>
            <pc:sldMk cId="1091536529" sldId="293"/>
            <ac:spMk id="152" creationId="{071AC862-E15D-A04D-DD00-399AB2A2364A}"/>
          </ac:spMkLst>
        </pc:spChg>
        <pc:spChg chg="mod">
          <ac:chgData name="Evyan Lyngshing [Chillibreeze]" userId="b5a92789-231b-4933-b5e3-9c4db485d6cf" providerId="ADAL" clId="{3C7A14F0-AC9D-4C0F-B2FD-5645A9CA3617}" dt="2026-06-29T13:34:12.115" v="4220" actId="207"/>
          <ac:spMkLst>
            <pc:docMk/>
            <pc:sldMk cId="1091536529" sldId="293"/>
            <ac:spMk id="153" creationId="{CBD8ED97-A7B5-7B0E-834B-AF37FD706D63}"/>
          </ac:spMkLst>
        </pc:spChg>
        <pc:spChg chg="mod">
          <ac:chgData name="Evyan Lyngshing [Chillibreeze]" userId="b5a92789-231b-4933-b5e3-9c4db485d6cf" providerId="ADAL" clId="{3C7A14F0-AC9D-4C0F-B2FD-5645A9CA3617}" dt="2026-06-29T13:34:12.115" v="4220" actId="207"/>
          <ac:spMkLst>
            <pc:docMk/>
            <pc:sldMk cId="1091536529" sldId="293"/>
            <ac:spMk id="154" creationId="{E881E326-4624-43A7-B6EC-35E58152AF86}"/>
          </ac:spMkLst>
        </pc:spChg>
        <pc:spChg chg="mod">
          <ac:chgData name="Evyan Lyngshing [Chillibreeze]" userId="b5a92789-231b-4933-b5e3-9c4db485d6cf" providerId="ADAL" clId="{3C7A14F0-AC9D-4C0F-B2FD-5645A9CA3617}" dt="2026-06-29T13:34:12.115" v="4220" actId="207"/>
          <ac:spMkLst>
            <pc:docMk/>
            <pc:sldMk cId="1091536529" sldId="293"/>
            <ac:spMk id="155" creationId="{B8CFDF7B-257A-81DE-ED7E-7E3D76F323F0}"/>
          </ac:spMkLst>
        </pc:spChg>
        <pc:spChg chg="mod">
          <ac:chgData name="Evyan Lyngshing [Chillibreeze]" userId="b5a92789-231b-4933-b5e3-9c4db485d6cf" providerId="ADAL" clId="{3C7A14F0-AC9D-4C0F-B2FD-5645A9CA3617}" dt="2026-06-29T13:34:12.115" v="4220" actId="207"/>
          <ac:spMkLst>
            <pc:docMk/>
            <pc:sldMk cId="1091536529" sldId="293"/>
            <ac:spMk id="157" creationId="{84B0235B-8395-30C6-1A21-4894AFF2F615}"/>
          </ac:spMkLst>
        </pc:spChg>
        <pc:spChg chg="mod">
          <ac:chgData name="Evyan Lyngshing [Chillibreeze]" userId="b5a92789-231b-4933-b5e3-9c4db485d6cf" providerId="ADAL" clId="{3C7A14F0-AC9D-4C0F-B2FD-5645A9CA3617}" dt="2026-06-29T13:34:12.115" v="4220" actId="207"/>
          <ac:spMkLst>
            <pc:docMk/>
            <pc:sldMk cId="1091536529" sldId="293"/>
            <ac:spMk id="158" creationId="{5E33B18B-AFAE-E504-4B6E-DE1B3CF815EF}"/>
          </ac:spMkLst>
        </pc:spChg>
        <pc:spChg chg="mod">
          <ac:chgData name="Evyan Lyngshing [Chillibreeze]" userId="b5a92789-231b-4933-b5e3-9c4db485d6cf" providerId="ADAL" clId="{3C7A14F0-AC9D-4C0F-B2FD-5645A9CA3617}" dt="2026-06-29T13:34:45.797" v="4231" actId="164"/>
          <ac:spMkLst>
            <pc:docMk/>
            <pc:sldMk cId="1091536529" sldId="293"/>
            <ac:spMk id="163" creationId="{D86387AD-4643-C62D-21D1-07F19B05FD67}"/>
          </ac:spMkLst>
        </pc:spChg>
        <pc:spChg chg="mod">
          <ac:chgData name="Evyan Lyngshing [Chillibreeze]" userId="b5a92789-231b-4933-b5e3-9c4db485d6cf" providerId="ADAL" clId="{3C7A14F0-AC9D-4C0F-B2FD-5645A9CA3617}" dt="2026-06-29T13:34:45.797" v="4231" actId="164"/>
          <ac:spMkLst>
            <pc:docMk/>
            <pc:sldMk cId="1091536529" sldId="293"/>
            <ac:spMk id="164" creationId="{230E5B3F-AF37-EB17-822D-8C985FE98815}"/>
          </ac:spMkLst>
        </pc:spChg>
        <pc:spChg chg="mod">
          <ac:chgData name="Evyan Lyngshing [Chillibreeze]" userId="b5a92789-231b-4933-b5e3-9c4db485d6cf" providerId="ADAL" clId="{3C7A14F0-AC9D-4C0F-B2FD-5645A9CA3617}" dt="2026-06-29T13:34:45.797" v="4231" actId="164"/>
          <ac:spMkLst>
            <pc:docMk/>
            <pc:sldMk cId="1091536529" sldId="293"/>
            <ac:spMk id="165" creationId="{3D3A50AD-74D1-4609-89F0-185529760CA9}"/>
          </ac:spMkLst>
        </pc:spChg>
        <pc:spChg chg="mod">
          <ac:chgData name="Evyan Lyngshing [Chillibreeze]" userId="b5a92789-231b-4933-b5e3-9c4db485d6cf" providerId="ADAL" clId="{3C7A14F0-AC9D-4C0F-B2FD-5645A9CA3617}" dt="2026-06-29T13:35:16.783" v="4243" actId="207"/>
          <ac:spMkLst>
            <pc:docMk/>
            <pc:sldMk cId="1091536529" sldId="293"/>
            <ac:spMk id="170" creationId="{22F116F9-79E2-DE9F-FB9A-63E47FF20CE3}"/>
          </ac:spMkLst>
        </pc:spChg>
        <pc:spChg chg="mod">
          <ac:chgData name="Evyan Lyngshing [Chillibreeze]" userId="b5a92789-231b-4933-b5e3-9c4db485d6cf" providerId="ADAL" clId="{3C7A14F0-AC9D-4C0F-B2FD-5645A9CA3617}" dt="2026-06-29T13:35:16.783" v="4243" actId="207"/>
          <ac:spMkLst>
            <pc:docMk/>
            <pc:sldMk cId="1091536529" sldId="293"/>
            <ac:spMk id="171" creationId="{CE1888D1-2263-332C-07A9-D6B79DBF23DB}"/>
          </ac:spMkLst>
        </pc:spChg>
        <pc:spChg chg="mod">
          <ac:chgData name="Evyan Lyngshing [Chillibreeze]" userId="b5a92789-231b-4933-b5e3-9c4db485d6cf" providerId="ADAL" clId="{3C7A14F0-AC9D-4C0F-B2FD-5645A9CA3617}" dt="2026-06-29T13:35:16.783" v="4243" actId="207"/>
          <ac:spMkLst>
            <pc:docMk/>
            <pc:sldMk cId="1091536529" sldId="293"/>
            <ac:spMk id="172" creationId="{351550A1-FFC4-1516-C1EE-7F4B741F9E8D}"/>
          </ac:spMkLst>
        </pc:spChg>
        <pc:spChg chg="mod">
          <ac:chgData name="Evyan Lyngshing [Chillibreeze]" userId="b5a92789-231b-4933-b5e3-9c4db485d6cf" providerId="ADAL" clId="{3C7A14F0-AC9D-4C0F-B2FD-5645A9CA3617}" dt="2026-06-29T13:36:13.413" v="4264" actId="164"/>
          <ac:spMkLst>
            <pc:docMk/>
            <pc:sldMk cId="1091536529" sldId="293"/>
            <ac:spMk id="176" creationId="{3A6DF384-A103-F51E-4E28-772FBD34C567}"/>
          </ac:spMkLst>
        </pc:spChg>
        <pc:spChg chg="mod">
          <ac:chgData name="Evyan Lyngshing [Chillibreeze]" userId="b5a92789-231b-4933-b5e3-9c4db485d6cf" providerId="ADAL" clId="{3C7A14F0-AC9D-4C0F-B2FD-5645A9CA3617}" dt="2026-06-29T13:36:39.402" v="4277" actId="207"/>
          <ac:spMkLst>
            <pc:docMk/>
            <pc:sldMk cId="1091536529" sldId="293"/>
            <ac:spMk id="181" creationId="{ACA8E661-DE9E-ED40-C676-B3B05DA18DB5}"/>
          </ac:spMkLst>
        </pc:spChg>
        <pc:spChg chg="mod">
          <ac:chgData name="Evyan Lyngshing [Chillibreeze]" userId="b5a92789-231b-4933-b5e3-9c4db485d6cf" providerId="ADAL" clId="{3C7A14F0-AC9D-4C0F-B2FD-5645A9CA3617}" dt="2026-06-29T13:36:39.402" v="4277" actId="207"/>
          <ac:spMkLst>
            <pc:docMk/>
            <pc:sldMk cId="1091536529" sldId="293"/>
            <ac:spMk id="182" creationId="{65AF79CD-A339-D340-3A6F-07A93ED5B1C8}"/>
          </ac:spMkLst>
        </pc:spChg>
        <pc:spChg chg="mod">
          <ac:chgData name="Evyan Lyngshing [Chillibreeze]" userId="b5a92789-231b-4933-b5e3-9c4db485d6cf" providerId="ADAL" clId="{3C7A14F0-AC9D-4C0F-B2FD-5645A9CA3617}" dt="2026-06-29T13:36:39.402" v="4277" actId="207"/>
          <ac:spMkLst>
            <pc:docMk/>
            <pc:sldMk cId="1091536529" sldId="293"/>
            <ac:spMk id="183" creationId="{40815B88-542D-D860-250E-2E2C2B9F170B}"/>
          </ac:spMkLst>
        </pc:spChg>
        <pc:spChg chg="mod">
          <ac:chgData name="Evyan Lyngshing [Chillibreeze]" userId="b5a92789-231b-4933-b5e3-9c4db485d6cf" providerId="ADAL" clId="{3C7A14F0-AC9D-4C0F-B2FD-5645A9CA3617}" dt="2026-06-29T13:36:39.402" v="4277" actId="207"/>
          <ac:spMkLst>
            <pc:docMk/>
            <pc:sldMk cId="1091536529" sldId="293"/>
            <ac:spMk id="184" creationId="{CD9BBD40-A557-E6A2-2B71-C926F1B1F35A}"/>
          </ac:spMkLst>
        </pc:spChg>
        <pc:spChg chg="mod">
          <ac:chgData name="Evyan Lyngshing [Chillibreeze]" userId="b5a92789-231b-4933-b5e3-9c4db485d6cf" providerId="ADAL" clId="{3C7A14F0-AC9D-4C0F-B2FD-5645A9CA3617}" dt="2026-06-29T13:36:39.402" v="4277" actId="207"/>
          <ac:spMkLst>
            <pc:docMk/>
            <pc:sldMk cId="1091536529" sldId="293"/>
            <ac:spMk id="185" creationId="{C4AA7C14-BE35-EAC7-9724-800F22EEAB4F}"/>
          </ac:spMkLst>
        </pc:spChg>
        <pc:spChg chg="mod">
          <ac:chgData name="Evyan Lyngshing [Chillibreeze]" userId="b5a92789-231b-4933-b5e3-9c4db485d6cf" providerId="ADAL" clId="{3C7A14F0-AC9D-4C0F-B2FD-5645A9CA3617}" dt="2026-06-29T13:36:39.402" v="4277" actId="207"/>
          <ac:spMkLst>
            <pc:docMk/>
            <pc:sldMk cId="1091536529" sldId="293"/>
            <ac:spMk id="186" creationId="{54DC6720-FA74-E2B5-632B-844C3DD77F91}"/>
          </ac:spMkLst>
        </pc:spChg>
        <pc:spChg chg="mod">
          <ac:chgData name="Evyan Lyngshing [Chillibreeze]" userId="b5a92789-231b-4933-b5e3-9c4db485d6cf" providerId="ADAL" clId="{3C7A14F0-AC9D-4C0F-B2FD-5645A9CA3617}" dt="2026-06-29T13:36:39.402" v="4277" actId="207"/>
          <ac:spMkLst>
            <pc:docMk/>
            <pc:sldMk cId="1091536529" sldId="293"/>
            <ac:spMk id="187" creationId="{0C8AF016-98AA-B0C5-9BD6-2C644EA096B8}"/>
          </ac:spMkLst>
        </pc:spChg>
        <pc:grpChg chg="mod ord">
          <ac:chgData name="Evyan Lyngshing [Chillibreeze]" userId="b5a92789-231b-4933-b5e3-9c4db485d6cf" providerId="ADAL" clId="{3C7A14F0-AC9D-4C0F-B2FD-5645A9CA3617}" dt="2026-06-29T11:41:07.625" v="1616"/>
          <ac:grpSpMkLst>
            <pc:docMk/>
            <pc:sldMk cId="1091536529" sldId="293"/>
            <ac:grpSpMk id="2" creationId="{74873BA7-7844-5468-0154-0AF073C904CD}"/>
          </ac:grpSpMkLst>
        </pc:grpChg>
        <pc:grpChg chg="mod ord">
          <ac:chgData name="Evyan Lyngshing [Chillibreeze]" userId="b5a92789-231b-4933-b5e3-9c4db485d6cf" providerId="ADAL" clId="{3C7A14F0-AC9D-4C0F-B2FD-5645A9CA3617}" dt="2026-06-29T11:41:07.614" v="1584"/>
          <ac:grpSpMkLst>
            <pc:docMk/>
            <pc:sldMk cId="1091536529" sldId="293"/>
            <ac:grpSpMk id="15" creationId="{AEE2322D-91FE-0872-43F9-A6AD07E119C1}"/>
          </ac:grpSpMkLst>
        </pc:grpChg>
        <pc:grpChg chg="mod ord">
          <ac:chgData name="Evyan Lyngshing [Chillibreeze]" userId="b5a92789-231b-4933-b5e3-9c4db485d6cf" providerId="ADAL" clId="{3C7A14F0-AC9D-4C0F-B2FD-5645A9CA3617}" dt="2026-06-29T11:41:07.614" v="1590"/>
          <ac:grpSpMkLst>
            <pc:docMk/>
            <pc:sldMk cId="1091536529" sldId="293"/>
            <ac:grpSpMk id="70" creationId="{B981F574-B6AF-0DED-EF0F-9BA06FD286DA}"/>
          </ac:grpSpMkLst>
        </pc:grpChg>
        <pc:grpChg chg="mod">
          <ac:chgData name="Evyan Lyngshing [Chillibreeze]" userId="b5a92789-231b-4933-b5e3-9c4db485d6cf" providerId="ADAL" clId="{3C7A14F0-AC9D-4C0F-B2FD-5645A9CA3617}" dt="2026-06-29T13:32:50.498" v="4194" actId="164"/>
          <ac:grpSpMkLst>
            <pc:docMk/>
            <pc:sldMk cId="1091536529" sldId="293"/>
            <ac:grpSpMk id="81" creationId="{4A115466-A319-49A1-AC81-19BE82A0C289}"/>
          </ac:grpSpMkLst>
        </pc:grpChg>
        <pc:grpChg chg="add mod">
          <ac:chgData name="Evyan Lyngshing [Chillibreeze]" userId="b5a92789-231b-4933-b5e3-9c4db485d6cf" providerId="ADAL" clId="{3C7A14F0-AC9D-4C0F-B2FD-5645A9CA3617}" dt="2026-06-29T13:32:50.498" v="4194" actId="164"/>
          <ac:grpSpMkLst>
            <pc:docMk/>
            <pc:sldMk cId="1091536529" sldId="293"/>
            <ac:grpSpMk id="82" creationId="{C0F62255-379C-7B21-7261-AF14543C0D7E}"/>
          </ac:grpSpMkLst>
        </pc:grpChg>
        <pc:grpChg chg="mod">
          <ac:chgData name="Evyan Lyngshing [Chillibreeze]" userId="b5a92789-231b-4933-b5e3-9c4db485d6cf" providerId="ADAL" clId="{3C7A14F0-AC9D-4C0F-B2FD-5645A9CA3617}" dt="2026-06-29T13:33:49.981" v="4207" actId="164"/>
          <ac:grpSpMkLst>
            <pc:docMk/>
            <pc:sldMk cId="1091536529" sldId="293"/>
            <ac:grpSpMk id="85" creationId="{A798DF0E-DF60-3CDD-B209-F2165AFA1587}"/>
          </ac:grpSpMkLst>
        </pc:grpChg>
        <pc:grpChg chg="mod ord">
          <ac:chgData name="Evyan Lyngshing [Chillibreeze]" userId="b5a92789-231b-4933-b5e3-9c4db485d6cf" providerId="ADAL" clId="{3C7A14F0-AC9D-4C0F-B2FD-5645A9CA3617}" dt="2026-06-29T11:41:07.614" v="1596"/>
          <ac:grpSpMkLst>
            <pc:docMk/>
            <pc:sldMk cId="1091536529" sldId="293"/>
            <ac:grpSpMk id="91" creationId="{A71A2C15-2DAF-EA2C-0F08-B4CF6BE7EB9B}"/>
          </ac:grpSpMkLst>
        </pc:grpChg>
        <pc:grpChg chg="mod ord">
          <ac:chgData name="Evyan Lyngshing [Chillibreeze]" userId="b5a92789-231b-4933-b5e3-9c4db485d6cf" providerId="ADAL" clId="{3C7A14F0-AC9D-4C0F-B2FD-5645A9CA3617}" dt="2026-06-29T11:41:07.620" v="1600"/>
          <ac:grpSpMkLst>
            <pc:docMk/>
            <pc:sldMk cId="1091536529" sldId="293"/>
            <ac:grpSpMk id="104" creationId="{C67C47D7-F0C0-925B-4918-539E67DA16E1}"/>
          </ac:grpSpMkLst>
        </pc:grpChg>
        <pc:grpChg chg="mod ord">
          <ac:chgData name="Evyan Lyngshing [Chillibreeze]" userId="b5a92789-231b-4933-b5e3-9c4db485d6cf" providerId="ADAL" clId="{3C7A14F0-AC9D-4C0F-B2FD-5645A9CA3617}" dt="2026-06-29T11:41:07.620" v="1606"/>
          <ac:grpSpMkLst>
            <pc:docMk/>
            <pc:sldMk cId="1091536529" sldId="293"/>
            <ac:grpSpMk id="121" creationId="{23920A03-9E05-69E4-F836-ADE295ABF43D}"/>
          </ac:grpSpMkLst>
        </pc:grpChg>
        <pc:grpChg chg="add mod">
          <ac:chgData name="Evyan Lyngshing [Chillibreeze]" userId="b5a92789-231b-4933-b5e3-9c4db485d6cf" providerId="ADAL" clId="{3C7A14F0-AC9D-4C0F-B2FD-5645A9CA3617}" dt="2026-06-29T13:33:49.981" v="4207" actId="164"/>
          <ac:grpSpMkLst>
            <pc:docMk/>
            <pc:sldMk cId="1091536529" sldId="293"/>
            <ac:grpSpMk id="124" creationId="{F7AA43DD-EB8B-1B3D-82FF-B6270361CDB3}"/>
          </ac:grpSpMkLst>
        </pc:grpChg>
        <pc:grpChg chg="mod ord">
          <ac:chgData name="Evyan Lyngshing [Chillibreeze]" userId="b5a92789-231b-4933-b5e3-9c4db485d6cf" providerId="ADAL" clId="{3C7A14F0-AC9D-4C0F-B2FD-5645A9CA3617}" dt="2026-06-29T11:41:07.625" v="1612"/>
          <ac:grpSpMkLst>
            <pc:docMk/>
            <pc:sldMk cId="1091536529" sldId="293"/>
            <ac:grpSpMk id="135" creationId="{75AA5218-BD2A-5113-F6A4-F52C79DEBA64}"/>
          </ac:grpSpMkLst>
        </pc:grpChg>
        <pc:grpChg chg="mod">
          <ac:chgData name="Evyan Lyngshing [Chillibreeze]" userId="b5a92789-231b-4933-b5e3-9c4db485d6cf" providerId="ADAL" clId="{3C7A14F0-AC9D-4C0F-B2FD-5645A9CA3617}" dt="2026-06-29T13:34:17.384" v="4224" actId="164"/>
          <ac:grpSpMkLst>
            <pc:docMk/>
            <pc:sldMk cId="1091536529" sldId="293"/>
            <ac:grpSpMk id="148" creationId="{ECF87D30-2E40-B7DD-80E6-C34BA23812B6}"/>
          </ac:grpSpMkLst>
        </pc:grpChg>
        <pc:grpChg chg="mod">
          <ac:chgData name="Evyan Lyngshing [Chillibreeze]" userId="b5a92789-231b-4933-b5e3-9c4db485d6cf" providerId="ADAL" clId="{3C7A14F0-AC9D-4C0F-B2FD-5645A9CA3617}" dt="2026-06-29T13:34:12.115" v="4220" actId="207"/>
          <ac:grpSpMkLst>
            <pc:docMk/>
            <pc:sldMk cId="1091536529" sldId="293"/>
            <ac:grpSpMk id="149" creationId="{C407DFDC-B521-89D3-DF36-12CAD9784E9D}"/>
          </ac:grpSpMkLst>
        </pc:grpChg>
        <pc:grpChg chg="mod">
          <ac:chgData name="Evyan Lyngshing [Chillibreeze]" userId="b5a92789-231b-4933-b5e3-9c4db485d6cf" providerId="ADAL" clId="{3C7A14F0-AC9D-4C0F-B2FD-5645A9CA3617}" dt="2026-06-29T13:34:12.115" v="4220" actId="207"/>
          <ac:grpSpMkLst>
            <pc:docMk/>
            <pc:sldMk cId="1091536529" sldId="293"/>
            <ac:grpSpMk id="156" creationId="{625BD32B-352F-F6DC-55B1-5BAA2561B341}"/>
          </ac:grpSpMkLst>
        </pc:grpChg>
        <pc:grpChg chg="add mod">
          <ac:chgData name="Evyan Lyngshing [Chillibreeze]" userId="b5a92789-231b-4933-b5e3-9c4db485d6cf" providerId="ADAL" clId="{3C7A14F0-AC9D-4C0F-B2FD-5645A9CA3617}" dt="2026-06-29T13:34:17.384" v="4224" actId="164"/>
          <ac:grpSpMkLst>
            <pc:docMk/>
            <pc:sldMk cId="1091536529" sldId="293"/>
            <ac:grpSpMk id="159" creationId="{B800067E-D07E-8ADC-C880-BBC40537D7EE}"/>
          </ac:grpSpMkLst>
        </pc:grpChg>
        <pc:grpChg chg="del mod">
          <ac:chgData name="Evyan Lyngshing [Chillibreeze]" userId="b5a92789-231b-4933-b5e3-9c4db485d6cf" providerId="ADAL" clId="{3C7A14F0-AC9D-4C0F-B2FD-5645A9CA3617}" dt="2026-06-29T13:34:44.731" v="4227" actId="27803"/>
          <ac:grpSpMkLst>
            <pc:docMk/>
            <pc:sldMk cId="1091536529" sldId="293"/>
            <ac:grpSpMk id="162" creationId="{67249D12-F5CE-1186-7714-B7B25DB0C743}"/>
          </ac:grpSpMkLst>
        </pc:grpChg>
        <pc:grpChg chg="add del mod">
          <ac:chgData name="Evyan Lyngshing [Chillibreeze]" userId="b5a92789-231b-4933-b5e3-9c4db485d6cf" providerId="ADAL" clId="{3C7A14F0-AC9D-4C0F-B2FD-5645A9CA3617}" dt="2026-06-29T13:34:59.915" v="4234" actId="478"/>
          <ac:grpSpMkLst>
            <pc:docMk/>
            <pc:sldMk cId="1091536529" sldId="293"/>
            <ac:grpSpMk id="166" creationId="{6EDD4389-9FB1-DFFE-52AF-883A526E0DD7}"/>
          </ac:grpSpMkLst>
        </pc:grpChg>
        <pc:grpChg chg="mod">
          <ac:chgData name="Evyan Lyngshing [Chillibreeze]" userId="b5a92789-231b-4933-b5e3-9c4db485d6cf" providerId="ADAL" clId="{3C7A14F0-AC9D-4C0F-B2FD-5645A9CA3617}" dt="2026-06-29T13:35:29.762" v="4252" actId="164"/>
          <ac:grpSpMkLst>
            <pc:docMk/>
            <pc:sldMk cId="1091536529" sldId="293"/>
            <ac:grpSpMk id="169" creationId="{83BA8690-61F1-2414-790D-3EE5169E7F1D}"/>
          </ac:grpSpMkLst>
        </pc:grpChg>
        <pc:grpChg chg="add mod">
          <ac:chgData name="Evyan Lyngshing [Chillibreeze]" userId="b5a92789-231b-4933-b5e3-9c4db485d6cf" providerId="ADAL" clId="{3C7A14F0-AC9D-4C0F-B2FD-5645A9CA3617}" dt="2026-06-29T13:35:29.762" v="4252" actId="164"/>
          <ac:grpSpMkLst>
            <pc:docMk/>
            <pc:sldMk cId="1091536529" sldId="293"/>
            <ac:grpSpMk id="173" creationId="{43BE0229-B91E-DAB8-4E5B-B117686E29F9}"/>
          </ac:grpSpMkLst>
        </pc:grpChg>
        <pc:grpChg chg="add mod">
          <ac:chgData name="Evyan Lyngshing [Chillibreeze]" userId="b5a92789-231b-4933-b5e3-9c4db485d6cf" providerId="ADAL" clId="{3C7A14F0-AC9D-4C0F-B2FD-5645A9CA3617}" dt="2026-06-29T13:36:13.413" v="4264" actId="164"/>
          <ac:grpSpMkLst>
            <pc:docMk/>
            <pc:sldMk cId="1091536529" sldId="293"/>
            <ac:grpSpMk id="177" creationId="{1938BB0D-268A-D4DF-6F1B-49FC86334D5F}"/>
          </ac:grpSpMkLst>
        </pc:grpChg>
        <pc:grpChg chg="mod">
          <ac:chgData name="Evyan Lyngshing [Chillibreeze]" userId="b5a92789-231b-4933-b5e3-9c4db485d6cf" providerId="ADAL" clId="{3C7A14F0-AC9D-4C0F-B2FD-5645A9CA3617}" dt="2026-06-29T13:36:51.591" v="4283" actId="164"/>
          <ac:grpSpMkLst>
            <pc:docMk/>
            <pc:sldMk cId="1091536529" sldId="293"/>
            <ac:grpSpMk id="180" creationId="{7163A382-CA9D-3F4F-4C3C-0BF769E929F9}"/>
          </ac:grpSpMkLst>
        </pc:grpChg>
        <pc:grpChg chg="add mod">
          <ac:chgData name="Evyan Lyngshing [Chillibreeze]" userId="b5a92789-231b-4933-b5e3-9c4db485d6cf" providerId="ADAL" clId="{3C7A14F0-AC9D-4C0F-B2FD-5645A9CA3617}" dt="2026-06-29T13:36:51.591" v="4283" actId="164"/>
          <ac:grpSpMkLst>
            <pc:docMk/>
            <pc:sldMk cId="1091536529" sldId="293"/>
            <ac:grpSpMk id="188" creationId="{C9CD3EE3-41E2-C632-82DB-C627E5ACBB9E}"/>
          </ac:grpSpMkLst>
        </pc:grpChg>
        <pc:graphicFrameChg chg="add mod ord modVis">
          <ac:chgData name="Evyan Lyngshing [Chillibreeze]" userId="b5a92789-231b-4933-b5e3-9c4db485d6cf" providerId="ADAL" clId="{3C7A14F0-AC9D-4C0F-B2FD-5645A9CA3617}" dt="2026-06-29T12:26:15.598" v="3164"/>
          <ac:graphicFrameMkLst>
            <pc:docMk/>
            <pc:sldMk cId="1091536529" sldId="293"/>
            <ac:graphicFrameMk id="29" creationId="{8D7F6D2C-2E43-7B75-ECF5-236A667866BB}"/>
          </ac:graphicFrameMkLst>
        </pc:graphicFrameChg>
        <pc:picChg chg="mod ord">
          <ac:chgData name="Evyan Lyngshing [Chillibreeze]" userId="b5a92789-231b-4933-b5e3-9c4db485d6cf" providerId="ADAL" clId="{3C7A14F0-AC9D-4C0F-B2FD-5645A9CA3617}" dt="2026-06-29T12:26:15.586" v="3124"/>
          <ac:picMkLst>
            <pc:docMk/>
            <pc:sldMk cId="1091536529" sldId="293"/>
            <ac:picMk id="31" creationId="{DA15042F-83CD-479F-AA78-0DFF968583FF}"/>
          </ac:picMkLst>
        </pc:picChg>
        <pc:picChg chg="add mod ord">
          <ac:chgData name="Evyan Lyngshing [Chillibreeze]" userId="b5a92789-231b-4933-b5e3-9c4db485d6cf" providerId="ADAL" clId="{3C7A14F0-AC9D-4C0F-B2FD-5645A9CA3617}" dt="2026-06-29T12:26:15.581" v="3122"/>
          <ac:picMkLst>
            <pc:docMk/>
            <pc:sldMk cId="1091536529" sldId="293"/>
            <ac:picMk id="54" creationId="{721E9265-8AD9-A1F4-2B65-329F6B0933B8}"/>
          </ac:picMkLst>
        </pc:picChg>
        <pc:picChg chg="add mod ord">
          <ac:chgData name="Evyan Lyngshing [Chillibreeze]" userId="b5a92789-231b-4933-b5e3-9c4db485d6cf" providerId="ADAL" clId="{3C7A14F0-AC9D-4C0F-B2FD-5645A9CA3617}" dt="2026-06-29T12:26:15.587" v="3128"/>
          <ac:picMkLst>
            <pc:docMk/>
            <pc:sldMk cId="1091536529" sldId="293"/>
            <ac:picMk id="56" creationId="{98C46726-A95A-E977-0C31-DD90C4765AD1}"/>
          </ac:picMkLst>
        </pc:picChg>
        <pc:picChg chg="add mod">
          <ac:chgData name="Evyan Lyngshing [Chillibreeze]" userId="b5a92789-231b-4933-b5e3-9c4db485d6cf" providerId="ADAL" clId="{3C7A14F0-AC9D-4C0F-B2FD-5645A9CA3617}" dt="2026-06-29T13:32:30.323" v="4172"/>
          <ac:picMkLst>
            <pc:docMk/>
            <pc:sldMk cId="1091536529" sldId="293"/>
            <ac:picMk id="60" creationId="{D401BB4A-F1EA-7CBE-92AC-6FAA3D940AA6}"/>
          </ac:picMkLst>
        </pc:picChg>
        <pc:picChg chg="add del mod">
          <ac:chgData name="Evyan Lyngshing [Chillibreeze]" userId="b5a92789-231b-4933-b5e3-9c4db485d6cf" providerId="ADAL" clId="{3C7A14F0-AC9D-4C0F-B2FD-5645A9CA3617}" dt="2026-06-29T13:33:36.698" v="4197" actId="27803"/>
          <ac:picMkLst>
            <pc:docMk/>
            <pc:sldMk cId="1091536529" sldId="293"/>
            <ac:picMk id="84" creationId="{F5905C09-AFFA-4A45-3F49-21E4B22A4F7D}"/>
          </ac:picMkLst>
        </pc:picChg>
        <pc:picChg chg="add del mod">
          <ac:chgData name="Evyan Lyngshing [Chillibreeze]" userId="b5a92789-231b-4933-b5e3-9c4db485d6cf" providerId="ADAL" clId="{3C7A14F0-AC9D-4C0F-B2FD-5645A9CA3617}" dt="2026-06-29T13:34:06.833" v="4210" actId="27803"/>
          <ac:picMkLst>
            <pc:docMk/>
            <pc:sldMk cId="1091536529" sldId="293"/>
            <ac:picMk id="145" creationId="{86D44E6F-2B48-63FC-7E22-CF53623D4F26}"/>
          </ac:picMkLst>
        </pc:picChg>
        <pc:picChg chg="add del mod">
          <ac:chgData name="Evyan Lyngshing [Chillibreeze]" userId="b5a92789-231b-4933-b5e3-9c4db485d6cf" providerId="ADAL" clId="{3C7A14F0-AC9D-4C0F-B2FD-5645A9CA3617}" dt="2026-06-29T13:34:44.731" v="4227" actId="27803"/>
          <ac:picMkLst>
            <pc:docMk/>
            <pc:sldMk cId="1091536529" sldId="293"/>
            <ac:picMk id="161" creationId="{12E57D0E-8331-FFBC-0403-9B82DEFBABA6}"/>
          </ac:picMkLst>
        </pc:picChg>
        <pc:picChg chg="add del mod">
          <ac:chgData name="Evyan Lyngshing [Chillibreeze]" userId="b5a92789-231b-4933-b5e3-9c4db485d6cf" providerId="ADAL" clId="{3C7A14F0-AC9D-4C0F-B2FD-5645A9CA3617}" dt="2026-06-29T13:35:09.374" v="4237" actId="27803"/>
          <ac:picMkLst>
            <pc:docMk/>
            <pc:sldMk cId="1091536529" sldId="293"/>
            <ac:picMk id="168" creationId="{36391ABB-B9B9-9F05-7DF1-2B3AA69E31DB}"/>
          </ac:picMkLst>
        </pc:picChg>
        <pc:picChg chg="add del mod">
          <ac:chgData name="Evyan Lyngshing [Chillibreeze]" userId="b5a92789-231b-4933-b5e3-9c4db485d6cf" providerId="ADAL" clId="{3C7A14F0-AC9D-4C0F-B2FD-5645A9CA3617}" dt="2026-06-29T13:35:59.097" v="4255" actId="27803"/>
          <ac:picMkLst>
            <pc:docMk/>
            <pc:sldMk cId="1091536529" sldId="293"/>
            <ac:picMk id="175" creationId="{3A6DF384-A103-F51E-4E28-772FBD34C567}"/>
          </ac:picMkLst>
        </pc:picChg>
        <pc:picChg chg="add del mod">
          <ac:chgData name="Evyan Lyngshing [Chillibreeze]" userId="b5a92789-231b-4933-b5e3-9c4db485d6cf" providerId="ADAL" clId="{3C7A14F0-AC9D-4C0F-B2FD-5645A9CA3617}" dt="2026-06-29T13:36:34.127" v="4267" actId="27803"/>
          <ac:picMkLst>
            <pc:docMk/>
            <pc:sldMk cId="1091536529" sldId="293"/>
            <ac:picMk id="179" creationId="{C005AF6C-797C-289A-AEFA-646849BFFAC9}"/>
          </ac:picMkLst>
        </pc:picChg>
        <pc:cxnChg chg="mod ord">
          <ac:chgData name="Evyan Lyngshing [Chillibreeze]" userId="b5a92789-231b-4933-b5e3-9c4db485d6cf" providerId="ADAL" clId="{3C7A14F0-AC9D-4C0F-B2FD-5645A9CA3617}" dt="2026-06-29T11:41:07.610" v="1574"/>
          <ac:cxnSpMkLst>
            <pc:docMk/>
            <pc:sldMk cId="1091536529" sldId="293"/>
            <ac:cxnSpMk id="7" creationId="{DB5AF152-A0AA-676B-78B6-489CB8EF9C71}"/>
          </ac:cxnSpMkLst>
        </pc:cxnChg>
        <pc:cxnChg chg="mod ord">
          <ac:chgData name="Evyan Lyngshing [Chillibreeze]" userId="b5a92789-231b-4933-b5e3-9c4db485d6cf" providerId="ADAL" clId="{3C7A14F0-AC9D-4C0F-B2FD-5645A9CA3617}" dt="2026-06-29T11:41:07.610" v="1578"/>
          <ac:cxnSpMkLst>
            <pc:docMk/>
            <pc:sldMk cId="1091536529" sldId="293"/>
            <ac:cxnSpMk id="10" creationId="{6CD4E4AA-BDA1-5A26-ECDB-523AEB5B6CCC}"/>
          </ac:cxnSpMkLst>
        </pc:cxnChg>
        <pc:cxnChg chg="mod ord">
          <ac:chgData name="Evyan Lyngshing [Chillibreeze]" userId="b5a92789-231b-4933-b5e3-9c4db485d6cf" providerId="ADAL" clId="{3C7A14F0-AC9D-4C0F-B2FD-5645A9CA3617}" dt="2026-06-29T12:26:15.589" v="3134"/>
          <ac:cxnSpMkLst>
            <pc:docMk/>
            <pc:sldMk cId="1091536529" sldId="293"/>
            <ac:cxnSpMk id="38" creationId="{6FE11E7A-568C-7C49-5678-4F5E86ECE604}"/>
          </ac:cxnSpMkLst>
        </pc:cxnChg>
        <pc:cxnChg chg="mod ord">
          <ac:chgData name="Evyan Lyngshing [Chillibreeze]" userId="b5a92789-231b-4933-b5e3-9c4db485d6cf" providerId="ADAL" clId="{3C7A14F0-AC9D-4C0F-B2FD-5645A9CA3617}" dt="2026-06-29T12:26:15.592" v="3148"/>
          <ac:cxnSpMkLst>
            <pc:docMk/>
            <pc:sldMk cId="1091536529" sldId="293"/>
            <ac:cxnSpMk id="47" creationId="{886619E9-3F64-2A56-40EA-A432F6D0AE6D}"/>
          </ac:cxnSpMkLst>
        </pc:cxnChg>
        <pc:cxnChg chg="add mod ord">
          <ac:chgData name="Evyan Lyngshing [Chillibreeze]" userId="b5a92789-231b-4933-b5e3-9c4db485d6cf" providerId="ADAL" clId="{3C7A14F0-AC9D-4C0F-B2FD-5645A9CA3617}" dt="2026-06-29T12:26:15.596" v="3156"/>
          <ac:cxnSpMkLst>
            <pc:docMk/>
            <pc:sldMk cId="1091536529" sldId="293"/>
            <ac:cxnSpMk id="50" creationId="{472B4797-0C18-9559-BC22-1C291D2B6506}"/>
          </ac:cxnSpMkLst>
        </pc:cxnChg>
        <pc:cxnChg chg="add mod ord">
          <ac:chgData name="Evyan Lyngshing [Chillibreeze]" userId="b5a92789-231b-4933-b5e3-9c4db485d6cf" providerId="ADAL" clId="{3C7A14F0-AC9D-4C0F-B2FD-5645A9CA3617}" dt="2026-06-29T12:26:15.596" v="3160"/>
          <ac:cxnSpMkLst>
            <pc:docMk/>
            <pc:sldMk cId="1091536529" sldId="293"/>
            <ac:cxnSpMk id="52" creationId="{8F69E6B0-6641-CD5E-6615-AC194D995D08}"/>
          </ac:cxnSpMkLst>
        </pc:cxnChg>
        <pc:cxnChg chg="mod ord">
          <ac:chgData name="Evyan Lyngshing [Chillibreeze]" userId="b5a92789-231b-4933-b5e3-9c4db485d6cf" providerId="ADAL" clId="{3C7A14F0-AC9D-4C0F-B2FD-5645A9CA3617}" dt="2026-06-29T11:41:07.610" v="1576"/>
          <ac:cxnSpMkLst>
            <pc:docMk/>
            <pc:sldMk cId="1091536529" sldId="293"/>
            <ac:cxnSpMk id="111" creationId="{C47E52DD-E419-F0CD-ADBA-DAEA61D6BC6D}"/>
          </ac:cxnSpMkLst>
        </pc:cxnChg>
        <pc:cxnChg chg="mod ord">
          <ac:chgData name="Evyan Lyngshing [Chillibreeze]" userId="b5a92789-231b-4933-b5e3-9c4db485d6cf" providerId="ADAL" clId="{3C7A14F0-AC9D-4C0F-B2FD-5645A9CA3617}" dt="2026-06-29T11:41:07.625" v="1614"/>
          <ac:cxnSpMkLst>
            <pc:docMk/>
            <pc:sldMk cId="1091536529" sldId="293"/>
            <ac:cxnSpMk id="150" creationId="{30641B59-7A41-221E-79ED-33C0E26F28D2}"/>
          </ac:cxnSpMkLst>
        </pc:cxnChg>
      </pc:sldChg>
      <pc:sldChg chg="addSp delSp modSp mod setBg modClrScheme chgLayout">
        <pc:chgData name="Evyan Lyngshing [Chillibreeze]" userId="b5a92789-231b-4933-b5e3-9c4db485d6cf" providerId="ADAL" clId="{3C7A14F0-AC9D-4C0F-B2FD-5645A9CA3617}" dt="2026-06-29T13:28:10.103" v="4058" actId="164"/>
        <pc:sldMkLst>
          <pc:docMk/>
          <pc:sldMk cId="1125724988" sldId="294"/>
        </pc:sldMkLst>
        <pc:spChg chg="mod ord">
          <ac:chgData name="Evyan Lyngshing [Chillibreeze]" userId="b5a92789-231b-4933-b5e3-9c4db485d6cf" providerId="ADAL" clId="{3C7A14F0-AC9D-4C0F-B2FD-5645A9CA3617}" dt="2026-06-29T12:25:50.876" v="2998"/>
          <ac:spMkLst>
            <pc:docMk/>
            <pc:sldMk cId="1125724988" sldId="294"/>
            <ac:spMk id="4" creationId="{B15D0B8F-4376-9D46-9B62-21EEFCE8C7CD}"/>
          </ac:spMkLst>
        </pc:spChg>
        <pc:spChg chg="mod ord">
          <ac:chgData name="Evyan Lyngshing [Chillibreeze]" userId="b5a92789-231b-4933-b5e3-9c4db485d6cf" providerId="ADAL" clId="{3C7A14F0-AC9D-4C0F-B2FD-5645A9CA3617}" dt="2026-06-29T11:05:44.535" v="669"/>
          <ac:spMkLst>
            <pc:docMk/>
            <pc:sldMk cId="1125724988" sldId="294"/>
            <ac:spMk id="11" creationId="{98E653E3-22EC-D995-FF51-93703DE16477}"/>
          </ac:spMkLst>
        </pc:spChg>
        <pc:spChg chg="del mod ord">
          <ac:chgData name="Evyan Lyngshing [Chillibreeze]" userId="b5a92789-231b-4933-b5e3-9c4db485d6cf" providerId="ADAL" clId="{3C7A14F0-AC9D-4C0F-B2FD-5645A9CA3617}" dt="2026-06-29T11:07:22.643" v="757" actId="478"/>
          <ac:spMkLst>
            <pc:docMk/>
            <pc:sldMk cId="1125724988" sldId="294"/>
            <ac:spMk id="14" creationId="{2B9FDEEC-FE45-1CD5-B885-2ED991CD3063}"/>
          </ac:spMkLst>
        </pc:spChg>
        <pc:spChg chg="del mod ord">
          <ac:chgData name="Evyan Lyngshing [Chillibreeze]" userId="b5a92789-231b-4933-b5e3-9c4db485d6cf" providerId="ADAL" clId="{3C7A14F0-AC9D-4C0F-B2FD-5645A9CA3617}" dt="2026-06-29T11:07:22.643" v="757" actId="478"/>
          <ac:spMkLst>
            <pc:docMk/>
            <pc:sldMk cId="1125724988" sldId="294"/>
            <ac:spMk id="25" creationId="{452807E2-2E49-0FAC-46E3-BA73A0DAF9B3}"/>
          </ac:spMkLst>
        </pc:spChg>
        <pc:spChg chg="del mod ord">
          <ac:chgData name="Evyan Lyngshing [Chillibreeze]" userId="b5a92789-231b-4933-b5e3-9c4db485d6cf" providerId="ADAL" clId="{3C7A14F0-AC9D-4C0F-B2FD-5645A9CA3617}" dt="2026-06-29T11:07:22.643" v="757" actId="478"/>
          <ac:spMkLst>
            <pc:docMk/>
            <pc:sldMk cId="1125724988" sldId="294"/>
            <ac:spMk id="26" creationId="{1FE0CBE0-5000-A430-2F52-E9D8A1624A47}"/>
          </ac:spMkLst>
        </pc:spChg>
        <pc:spChg chg="mod ord">
          <ac:chgData name="Evyan Lyngshing [Chillibreeze]" userId="b5a92789-231b-4933-b5e3-9c4db485d6cf" providerId="ADAL" clId="{3C7A14F0-AC9D-4C0F-B2FD-5645A9CA3617}" dt="2026-06-29T11:05:44.537" v="675"/>
          <ac:spMkLst>
            <pc:docMk/>
            <pc:sldMk cId="1125724988" sldId="294"/>
            <ac:spMk id="27" creationId="{5B7074FC-FE9F-29B6-5511-FCF4D06E4F89}"/>
          </ac:spMkLst>
        </pc:spChg>
        <pc:spChg chg="mod ord">
          <ac:chgData name="Evyan Lyngshing [Chillibreeze]" userId="b5a92789-231b-4933-b5e3-9c4db485d6cf" providerId="ADAL" clId="{3C7A14F0-AC9D-4C0F-B2FD-5645A9CA3617}" dt="2026-06-29T11:05:44.549" v="711"/>
          <ac:spMkLst>
            <pc:docMk/>
            <pc:sldMk cId="1125724988" sldId="294"/>
            <ac:spMk id="28" creationId="{CF370E28-1039-50E6-0EE4-43580453692C}"/>
          </ac:spMkLst>
        </pc:spChg>
        <pc:spChg chg="mod ord">
          <ac:chgData name="Evyan Lyngshing [Chillibreeze]" userId="b5a92789-231b-4933-b5e3-9c4db485d6cf" providerId="ADAL" clId="{3C7A14F0-AC9D-4C0F-B2FD-5645A9CA3617}" dt="2026-06-29T11:05:44.549" v="713"/>
          <ac:spMkLst>
            <pc:docMk/>
            <pc:sldMk cId="1125724988" sldId="294"/>
            <ac:spMk id="29" creationId="{93E58768-8B5C-F6F9-6288-649D738DF610}"/>
          </ac:spMkLst>
        </pc:spChg>
        <pc:spChg chg="mod ord">
          <ac:chgData name="Evyan Lyngshing [Chillibreeze]" userId="b5a92789-231b-4933-b5e3-9c4db485d6cf" providerId="ADAL" clId="{3C7A14F0-AC9D-4C0F-B2FD-5645A9CA3617}" dt="2026-06-29T11:05:44.550" v="715"/>
          <ac:spMkLst>
            <pc:docMk/>
            <pc:sldMk cId="1125724988" sldId="294"/>
            <ac:spMk id="30" creationId="{C2A83BAB-5366-F7A1-43EF-512CEB55DA3E}"/>
          </ac:spMkLst>
        </pc:spChg>
        <pc:spChg chg="mod ord">
          <ac:chgData name="Evyan Lyngshing [Chillibreeze]" userId="b5a92789-231b-4933-b5e3-9c4db485d6cf" providerId="ADAL" clId="{3C7A14F0-AC9D-4C0F-B2FD-5645A9CA3617}" dt="2026-06-29T11:05:44.537" v="677"/>
          <ac:spMkLst>
            <pc:docMk/>
            <pc:sldMk cId="1125724988" sldId="294"/>
            <ac:spMk id="36" creationId="{2AE268F8-FBF6-FF8C-C030-DE61E3D7209F}"/>
          </ac:spMkLst>
        </pc:spChg>
        <pc:spChg chg="del mod ord">
          <ac:chgData name="Evyan Lyngshing [Chillibreeze]" userId="b5a92789-231b-4933-b5e3-9c4db485d6cf" providerId="ADAL" clId="{3C7A14F0-AC9D-4C0F-B2FD-5645A9CA3617}" dt="2026-06-29T11:07:22.643" v="757" actId="478"/>
          <ac:spMkLst>
            <pc:docMk/>
            <pc:sldMk cId="1125724988" sldId="294"/>
            <ac:spMk id="37" creationId="{44813602-F5BC-C34F-8818-F5AC651A5A25}"/>
          </ac:spMkLst>
        </pc:spChg>
        <pc:spChg chg="mod ord">
          <ac:chgData name="Evyan Lyngshing [Chillibreeze]" userId="b5a92789-231b-4933-b5e3-9c4db485d6cf" providerId="ADAL" clId="{3C7A14F0-AC9D-4C0F-B2FD-5645A9CA3617}" dt="2026-06-29T11:05:44.552" v="723"/>
          <ac:spMkLst>
            <pc:docMk/>
            <pc:sldMk cId="1125724988" sldId="294"/>
            <ac:spMk id="43" creationId="{E9E41263-8B78-7AB6-1720-60518FE1554F}"/>
          </ac:spMkLst>
        </pc:spChg>
        <pc:spChg chg="del mod ord">
          <ac:chgData name="Evyan Lyngshing [Chillibreeze]" userId="b5a92789-231b-4933-b5e3-9c4db485d6cf" providerId="ADAL" clId="{3C7A14F0-AC9D-4C0F-B2FD-5645A9CA3617}" dt="2026-06-29T11:07:22.643" v="757" actId="478"/>
          <ac:spMkLst>
            <pc:docMk/>
            <pc:sldMk cId="1125724988" sldId="294"/>
            <ac:spMk id="44" creationId="{D0809233-0F0E-AF81-FCEF-9CAF479E7597}"/>
          </ac:spMkLst>
        </pc:spChg>
        <pc:spChg chg="mod ord">
          <ac:chgData name="Evyan Lyngshing [Chillibreeze]" userId="b5a92789-231b-4933-b5e3-9c4db485d6cf" providerId="ADAL" clId="{3C7A14F0-AC9D-4C0F-B2FD-5645A9CA3617}" dt="2026-06-29T11:05:44.537" v="681"/>
          <ac:spMkLst>
            <pc:docMk/>
            <pc:sldMk cId="1125724988" sldId="294"/>
            <ac:spMk id="72" creationId="{0FBA0CA7-AB68-E75E-7601-42B777AD8540}"/>
          </ac:spMkLst>
        </pc:spChg>
        <pc:spChg chg="del mod ord">
          <ac:chgData name="Evyan Lyngshing [Chillibreeze]" userId="b5a92789-231b-4933-b5e3-9c4db485d6cf" providerId="ADAL" clId="{3C7A14F0-AC9D-4C0F-B2FD-5645A9CA3617}" dt="2026-06-29T11:07:22.643" v="757" actId="478"/>
          <ac:spMkLst>
            <pc:docMk/>
            <pc:sldMk cId="1125724988" sldId="294"/>
            <ac:spMk id="73" creationId="{E5002351-6183-E796-D26E-DBAD36D062C2}"/>
          </ac:spMkLst>
        </pc:spChg>
        <pc:spChg chg="add del mod">
          <ac:chgData name="Evyan Lyngshing [Chillibreeze]" userId="b5a92789-231b-4933-b5e3-9c4db485d6cf" providerId="ADAL" clId="{3C7A14F0-AC9D-4C0F-B2FD-5645A9CA3617}" dt="2026-06-29T10:58:25.634" v="637" actId="6264"/>
          <ac:spMkLst>
            <pc:docMk/>
            <pc:sldMk cId="1125724988" sldId="294"/>
            <ac:spMk id="76" creationId="{7D325769-DAF0-1C69-C0C7-EA7F3267E2EE}"/>
          </ac:spMkLst>
        </pc:spChg>
        <pc:spChg chg="add del mod">
          <ac:chgData name="Evyan Lyngshing [Chillibreeze]" userId="b5a92789-231b-4933-b5e3-9c4db485d6cf" providerId="ADAL" clId="{3C7A14F0-AC9D-4C0F-B2FD-5645A9CA3617}" dt="2026-06-29T11:01:31.057" v="641" actId="6264"/>
          <ac:spMkLst>
            <pc:docMk/>
            <pc:sldMk cId="1125724988" sldId="294"/>
            <ac:spMk id="77" creationId="{9D941CA6-034E-7615-9D76-7B2C17275E68}"/>
          </ac:spMkLst>
        </pc:spChg>
        <pc:spChg chg="add mod ord">
          <ac:chgData name="Evyan Lyngshing [Chillibreeze]" userId="b5a92789-231b-4933-b5e3-9c4db485d6cf" providerId="ADAL" clId="{3C7A14F0-AC9D-4C0F-B2FD-5645A9CA3617}" dt="2026-06-29T12:25:50.874" v="2994"/>
          <ac:spMkLst>
            <pc:docMk/>
            <pc:sldMk cId="1125724988" sldId="294"/>
            <ac:spMk id="87" creationId="{D55AB82D-0313-8FB9-A18B-97B3BEE4BD91}"/>
          </ac:spMkLst>
        </pc:spChg>
        <pc:spChg chg="add del mod ord">
          <ac:chgData name="Evyan Lyngshing [Chillibreeze]" userId="b5a92789-231b-4933-b5e3-9c4db485d6cf" providerId="ADAL" clId="{3C7A14F0-AC9D-4C0F-B2FD-5645A9CA3617}" dt="2026-06-29T11:05:51.415" v="737" actId="478"/>
          <ac:spMkLst>
            <pc:docMk/>
            <pc:sldMk cId="1125724988" sldId="294"/>
            <ac:spMk id="88" creationId="{92C4E2F2-3D84-4622-71B5-2376BF7EE4F3}"/>
          </ac:spMkLst>
        </pc:spChg>
        <pc:spChg chg="add del mod ord">
          <ac:chgData name="Evyan Lyngshing [Chillibreeze]" userId="b5a92789-231b-4933-b5e3-9c4db485d6cf" providerId="ADAL" clId="{3C7A14F0-AC9D-4C0F-B2FD-5645A9CA3617}" dt="2026-06-29T12:23:14.824" v="2935" actId="21"/>
          <ac:spMkLst>
            <pc:docMk/>
            <pc:sldMk cId="1125724988" sldId="294"/>
            <ac:spMk id="89" creationId="{4B056DE1-9653-FF89-F2B3-3EA1B0BF7DC2}"/>
          </ac:spMkLst>
        </pc:spChg>
        <pc:spChg chg="del mod ord">
          <ac:chgData name="Evyan Lyngshing [Chillibreeze]" userId="b5a92789-231b-4933-b5e3-9c4db485d6cf" providerId="ADAL" clId="{3C7A14F0-AC9D-4C0F-B2FD-5645A9CA3617}" dt="2026-06-29T11:07:22.643" v="757" actId="478"/>
          <ac:spMkLst>
            <pc:docMk/>
            <pc:sldMk cId="1125724988" sldId="294"/>
            <ac:spMk id="90" creationId="{1D1F4B17-9D8E-8B0B-F72E-DDD9714603D2}"/>
          </ac:spMkLst>
        </pc:spChg>
        <pc:spChg chg="del mod ord">
          <ac:chgData name="Evyan Lyngshing [Chillibreeze]" userId="b5a92789-231b-4933-b5e3-9c4db485d6cf" providerId="ADAL" clId="{3C7A14F0-AC9D-4C0F-B2FD-5645A9CA3617}" dt="2026-06-29T11:07:22.643" v="757" actId="478"/>
          <ac:spMkLst>
            <pc:docMk/>
            <pc:sldMk cId="1125724988" sldId="294"/>
            <ac:spMk id="91" creationId="{1FAA8171-5B52-21D7-6306-2FD725034589}"/>
          </ac:spMkLst>
        </pc:spChg>
        <pc:spChg chg="add del mod">
          <ac:chgData name="Evyan Lyngshing [Chillibreeze]" userId="b5a92789-231b-4933-b5e3-9c4db485d6cf" providerId="ADAL" clId="{3C7A14F0-AC9D-4C0F-B2FD-5645A9CA3617}" dt="2026-06-29T11:05:53.505" v="738" actId="6264"/>
          <ac:spMkLst>
            <pc:docMk/>
            <pc:sldMk cId="1125724988" sldId="294"/>
            <ac:spMk id="92" creationId="{526682FD-067C-8E37-F62C-F268039C2180}"/>
          </ac:spMkLst>
        </pc:spChg>
        <pc:spChg chg="add del mod ord">
          <ac:chgData name="Evyan Lyngshing [Chillibreeze]" userId="b5a92789-231b-4933-b5e3-9c4db485d6cf" providerId="ADAL" clId="{3C7A14F0-AC9D-4C0F-B2FD-5645A9CA3617}" dt="2026-06-29T12:25:48.669" v="2983" actId="478"/>
          <ac:spMkLst>
            <pc:docMk/>
            <pc:sldMk cId="1125724988" sldId="294"/>
            <ac:spMk id="93" creationId="{B0D7B889-FEE5-CD2B-CB8D-1D26C15395F0}"/>
          </ac:spMkLst>
        </pc:spChg>
        <pc:spChg chg="add del mod ord">
          <ac:chgData name="Evyan Lyngshing [Chillibreeze]" userId="b5a92789-231b-4933-b5e3-9c4db485d6cf" providerId="ADAL" clId="{3C7A14F0-AC9D-4C0F-B2FD-5645A9CA3617}" dt="2026-06-29T12:25:48.669" v="2983" actId="478"/>
          <ac:spMkLst>
            <pc:docMk/>
            <pc:sldMk cId="1125724988" sldId="294"/>
            <ac:spMk id="94" creationId="{02C60593-9C57-BA00-21A4-5E75F24BCFF7}"/>
          </ac:spMkLst>
        </pc:spChg>
        <pc:spChg chg="mod ord">
          <ac:chgData name="Evyan Lyngshing [Chillibreeze]" userId="b5a92789-231b-4933-b5e3-9c4db485d6cf" providerId="ADAL" clId="{3C7A14F0-AC9D-4C0F-B2FD-5645A9CA3617}" dt="2026-06-29T12:25:50.876" v="3000"/>
          <ac:spMkLst>
            <pc:docMk/>
            <pc:sldMk cId="1125724988" sldId="294"/>
            <ac:spMk id="95" creationId="{A58F9BB2-713E-03F7-E923-43E29B32D2EE}"/>
          </ac:spMkLst>
        </pc:spChg>
        <pc:spChg chg="mod ord">
          <ac:chgData name="Evyan Lyngshing [Chillibreeze]" userId="b5a92789-231b-4933-b5e3-9c4db485d6cf" providerId="ADAL" clId="{3C7A14F0-AC9D-4C0F-B2FD-5645A9CA3617}" dt="2026-06-29T12:25:50.876" v="3002"/>
          <ac:spMkLst>
            <pc:docMk/>
            <pc:sldMk cId="1125724988" sldId="294"/>
            <ac:spMk id="96" creationId="{73CBAE7F-9D2D-BEBE-C314-40E7781F28B3}"/>
          </ac:spMkLst>
        </pc:spChg>
        <pc:spChg chg="add mod ord">
          <ac:chgData name="Evyan Lyngshing [Chillibreeze]" userId="b5a92789-231b-4933-b5e3-9c4db485d6cf" providerId="ADAL" clId="{3C7A14F0-AC9D-4C0F-B2FD-5645A9CA3617}" dt="2026-06-29T12:25:50.878" v="3004"/>
          <ac:spMkLst>
            <pc:docMk/>
            <pc:sldMk cId="1125724988" sldId="294"/>
            <ac:spMk id="97" creationId="{5144C743-A2F4-F333-2F06-DCF073B53E8B}"/>
          </ac:spMkLst>
        </pc:spChg>
        <pc:spChg chg="add mod ord">
          <ac:chgData name="Evyan Lyngshing [Chillibreeze]" userId="b5a92789-231b-4933-b5e3-9c4db485d6cf" providerId="ADAL" clId="{3C7A14F0-AC9D-4C0F-B2FD-5645A9CA3617}" dt="2026-06-29T12:25:50.878" v="3006"/>
          <ac:spMkLst>
            <pc:docMk/>
            <pc:sldMk cId="1125724988" sldId="294"/>
            <ac:spMk id="98" creationId="{E17354EF-8566-F46F-4706-F7EB17864A5A}"/>
          </ac:spMkLst>
        </pc:spChg>
        <pc:spChg chg="del mod ord">
          <ac:chgData name="Evyan Lyngshing [Chillibreeze]" userId="b5a92789-231b-4933-b5e3-9c4db485d6cf" providerId="ADAL" clId="{3C7A14F0-AC9D-4C0F-B2FD-5645A9CA3617}" dt="2026-06-29T11:07:22.643" v="757" actId="478"/>
          <ac:spMkLst>
            <pc:docMk/>
            <pc:sldMk cId="1125724988" sldId="294"/>
            <ac:spMk id="100" creationId="{31E0B7C6-7740-9EE8-CF42-598BBD4E3F28}"/>
          </ac:spMkLst>
        </pc:spChg>
        <pc:spChg chg="del mod ord">
          <ac:chgData name="Evyan Lyngshing [Chillibreeze]" userId="b5a92789-231b-4933-b5e3-9c4db485d6cf" providerId="ADAL" clId="{3C7A14F0-AC9D-4C0F-B2FD-5645A9CA3617}" dt="2026-06-29T11:07:22.643" v="757" actId="478"/>
          <ac:spMkLst>
            <pc:docMk/>
            <pc:sldMk cId="1125724988" sldId="294"/>
            <ac:spMk id="101" creationId="{D8156E95-809C-30FB-1F77-C697EDA2E348}"/>
          </ac:spMkLst>
        </pc:spChg>
        <pc:spChg chg="add mod ord">
          <ac:chgData name="Evyan Lyngshing [Chillibreeze]" userId="b5a92789-231b-4933-b5e3-9c4db485d6cf" providerId="ADAL" clId="{3C7A14F0-AC9D-4C0F-B2FD-5645A9CA3617}" dt="2026-06-29T13:26:07.809" v="4012" actId="164"/>
          <ac:spMkLst>
            <pc:docMk/>
            <pc:sldMk cId="1125724988" sldId="294"/>
            <ac:spMk id="104" creationId="{76C0A3E4-A5B0-CCFB-567F-5C180A7ADAD1}"/>
          </ac:spMkLst>
        </pc:spChg>
        <pc:spChg chg="mod ord">
          <ac:chgData name="Evyan Lyngshing [Chillibreeze]" userId="b5a92789-231b-4933-b5e3-9c4db485d6cf" providerId="ADAL" clId="{3C7A14F0-AC9D-4C0F-B2FD-5645A9CA3617}" dt="2026-06-29T13:26:48.801" v="4031" actId="164"/>
          <ac:spMkLst>
            <pc:docMk/>
            <pc:sldMk cId="1125724988" sldId="294"/>
            <ac:spMk id="105" creationId="{96F97CC8-05E1-B4A4-30B1-1AAE3B2E7964}"/>
          </ac:spMkLst>
        </pc:spChg>
        <pc:spChg chg="add mod ord">
          <ac:chgData name="Evyan Lyngshing [Chillibreeze]" userId="b5a92789-231b-4933-b5e3-9c4db485d6cf" providerId="ADAL" clId="{3C7A14F0-AC9D-4C0F-B2FD-5645A9CA3617}" dt="2026-06-29T13:27:33.652" v="4046" actId="164"/>
          <ac:spMkLst>
            <pc:docMk/>
            <pc:sldMk cId="1125724988" sldId="294"/>
            <ac:spMk id="106" creationId="{4089CEAD-A37D-BB5C-A5E5-0A6116557D49}"/>
          </ac:spMkLst>
        </pc:spChg>
        <pc:spChg chg="mod ord">
          <ac:chgData name="Evyan Lyngshing [Chillibreeze]" userId="b5a92789-231b-4933-b5e3-9c4db485d6cf" providerId="ADAL" clId="{3C7A14F0-AC9D-4C0F-B2FD-5645A9CA3617}" dt="2026-06-29T13:28:10.103" v="4058" actId="164"/>
          <ac:spMkLst>
            <pc:docMk/>
            <pc:sldMk cId="1125724988" sldId="294"/>
            <ac:spMk id="109" creationId="{3D6CD5A1-2EAC-AF72-6B6E-4C9AC384BA3B}"/>
          </ac:spMkLst>
        </pc:spChg>
        <pc:spChg chg="mod ord">
          <ac:chgData name="Evyan Lyngshing [Chillibreeze]" userId="b5a92789-231b-4933-b5e3-9c4db485d6cf" providerId="ADAL" clId="{3C7A14F0-AC9D-4C0F-B2FD-5645A9CA3617}" dt="2026-06-29T12:25:50.878" v="3022"/>
          <ac:spMkLst>
            <pc:docMk/>
            <pc:sldMk cId="1125724988" sldId="294"/>
            <ac:spMk id="111" creationId="{DDC96460-E409-FBC6-E867-AE4AD1D7E94B}"/>
          </ac:spMkLst>
        </pc:spChg>
        <pc:spChg chg="add mod ord">
          <ac:chgData name="Evyan Lyngshing [Chillibreeze]" userId="b5a92789-231b-4933-b5e3-9c4db485d6cf" providerId="ADAL" clId="{3C7A14F0-AC9D-4C0F-B2FD-5645A9CA3617}" dt="2026-06-29T12:25:50.878" v="3024"/>
          <ac:spMkLst>
            <pc:docMk/>
            <pc:sldMk cId="1125724988" sldId="294"/>
            <ac:spMk id="112" creationId="{BEA3CCD2-FCE1-AE9C-03DC-AA11C3FDE3D9}"/>
          </ac:spMkLst>
        </pc:spChg>
        <pc:spChg chg="mod ord">
          <ac:chgData name="Evyan Lyngshing [Chillibreeze]" userId="b5a92789-231b-4933-b5e3-9c4db485d6cf" providerId="ADAL" clId="{3C7A14F0-AC9D-4C0F-B2FD-5645A9CA3617}" dt="2026-06-29T12:25:50.878" v="3026"/>
          <ac:spMkLst>
            <pc:docMk/>
            <pc:sldMk cId="1125724988" sldId="294"/>
            <ac:spMk id="113" creationId="{11142840-39A3-BE7C-6693-8653AEC205CA}"/>
          </ac:spMkLst>
        </pc:spChg>
        <pc:spChg chg="mod ord">
          <ac:chgData name="Evyan Lyngshing [Chillibreeze]" userId="b5a92789-231b-4933-b5e3-9c4db485d6cf" providerId="ADAL" clId="{3C7A14F0-AC9D-4C0F-B2FD-5645A9CA3617}" dt="2026-06-29T13:23:57.428" v="3970" actId="20577"/>
          <ac:spMkLst>
            <pc:docMk/>
            <pc:sldMk cId="1125724988" sldId="294"/>
            <ac:spMk id="116" creationId="{93011C4C-ABDE-D54F-3683-18F2A4017285}"/>
          </ac:spMkLst>
        </pc:spChg>
        <pc:spChg chg="mod ord">
          <ac:chgData name="Evyan Lyngshing [Chillibreeze]" userId="b5a92789-231b-4933-b5e3-9c4db485d6cf" providerId="ADAL" clId="{3C7A14F0-AC9D-4C0F-B2FD-5645A9CA3617}" dt="2026-06-29T13:22:24.205" v="3926" actId="164"/>
          <ac:spMkLst>
            <pc:docMk/>
            <pc:sldMk cId="1125724988" sldId="294"/>
            <ac:spMk id="196" creationId="{4D41D0DE-BA9D-8B16-B386-17826A8C84A4}"/>
          </ac:spMkLst>
        </pc:spChg>
        <pc:spChg chg="mod ord">
          <ac:chgData name="Evyan Lyngshing [Chillibreeze]" userId="b5a92789-231b-4933-b5e3-9c4db485d6cf" providerId="ADAL" clId="{3C7A14F0-AC9D-4C0F-B2FD-5645A9CA3617}" dt="2026-06-29T13:23:01.384" v="3945" actId="164"/>
          <ac:spMkLst>
            <pc:docMk/>
            <pc:sldMk cId="1125724988" sldId="294"/>
            <ac:spMk id="197" creationId="{3B8D3252-5BE1-2923-FE39-C2271AD829EC}"/>
          </ac:spMkLst>
        </pc:spChg>
        <pc:spChg chg="mod ord">
          <ac:chgData name="Evyan Lyngshing [Chillibreeze]" userId="b5a92789-231b-4933-b5e3-9c4db485d6cf" providerId="ADAL" clId="{3C7A14F0-AC9D-4C0F-B2FD-5645A9CA3617}" dt="2026-06-29T13:23:48.244" v="3967" actId="164"/>
          <ac:spMkLst>
            <pc:docMk/>
            <pc:sldMk cId="1125724988" sldId="294"/>
            <ac:spMk id="198" creationId="{8151CBA5-D4EB-276F-2C24-22756E30CFFB}"/>
          </ac:spMkLst>
        </pc:spChg>
        <pc:spChg chg="add mod ord">
          <ac:chgData name="Evyan Lyngshing [Chillibreeze]" userId="b5a92789-231b-4933-b5e3-9c4db485d6cf" providerId="ADAL" clId="{3C7A14F0-AC9D-4C0F-B2FD-5645A9CA3617}" dt="2026-06-29T13:25:24.777" v="3999" actId="164"/>
          <ac:spMkLst>
            <pc:docMk/>
            <pc:sldMk cId="1125724988" sldId="294"/>
            <ac:spMk id="199" creationId="{6825F1D9-6D4A-6CDF-EDED-2B12BCFCA230}"/>
          </ac:spMkLst>
        </pc:spChg>
        <pc:spChg chg="add mod ord">
          <ac:chgData name="Evyan Lyngshing [Chillibreeze]" userId="b5a92789-231b-4933-b5e3-9c4db485d6cf" providerId="ADAL" clId="{3C7A14F0-AC9D-4C0F-B2FD-5645A9CA3617}" dt="2026-06-29T12:25:50.887" v="3038"/>
          <ac:spMkLst>
            <pc:docMk/>
            <pc:sldMk cId="1125724988" sldId="294"/>
            <ac:spMk id="200" creationId="{99453E9A-8F70-CF15-39E2-2D121BB108B1}"/>
          </ac:spMkLst>
        </pc:spChg>
        <pc:spChg chg="add mod ord">
          <ac:chgData name="Evyan Lyngshing [Chillibreeze]" userId="b5a92789-231b-4933-b5e3-9c4db485d6cf" providerId="ADAL" clId="{3C7A14F0-AC9D-4C0F-B2FD-5645A9CA3617}" dt="2026-06-29T13:24:48.093" v="3987" actId="164"/>
          <ac:spMkLst>
            <pc:docMk/>
            <pc:sldMk cId="1125724988" sldId="294"/>
            <ac:spMk id="205" creationId="{A4C3C693-32F3-8F42-FC03-361742E6C6A3}"/>
          </ac:spMkLst>
        </pc:spChg>
        <pc:spChg chg="add mod ord">
          <ac:chgData name="Evyan Lyngshing [Chillibreeze]" userId="b5a92789-231b-4933-b5e3-9c4db485d6cf" providerId="ADAL" clId="{3C7A14F0-AC9D-4C0F-B2FD-5645A9CA3617}" dt="2026-06-29T12:25:50.866" v="2986"/>
          <ac:spMkLst>
            <pc:docMk/>
            <pc:sldMk cId="1125724988" sldId="294"/>
            <ac:spMk id="209" creationId="{E7C8C8CE-92D1-D603-5F8E-EC616272D369}"/>
          </ac:spMkLst>
        </pc:spChg>
        <pc:spChg chg="add mod ord">
          <ac:chgData name="Evyan Lyngshing [Chillibreeze]" userId="b5a92789-231b-4933-b5e3-9c4db485d6cf" providerId="ADAL" clId="{3C7A14F0-AC9D-4C0F-B2FD-5645A9CA3617}" dt="2026-06-29T12:25:50.866" v="2988"/>
          <ac:spMkLst>
            <pc:docMk/>
            <pc:sldMk cId="1125724988" sldId="294"/>
            <ac:spMk id="210" creationId="{99BB6BA9-9908-DAE9-50AC-0EBE00C9F778}"/>
          </ac:spMkLst>
        </pc:spChg>
        <pc:spChg chg="mod">
          <ac:chgData name="Evyan Lyngshing [Chillibreeze]" userId="b5a92789-231b-4933-b5e3-9c4db485d6cf" providerId="ADAL" clId="{3C7A14F0-AC9D-4C0F-B2FD-5645A9CA3617}" dt="2026-06-29T13:22:24.205" v="3926" actId="164"/>
          <ac:spMkLst>
            <pc:docMk/>
            <pc:sldMk cId="1125724988" sldId="294"/>
            <ac:spMk id="214" creationId="{687D6E6B-1387-60CC-F377-A642501E4FDB}"/>
          </ac:spMkLst>
        </pc:spChg>
        <pc:spChg chg="mod">
          <ac:chgData name="Evyan Lyngshing [Chillibreeze]" userId="b5a92789-231b-4933-b5e3-9c4db485d6cf" providerId="ADAL" clId="{3C7A14F0-AC9D-4C0F-B2FD-5645A9CA3617}" dt="2026-06-29T13:22:57.576" v="3941" actId="207"/>
          <ac:spMkLst>
            <pc:docMk/>
            <pc:sldMk cId="1125724988" sldId="294"/>
            <ac:spMk id="219" creationId="{BB6FC591-AB86-C9C6-090C-4BF78B829644}"/>
          </ac:spMkLst>
        </pc:spChg>
        <pc:spChg chg="mod">
          <ac:chgData name="Evyan Lyngshing [Chillibreeze]" userId="b5a92789-231b-4933-b5e3-9c4db485d6cf" providerId="ADAL" clId="{3C7A14F0-AC9D-4C0F-B2FD-5645A9CA3617}" dt="2026-06-29T13:22:57.576" v="3941" actId="207"/>
          <ac:spMkLst>
            <pc:docMk/>
            <pc:sldMk cId="1125724988" sldId="294"/>
            <ac:spMk id="220" creationId="{04077E99-C893-43C8-3003-EE22E0A2A3E2}"/>
          </ac:spMkLst>
        </pc:spChg>
        <pc:spChg chg="mod">
          <ac:chgData name="Evyan Lyngshing [Chillibreeze]" userId="b5a92789-231b-4933-b5e3-9c4db485d6cf" providerId="ADAL" clId="{3C7A14F0-AC9D-4C0F-B2FD-5645A9CA3617}" dt="2026-06-29T13:22:57.576" v="3941" actId="207"/>
          <ac:spMkLst>
            <pc:docMk/>
            <pc:sldMk cId="1125724988" sldId="294"/>
            <ac:spMk id="221" creationId="{65195B9E-5E5C-1995-10B9-26FB1BC3B000}"/>
          </ac:spMkLst>
        </pc:spChg>
        <pc:spChg chg="mod">
          <ac:chgData name="Evyan Lyngshing [Chillibreeze]" userId="b5a92789-231b-4933-b5e3-9c4db485d6cf" providerId="ADAL" clId="{3C7A14F0-AC9D-4C0F-B2FD-5645A9CA3617}" dt="2026-06-29T13:22:57.576" v="3941" actId="207"/>
          <ac:spMkLst>
            <pc:docMk/>
            <pc:sldMk cId="1125724988" sldId="294"/>
            <ac:spMk id="222" creationId="{7883F0A2-64B9-4687-AA6A-613324319008}"/>
          </ac:spMkLst>
        </pc:spChg>
        <pc:spChg chg="mod">
          <ac:chgData name="Evyan Lyngshing [Chillibreeze]" userId="b5a92789-231b-4933-b5e3-9c4db485d6cf" providerId="ADAL" clId="{3C7A14F0-AC9D-4C0F-B2FD-5645A9CA3617}" dt="2026-06-29T13:22:57.576" v="3941" actId="207"/>
          <ac:spMkLst>
            <pc:docMk/>
            <pc:sldMk cId="1125724988" sldId="294"/>
            <ac:spMk id="223" creationId="{2A15BEF8-84DD-B91D-CAC2-A4896F524BD2}"/>
          </ac:spMkLst>
        </pc:spChg>
        <pc:spChg chg="mod">
          <ac:chgData name="Evyan Lyngshing [Chillibreeze]" userId="b5a92789-231b-4933-b5e3-9c4db485d6cf" providerId="ADAL" clId="{3C7A14F0-AC9D-4C0F-B2FD-5645A9CA3617}" dt="2026-06-29T13:22:57.576" v="3941" actId="207"/>
          <ac:spMkLst>
            <pc:docMk/>
            <pc:sldMk cId="1125724988" sldId="294"/>
            <ac:spMk id="224" creationId="{FFBF87BB-8E42-5483-C543-3681A276CC2F}"/>
          </ac:spMkLst>
        </pc:spChg>
        <pc:spChg chg="mod">
          <ac:chgData name="Evyan Lyngshing [Chillibreeze]" userId="b5a92789-231b-4933-b5e3-9c4db485d6cf" providerId="ADAL" clId="{3C7A14F0-AC9D-4C0F-B2FD-5645A9CA3617}" dt="2026-06-29T13:22:57.576" v="3941" actId="207"/>
          <ac:spMkLst>
            <pc:docMk/>
            <pc:sldMk cId="1125724988" sldId="294"/>
            <ac:spMk id="225" creationId="{6B2854CC-5801-C874-E4DE-22F5F2D97876}"/>
          </ac:spMkLst>
        </pc:spChg>
        <pc:spChg chg="mod">
          <ac:chgData name="Evyan Lyngshing [Chillibreeze]" userId="b5a92789-231b-4933-b5e3-9c4db485d6cf" providerId="ADAL" clId="{3C7A14F0-AC9D-4C0F-B2FD-5645A9CA3617}" dt="2026-06-29T13:23:40.319" v="3962" actId="207"/>
          <ac:spMkLst>
            <pc:docMk/>
            <pc:sldMk cId="1125724988" sldId="294"/>
            <ac:spMk id="230" creationId="{3F871182-97D7-AF92-5959-A723188976E8}"/>
          </ac:spMkLst>
        </pc:spChg>
        <pc:spChg chg="mod">
          <ac:chgData name="Evyan Lyngshing [Chillibreeze]" userId="b5a92789-231b-4933-b5e3-9c4db485d6cf" providerId="ADAL" clId="{3C7A14F0-AC9D-4C0F-B2FD-5645A9CA3617}" dt="2026-06-29T13:23:40.319" v="3962" actId="207"/>
          <ac:spMkLst>
            <pc:docMk/>
            <pc:sldMk cId="1125724988" sldId="294"/>
            <ac:spMk id="231" creationId="{CC0278D1-59BA-806F-FCFF-0EB527C04A22}"/>
          </ac:spMkLst>
        </pc:spChg>
        <pc:spChg chg="mod">
          <ac:chgData name="Evyan Lyngshing [Chillibreeze]" userId="b5a92789-231b-4933-b5e3-9c4db485d6cf" providerId="ADAL" clId="{3C7A14F0-AC9D-4C0F-B2FD-5645A9CA3617}" dt="2026-06-29T13:23:40.319" v="3962" actId="207"/>
          <ac:spMkLst>
            <pc:docMk/>
            <pc:sldMk cId="1125724988" sldId="294"/>
            <ac:spMk id="232" creationId="{9DE3612D-A30F-C7CA-89AF-6014C283B341}"/>
          </ac:spMkLst>
        </pc:spChg>
        <pc:spChg chg="mod">
          <ac:chgData name="Evyan Lyngshing [Chillibreeze]" userId="b5a92789-231b-4933-b5e3-9c4db485d6cf" providerId="ADAL" clId="{3C7A14F0-AC9D-4C0F-B2FD-5645A9CA3617}" dt="2026-06-29T13:23:40.319" v="3962" actId="207"/>
          <ac:spMkLst>
            <pc:docMk/>
            <pc:sldMk cId="1125724988" sldId="294"/>
            <ac:spMk id="233" creationId="{408233B3-0EC3-FC45-B314-1A72C08F1CAB}"/>
          </ac:spMkLst>
        </pc:spChg>
        <pc:spChg chg="mod">
          <ac:chgData name="Evyan Lyngshing [Chillibreeze]" userId="b5a92789-231b-4933-b5e3-9c4db485d6cf" providerId="ADAL" clId="{3C7A14F0-AC9D-4C0F-B2FD-5645A9CA3617}" dt="2026-06-29T13:23:40.319" v="3962" actId="207"/>
          <ac:spMkLst>
            <pc:docMk/>
            <pc:sldMk cId="1125724988" sldId="294"/>
            <ac:spMk id="234" creationId="{4EEDA706-A83D-5E0A-6228-9DBFF47F8D28}"/>
          </ac:spMkLst>
        </pc:spChg>
        <pc:spChg chg="mod">
          <ac:chgData name="Evyan Lyngshing [Chillibreeze]" userId="b5a92789-231b-4933-b5e3-9c4db485d6cf" providerId="ADAL" clId="{3C7A14F0-AC9D-4C0F-B2FD-5645A9CA3617}" dt="2026-06-29T13:23:40.319" v="3962" actId="207"/>
          <ac:spMkLst>
            <pc:docMk/>
            <pc:sldMk cId="1125724988" sldId="294"/>
            <ac:spMk id="235" creationId="{64FC1A8C-27A1-C94E-4259-E28A8F48E300}"/>
          </ac:spMkLst>
        </pc:spChg>
        <pc:spChg chg="mod">
          <ac:chgData name="Evyan Lyngshing [Chillibreeze]" userId="b5a92789-231b-4933-b5e3-9c4db485d6cf" providerId="ADAL" clId="{3C7A14F0-AC9D-4C0F-B2FD-5645A9CA3617}" dt="2026-06-29T13:23:40.319" v="3962" actId="207"/>
          <ac:spMkLst>
            <pc:docMk/>
            <pc:sldMk cId="1125724988" sldId="294"/>
            <ac:spMk id="236" creationId="{9F344F05-C25A-D6C1-1BF8-D8AA3242DBA5}"/>
          </ac:spMkLst>
        </pc:spChg>
        <pc:spChg chg="mod">
          <ac:chgData name="Evyan Lyngshing [Chillibreeze]" userId="b5a92789-231b-4933-b5e3-9c4db485d6cf" providerId="ADAL" clId="{3C7A14F0-AC9D-4C0F-B2FD-5645A9CA3617}" dt="2026-06-29T13:23:40.319" v="3962" actId="207"/>
          <ac:spMkLst>
            <pc:docMk/>
            <pc:sldMk cId="1125724988" sldId="294"/>
            <ac:spMk id="237" creationId="{DA1CE10D-A3BC-3DB8-7C84-4F3D8261D9EA}"/>
          </ac:spMkLst>
        </pc:spChg>
        <pc:spChg chg="mod">
          <ac:chgData name="Evyan Lyngshing [Chillibreeze]" userId="b5a92789-231b-4933-b5e3-9c4db485d6cf" providerId="ADAL" clId="{3C7A14F0-AC9D-4C0F-B2FD-5645A9CA3617}" dt="2026-06-29T13:23:40.319" v="3962" actId="207"/>
          <ac:spMkLst>
            <pc:docMk/>
            <pc:sldMk cId="1125724988" sldId="294"/>
            <ac:spMk id="238" creationId="{0E60A9F6-E2FA-D0A9-25FD-682E07531F23}"/>
          </ac:spMkLst>
        </pc:spChg>
        <pc:spChg chg="mod">
          <ac:chgData name="Evyan Lyngshing [Chillibreeze]" userId="b5a92789-231b-4933-b5e3-9c4db485d6cf" providerId="ADAL" clId="{3C7A14F0-AC9D-4C0F-B2FD-5645A9CA3617}" dt="2026-06-29T13:24:41.899" v="3981" actId="207"/>
          <ac:spMkLst>
            <pc:docMk/>
            <pc:sldMk cId="1125724988" sldId="294"/>
            <ac:spMk id="244" creationId="{7197F3C3-DC19-8D07-560C-8E9D31C50C5F}"/>
          </ac:spMkLst>
        </pc:spChg>
        <pc:spChg chg="mod">
          <ac:chgData name="Evyan Lyngshing [Chillibreeze]" userId="b5a92789-231b-4933-b5e3-9c4db485d6cf" providerId="ADAL" clId="{3C7A14F0-AC9D-4C0F-B2FD-5645A9CA3617}" dt="2026-06-29T13:24:41.899" v="3981" actId="207"/>
          <ac:spMkLst>
            <pc:docMk/>
            <pc:sldMk cId="1125724988" sldId="294"/>
            <ac:spMk id="245" creationId="{EC0329CC-A094-AC00-03CE-0E63327E1C65}"/>
          </ac:spMkLst>
        </pc:spChg>
        <pc:spChg chg="mod">
          <ac:chgData name="Evyan Lyngshing [Chillibreeze]" userId="b5a92789-231b-4933-b5e3-9c4db485d6cf" providerId="ADAL" clId="{3C7A14F0-AC9D-4C0F-B2FD-5645A9CA3617}" dt="2026-06-29T13:24:41.899" v="3981" actId="207"/>
          <ac:spMkLst>
            <pc:docMk/>
            <pc:sldMk cId="1125724988" sldId="294"/>
            <ac:spMk id="246" creationId="{640A88E9-92E2-4F3D-3D31-089260C9CD50}"/>
          </ac:spMkLst>
        </pc:spChg>
        <pc:spChg chg="mod">
          <ac:chgData name="Evyan Lyngshing [Chillibreeze]" userId="b5a92789-231b-4933-b5e3-9c4db485d6cf" providerId="ADAL" clId="{3C7A14F0-AC9D-4C0F-B2FD-5645A9CA3617}" dt="2026-06-29T13:24:41.899" v="3981" actId="207"/>
          <ac:spMkLst>
            <pc:docMk/>
            <pc:sldMk cId="1125724988" sldId="294"/>
            <ac:spMk id="247" creationId="{2186DFA1-D606-9CAA-73E7-3F0311EDC703}"/>
          </ac:spMkLst>
        </pc:spChg>
        <pc:spChg chg="mod">
          <ac:chgData name="Evyan Lyngshing [Chillibreeze]" userId="b5a92789-231b-4933-b5e3-9c4db485d6cf" providerId="ADAL" clId="{3C7A14F0-AC9D-4C0F-B2FD-5645A9CA3617}" dt="2026-06-29T13:24:41.899" v="3981" actId="207"/>
          <ac:spMkLst>
            <pc:docMk/>
            <pc:sldMk cId="1125724988" sldId="294"/>
            <ac:spMk id="248" creationId="{E6481E18-86BF-7CAC-AE9F-A52C532E775C}"/>
          </ac:spMkLst>
        </pc:spChg>
        <pc:spChg chg="mod">
          <ac:chgData name="Evyan Lyngshing [Chillibreeze]" userId="b5a92789-231b-4933-b5e3-9c4db485d6cf" providerId="ADAL" clId="{3C7A14F0-AC9D-4C0F-B2FD-5645A9CA3617}" dt="2026-06-29T13:25:24.777" v="3999" actId="164"/>
          <ac:spMkLst>
            <pc:docMk/>
            <pc:sldMk cId="1125724988" sldId="294"/>
            <ac:spMk id="252" creationId="{5BAA08AC-BA06-886C-9502-3AF5ABE6D745}"/>
          </ac:spMkLst>
        </pc:spChg>
        <pc:spChg chg="mod">
          <ac:chgData name="Evyan Lyngshing [Chillibreeze]" userId="b5a92789-231b-4933-b5e3-9c4db485d6cf" providerId="ADAL" clId="{3C7A14F0-AC9D-4C0F-B2FD-5645A9CA3617}" dt="2026-06-29T13:26:07.809" v="4012" actId="164"/>
          <ac:spMkLst>
            <pc:docMk/>
            <pc:sldMk cId="1125724988" sldId="294"/>
            <ac:spMk id="256" creationId="{6D7FFE4C-4673-D8B0-CEC4-4C38639E8AF7}"/>
          </ac:spMkLst>
        </pc:spChg>
        <pc:spChg chg="mod">
          <ac:chgData name="Evyan Lyngshing [Chillibreeze]" userId="b5a92789-231b-4933-b5e3-9c4db485d6cf" providerId="ADAL" clId="{3C7A14F0-AC9D-4C0F-B2FD-5645A9CA3617}" dt="2026-06-29T13:26:33.520" v="4021" actId="207"/>
          <ac:spMkLst>
            <pc:docMk/>
            <pc:sldMk cId="1125724988" sldId="294"/>
            <ac:spMk id="261" creationId="{40835A98-C96B-7A97-C994-0450C408EDAB}"/>
          </ac:spMkLst>
        </pc:spChg>
        <pc:spChg chg="mod">
          <ac:chgData name="Evyan Lyngshing [Chillibreeze]" userId="b5a92789-231b-4933-b5e3-9c4db485d6cf" providerId="ADAL" clId="{3C7A14F0-AC9D-4C0F-B2FD-5645A9CA3617}" dt="2026-06-29T13:26:33.520" v="4021" actId="207"/>
          <ac:spMkLst>
            <pc:docMk/>
            <pc:sldMk cId="1125724988" sldId="294"/>
            <ac:spMk id="262" creationId="{5BD10D0F-1745-5BAA-F9CB-F8C29530312A}"/>
          </ac:spMkLst>
        </pc:spChg>
        <pc:spChg chg="mod">
          <ac:chgData name="Evyan Lyngshing [Chillibreeze]" userId="b5a92789-231b-4933-b5e3-9c4db485d6cf" providerId="ADAL" clId="{3C7A14F0-AC9D-4C0F-B2FD-5645A9CA3617}" dt="2026-06-29T13:26:33.520" v="4021" actId="207"/>
          <ac:spMkLst>
            <pc:docMk/>
            <pc:sldMk cId="1125724988" sldId="294"/>
            <ac:spMk id="263" creationId="{E23B65D0-48BC-E819-F346-A702FEC94345}"/>
          </ac:spMkLst>
        </pc:spChg>
        <pc:spChg chg="mod">
          <ac:chgData name="Evyan Lyngshing [Chillibreeze]" userId="b5a92789-231b-4933-b5e3-9c4db485d6cf" providerId="ADAL" clId="{3C7A14F0-AC9D-4C0F-B2FD-5645A9CA3617}" dt="2026-06-29T13:27:33.652" v="4046" actId="164"/>
          <ac:spMkLst>
            <pc:docMk/>
            <pc:sldMk cId="1125724988" sldId="294"/>
            <ac:spMk id="267" creationId="{DF5DA849-1495-65EC-B011-2F17AB5D103C}"/>
          </ac:spMkLst>
        </pc:spChg>
        <pc:spChg chg="mod">
          <ac:chgData name="Evyan Lyngshing [Chillibreeze]" userId="b5a92789-231b-4933-b5e3-9c4db485d6cf" providerId="ADAL" clId="{3C7A14F0-AC9D-4C0F-B2FD-5645A9CA3617}" dt="2026-06-29T13:28:10.103" v="4058" actId="164"/>
          <ac:spMkLst>
            <pc:docMk/>
            <pc:sldMk cId="1125724988" sldId="294"/>
            <ac:spMk id="271" creationId="{49C8247A-CA11-1F79-E369-47E4947ADB0E}"/>
          </ac:spMkLst>
        </pc:spChg>
        <pc:grpChg chg="mod ord">
          <ac:chgData name="Evyan Lyngshing [Chillibreeze]" userId="b5a92789-231b-4933-b5e3-9c4db485d6cf" providerId="ADAL" clId="{3C7A14F0-AC9D-4C0F-B2FD-5645A9CA3617}" dt="2026-06-29T11:05:44.532" v="659"/>
          <ac:grpSpMkLst>
            <pc:docMk/>
            <pc:sldMk cId="1125724988" sldId="294"/>
            <ac:grpSpMk id="2" creationId="{883AC4F4-8CAD-65B6-2BBA-2ABB11CAFBC9}"/>
          </ac:grpSpMkLst>
        </pc:grpChg>
        <pc:grpChg chg="mod ord">
          <ac:chgData name="Evyan Lyngshing [Chillibreeze]" userId="b5a92789-231b-4933-b5e3-9c4db485d6cf" providerId="ADAL" clId="{3C7A14F0-AC9D-4C0F-B2FD-5645A9CA3617}" dt="2026-06-29T11:05:44.548" v="707"/>
          <ac:grpSpMkLst>
            <pc:docMk/>
            <pc:sldMk cId="1125724988" sldId="294"/>
            <ac:grpSpMk id="17" creationId="{85D33715-7C50-D664-1363-95C1C9CEA178}"/>
          </ac:grpSpMkLst>
        </pc:grpChg>
        <pc:grpChg chg="mod ord">
          <ac:chgData name="Evyan Lyngshing [Chillibreeze]" userId="b5a92789-231b-4933-b5e3-9c4db485d6cf" providerId="ADAL" clId="{3C7A14F0-AC9D-4C0F-B2FD-5645A9CA3617}" dt="2026-06-29T11:05:44.551" v="717"/>
          <ac:grpSpMkLst>
            <pc:docMk/>
            <pc:sldMk cId="1125724988" sldId="294"/>
            <ac:grpSpMk id="31" creationId="{957CC93E-BD79-1733-1A50-8527684D81E7}"/>
          </ac:grpSpMkLst>
        </pc:grpChg>
        <pc:grpChg chg="mod ord">
          <ac:chgData name="Evyan Lyngshing [Chillibreeze]" userId="b5a92789-231b-4933-b5e3-9c4db485d6cf" providerId="ADAL" clId="{3C7A14F0-AC9D-4C0F-B2FD-5645A9CA3617}" dt="2026-06-29T11:05:44.554" v="727"/>
          <ac:grpSpMkLst>
            <pc:docMk/>
            <pc:sldMk cId="1125724988" sldId="294"/>
            <ac:grpSpMk id="45" creationId="{0C3CCB5D-4E6B-DA4B-53CB-535915295672}"/>
          </ac:grpSpMkLst>
        </pc:grpChg>
        <pc:grpChg chg="mod ord">
          <ac:chgData name="Evyan Lyngshing [Chillibreeze]" userId="b5a92789-231b-4933-b5e3-9c4db485d6cf" providerId="ADAL" clId="{3C7A14F0-AC9D-4C0F-B2FD-5645A9CA3617}" dt="2026-06-29T11:05:44.554" v="729"/>
          <ac:grpSpMkLst>
            <pc:docMk/>
            <pc:sldMk cId="1125724988" sldId="294"/>
            <ac:grpSpMk id="53" creationId="{7569241A-11E7-51A4-C1A1-2F80E0D5D681}"/>
          </ac:grpSpMkLst>
        </pc:grpChg>
        <pc:grpChg chg="mod ord">
          <ac:chgData name="Evyan Lyngshing [Chillibreeze]" userId="b5a92789-231b-4933-b5e3-9c4db485d6cf" providerId="ADAL" clId="{3C7A14F0-AC9D-4C0F-B2FD-5645A9CA3617}" dt="2026-06-29T11:05:44.541" v="693"/>
          <ac:grpSpMkLst>
            <pc:docMk/>
            <pc:sldMk cId="1125724988" sldId="294"/>
            <ac:grpSpMk id="58" creationId="{A16FA8C0-F99C-28ED-A309-A233FD6F8234}"/>
          </ac:grpSpMkLst>
        </pc:grpChg>
        <pc:grpChg chg="mod ord">
          <ac:chgData name="Evyan Lyngshing [Chillibreeze]" userId="b5a92789-231b-4933-b5e3-9c4db485d6cf" providerId="ADAL" clId="{3C7A14F0-AC9D-4C0F-B2FD-5645A9CA3617}" dt="2026-06-29T11:05:44.542" v="695"/>
          <ac:grpSpMkLst>
            <pc:docMk/>
            <pc:sldMk cId="1125724988" sldId="294"/>
            <ac:grpSpMk id="66" creationId="{A2C29C31-9329-F6D9-B943-2529CF77B564}"/>
          </ac:grpSpMkLst>
        </pc:grpChg>
        <pc:grpChg chg="mod ord">
          <ac:chgData name="Evyan Lyngshing [Chillibreeze]" userId="b5a92789-231b-4933-b5e3-9c4db485d6cf" providerId="ADAL" clId="{3C7A14F0-AC9D-4C0F-B2FD-5645A9CA3617}" dt="2026-06-29T11:05:44.542" v="697"/>
          <ac:grpSpMkLst>
            <pc:docMk/>
            <pc:sldMk cId="1125724988" sldId="294"/>
            <ac:grpSpMk id="82" creationId="{D199DB1A-A064-4C27-E67D-37594BCB1020}"/>
          </ac:grpSpMkLst>
        </pc:grpChg>
        <pc:grpChg chg="mod ord">
          <ac:chgData name="Evyan Lyngshing [Chillibreeze]" userId="b5a92789-231b-4933-b5e3-9c4db485d6cf" providerId="ADAL" clId="{3C7A14F0-AC9D-4C0F-B2FD-5645A9CA3617}" dt="2026-06-29T11:05:44.545" v="699"/>
          <ac:grpSpMkLst>
            <pc:docMk/>
            <pc:sldMk cId="1125724988" sldId="294"/>
            <ac:grpSpMk id="115" creationId="{3967CD7B-5B7D-E667-0026-97D09A43E8DE}"/>
          </ac:grpSpMkLst>
        </pc:grpChg>
        <pc:grpChg chg="mod ord">
          <ac:chgData name="Evyan Lyngshing [Chillibreeze]" userId="b5a92789-231b-4933-b5e3-9c4db485d6cf" providerId="ADAL" clId="{3C7A14F0-AC9D-4C0F-B2FD-5645A9CA3617}" dt="2026-06-29T11:05:44.545" v="701"/>
          <ac:grpSpMkLst>
            <pc:docMk/>
            <pc:sldMk cId="1125724988" sldId="294"/>
            <ac:grpSpMk id="124" creationId="{41F2C2CB-5635-0727-F754-D7881736ED4D}"/>
          </ac:grpSpMkLst>
        </pc:grpChg>
        <pc:grpChg chg="add mod">
          <ac:chgData name="Evyan Lyngshing [Chillibreeze]" userId="b5a92789-231b-4933-b5e3-9c4db485d6cf" providerId="ADAL" clId="{3C7A14F0-AC9D-4C0F-B2FD-5645A9CA3617}" dt="2026-06-29T13:22:24.205" v="3926" actId="164"/>
          <ac:grpSpMkLst>
            <pc:docMk/>
            <pc:sldMk cId="1125724988" sldId="294"/>
            <ac:grpSpMk id="215" creationId="{8B392FE0-8DBD-C114-A4C0-922B5AC42E98}"/>
          </ac:grpSpMkLst>
        </pc:grpChg>
        <pc:grpChg chg="mod">
          <ac:chgData name="Evyan Lyngshing [Chillibreeze]" userId="b5a92789-231b-4933-b5e3-9c4db485d6cf" providerId="ADAL" clId="{3C7A14F0-AC9D-4C0F-B2FD-5645A9CA3617}" dt="2026-06-29T13:23:01.384" v="3945" actId="164"/>
          <ac:grpSpMkLst>
            <pc:docMk/>
            <pc:sldMk cId="1125724988" sldId="294"/>
            <ac:grpSpMk id="218" creationId="{FF1D89BD-0EAC-D3C1-2BFF-B44B8F963004}"/>
          </ac:grpSpMkLst>
        </pc:grpChg>
        <pc:grpChg chg="add mod">
          <ac:chgData name="Evyan Lyngshing [Chillibreeze]" userId="b5a92789-231b-4933-b5e3-9c4db485d6cf" providerId="ADAL" clId="{3C7A14F0-AC9D-4C0F-B2FD-5645A9CA3617}" dt="2026-06-29T13:23:01.384" v="3945" actId="164"/>
          <ac:grpSpMkLst>
            <pc:docMk/>
            <pc:sldMk cId="1125724988" sldId="294"/>
            <ac:grpSpMk id="226" creationId="{4853A38A-E072-D60A-0500-C7DB4DA0A0AA}"/>
          </ac:grpSpMkLst>
        </pc:grpChg>
        <pc:grpChg chg="add mod">
          <ac:chgData name="Evyan Lyngshing [Chillibreeze]" userId="b5a92789-231b-4933-b5e3-9c4db485d6cf" providerId="ADAL" clId="{3C7A14F0-AC9D-4C0F-B2FD-5645A9CA3617}" dt="2026-06-29T13:23:48.244" v="3967" actId="164"/>
          <ac:grpSpMkLst>
            <pc:docMk/>
            <pc:sldMk cId="1125724988" sldId="294"/>
            <ac:grpSpMk id="239" creationId="{92E4AC52-1683-6237-44A0-BCE8D5C7601E}"/>
          </ac:grpSpMkLst>
        </pc:grpChg>
        <pc:grpChg chg="add mod">
          <ac:chgData name="Evyan Lyngshing [Chillibreeze]" userId="b5a92789-231b-4933-b5e3-9c4db485d6cf" providerId="ADAL" clId="{3C7A14F0-AC9D-4C0F-B2FD-5645A9CA3617}" dt="2026-06-29T13:23:48.244" v="3967" actId="164"/>
          <ac:grpSpMkLst>
            <pc:docMk/>
            <pc:sldMk cId="1125724988" sldId="294"/>
            <ac:grpSpMk id="240" creationId="{9DFE91A2-3ADA-7506-69D8-769BCCF0BDE3}"/>
          </ac:grpSpMkLst>
        </pc:grpChg>
        <pc:grpChg chg="mod">
          <ac:chgData name="Evyan Lyngshing [Chillibreeze]" userId="b5a92789-231b-4933-b5e3-9c4db485d6cf" providerId="ADAL" clId="{3C7A14F0-AC9D-4C0F-B2FD-5645A9CA3617}" dt="2026-06-29T13:24:48.093" v="3987" actId="164"/>
          <ac:grpSpMkLst>
            <pc:docMk/>
            <pc:sldMk cId="1125724988" sldId="294"/>
            <ac:grpSpMk id="243" creationId="{8756AFB5-8BE9-8C9F-FFA4-C4FC87EB54B0}"/>
          </ac:grpSpMkLst>
        </pc:grpChg>
        <pc:grpChg chg="add mod">
          <ac:chgData name="Evyan Lyngshing [Chillibreeze]" userId="b5a92789-231b-4933-b5e3-9c4db485d6cf" providerId="ADAL" clId="{3C7A14F0-AC9D-4C0F-B2FD-5645A9CA3617}" dt="2026-06-29T13:24:48.093" v="3987" actId="164"/>
          <ac:grpSpMkLst>
            <pc:docMk/>
            <pc:sldMk cId="1125724988" sldId="294"/>
            <ac:grpSpMk id="249" creationId="{9E34C272-082D-E31C-9748-81891EBE3D2D}"/>
          </ac:grpSpMkLst>
        </pc:grpChg>
        <pc:grpChg chg="add mod">
          <ac:chgData name="Evyan Lyngshing [Chillibreeze]" userId="b5a92789-231b-4933-b5e3-9c4db485d6cf" providerId="ADAL" clId="{3C7A14F0-AC9D-4C0F-B2FD-5645A9CA3617}" dt="2026-06-29T13:25:24.777" v="3999" actId="164"/>
          <ac:grpSpMkLst>
            <pc:docMk/>
            <pc:sldMk cId="1125724988" sldId="294"/>
            <ac:grpSpMk id="253" creationId="{A6EA2F22-D4BC-4BA2-A54B-BEEA367510D7}"/>
          </ac:grpSpMkLst>
        </pc:grpChg>
        <pc:grpChg chg="add mod">
          <ac:chgData name="Evyan Lyngshing [Chillibreeze]" userId="b5a92789-231b-4933-b5e3-9c4db485d6cf" providerId="ADAL" clId="{3C7A14F0-AC9D-4C0F-B2FD-5645A9CA3617}" dt="2026-06-29T13:26:07.809" v="4012" actId="164"/>
          <ac:grpSpMkLst>
            <pc:docMk/>
            <pc:sldMk cId="1125724988" sldId="294"/>
            <ac:grpSpMk id="257" creationId="{CD6A79A9-FBC4-40EC-8016-0E121C3AE6BF}"/>
          </ac:grpSpMkLst>
        </pc:grpChg>
        <pc:grpChg chg="mod">
          <ac:chgData name="Evyan Lyngshing [Chillibreeze]" userId="b5a92789-231b-4933-b5e3-9c4db485d6cf" providerId="ADAL" clId="{3C7A14F0-AC9D-4C0F-B2FD-5645A9CA3617}" dt="2026-06-29T13:26:48.801" v="4031" actId="164"/>
          <ac:grpSpMkLst>
            <pc:docMk/>
            <pc:sldMk cId="1125724988" sldId="294"/>
            <ac:grpSpMk id="260" creationId="{7B2E4C91-156A-9FBC-7BF4-CC89610D7A21}"/>
          </ac:grpSpMkLst>
        </pc:grpChg>
        <pc:grpChg chg="add mod">
          <ac:chgData name="Evyan Lyngshing [Chillibreeze]" userId="b5a92789-231b-4933-b5e3-9c4db485d6cf" providerId="ADAL" clId="{3C7A14F0-AC9D-4C0F-B2FD-5645A9CA3617}" dt="2026-06-29T13:26:48.801" v="4031" actId="164"/>
          <ac:grpSpMkLst>
            <pc:docMk/>
            <pc:sldMk cId="1125724988" sldId="294"/>
            <ac:grpSpMk id="264" creationId="{B83401EB-5225-4463-97CB-23D815D9588A}"/>
          </ac:grpSpMkLst>
        </pc:grpChg>
        <pc:grpChg chg="add mod">
          <ac:chgData name="Evyan Lyngshing [Chillibreeze]" userId="b5a92789-231b-4933-b5e3-9c4db485d6cf" providerId="ADAL" clId="{3C7A14F0-AC9D-4C0F-B2FD-5645A9CA3617}" dt="2026-06-29T13:27:33.652" v="4046" actId="164"/>
          <ac:grpSpMkLst>
            <pc:docMk/>
            <pc:sldMk cId="1125724988" sldId="294"/>
            <ac:grpSpMk id="268" creationId="{1B661A05-2050-6B82-C198-4473660404D9}"/>
          </ac:grpSpMkLst>
        </pc:grpChg>
        <pc:grpChg chg="add mod">
          <ac:chgData name="Evyan Lyngshing [Chillibreeze]" userId="b5a92789-231b-4933-b5e3-9c4db485d6cf" providerId="ADAL" clId="{3C7A14F0-AC9D-4C0F-B2FD-5645A9CA3617}" dt="2026-06-29T13:28:10.103" v="4058" actId="164"/>
          <ac:grpSpMkLst>
            <pc:docMk/>
            <pc:sldMk cId="1125724988" sldId="294"/>
            <ac:grpSpMk id="272" creationId="{CD097D8E-C297-C168-4FB6-439C5D98E01A}"/>
          </ac:grpSpMkLst>
        </pc:grpChg>
        <pc:graphicFrameChg chg="add mod ord modVis">
          <ac:chgData name="Evyan Lyngshing [Chillibreeze]" userId="b5a92789-231b-4933-b5e3-9c4db485d6cf" providerId="ADAL" clId="{3C7A14F0-AC9D-4C0F-B2FD-5645A9CA3617}" dt="2026-06-29T12:25:50.889" v="3050"/>
          <ac:graphicFrameMkLst>
            <pc:docMk/>
            <pc:sldMk cId="1125724988" sldId="294"/>
            <ac:graphicFrameMk id="75" creationId="{DE379393-AB50-E752-44F0-F026709CFD94}"/>
          </ac:graphicFrameMkLst>
        </pc:graphicFrameChg>
        <pc:picChg chg="add mod ord">
          <ac:chgData name="Evyan Lyngshing [Chillibreeze]" userId="b5a92789-231b-4933-b5e3-9c4db485d6cf" providerId="ADAL" clId="{3C7A14F0-AC9D-4C0F-B2FD-5645A9CA3617}" dt="2026-06-29T12:25:50.866" v="2992"/>
          <ac:picMkLst>
            <pc:docMk/>
            <pc:sldMk cId="1125724988" sldId="294"/>
            <ac:picMk id="86" creationId="{06EDAB01-EA8C-7D8F-7883-44000EA3E0E2}"/>
          </ac:picMkLst>
        </pc:picChg>
        <pc:picChg chg="add mod ord">
          <ac:chgData name="Evyan Lyngshing [Chillibreeze]" userId="b5a92789-231b-4933-b5e3-9c4db485d6cf" providerId="ADAL" clId="{3C7A14F0-AC9D-4C0F-B2FD-5645A9CA3617}" dt="2026-06-29T12:25:50.866" v="2990"/>
          <ac:picMkLst>
            <pc:docMk/>
            <pc:sldMk cId="1125724988" sldId="294"/>
            <ac:picMk id="206" creationId="{D43608CE-A7B3-7E50-4179-8252BED3EC57}"/>
          </ac:picMkLst>
        </pc:picChg>
        <pc:picChg chg="add mod ord">
          <ac:chgData name="Evyan Lyngshing [Chillibreeze]" userId="b5a92789-231b-4933-b5e3-9c4db485d6cf" providerId="ADAL" clId="{3C7A14F0-AC9D-4C0F-B2FD-5645A9CA3617}" dt="2026-06-29T12:25:50.874" v="2996"/>
          <ac:picMkLst>
            <pc:docMk/>
            <pc:sldMk cId="1125724988" sldId="294"/>
            <ac:picMk id="208" creationId="{710DE27C-EFA3-625E-4CE7-3AA11D7B90AC}"/>
          </ac:picMkLst>
        </pc:picChg>
        <pc:picChg chg="add del mod">
          <ac:chgData name="Evyan Lyngshing [Chillibreeze]" userId="b5a92789-231b-4933-b5e3-9c4db485d6cf" providerId="ADAL" clId="{3C7A14F0-AC9D-4C0F-B2FD-5645A9CA3617}" dt="2026-06-29T13:22:11.985" v="3916" actId="27803"/>
          <ac:picMkLst>
            <pc:docMk/>
            <pc:sldMk cId="1125724988" sldId="294"/>
            <ac:picMk id="213" creationId="{687D6E6B-1387-60CC-F377-A642501E4FDB}"/>
          </ac:picMkLst>
        </pc:picChg>
        <pc:picChg chg="add del mod">
          <ac:chgData name="Evyan Lyngshing [Chillibreeze]" userId="b5a92789-231b-4933-b5e3-9c4db485d6cf" providerId="ADAL" clId="{3C7A14F0-AC9D-4C0F-B2FD-5645A9CA3617}" dt="2026-06-29T13:22:44.415" v="3929" actId="27803"/>
          <ac:picMkLst>
            <pc:docMk/>
            <pc:sldMk cId="1125724988" sldId="294"/>
            <ac:picMk id="217" creationId="{B124F1D1-6C72-6C06-A867-88FFCB2AD6A5}"/>
          </ac:picMkLst>
        </pc:picChg>
        <pc:picChg chg="add del mod">
          <ac:chgData name="Evyan Lyngshing [Chillibreeze]" userId="b5a92789-231b-4933-b5e3-9c4db485d6cf" providerId="ADAL" clId="{3C7A14F0-AC9D-4C0F-B2FD-5645A9CA3617}" dt="2026-06-29T13:23:28.587" v="3948" actId="27803"/>
          <ac:picMkLst>
            <pc:docMk/>
            <pc:sldMk cId="1125724988" sldId="294"/>
            <ac:picMk id="228" creationId="{E0D70CED-F0A7-4EC7-2AC5-35FAD10CE383}"/>
          </ac:picMkLst>
        </pc:picChg>
        <pc:picChg chg="add del mod">
          <ac:chgData name="Evyan Lyngshing [Chillibreeze]" userId="b5a92789-231b-4933-b5e3-9c4db485d6cf" providerId="ADAL" clId="{3C7A14F0-AC9D-4C0F-B2FD-5645A9CA3617}" dt="2026-06-29T13:24:34.846" v="3973" actId="27803"/>
          <ac:picMkLst>
            <pc:docMk/>
            <pc:sldMk cId="1125724988" sldId="294"/>
            <ac:picMk id="242" creationId="{8413201A-DE4A-1F35-7794-E362FF8F0A33}"/>
          </ac:picMkLst>
        </pc:picChg>
        <pc:picChg chg="add del mod">
          <ac:chgData name="Evyan Lyngshing [Chillibreeze]" userId="b5a92789-231b-4933-b5e3-9c4db485d6cf" providerId="ADAL" clId="{3C7A14F0-AC9D-4C0F-B2FD-5645A9CA3617}" dt="2026-06-29T13:25:11.636" v="3990" actId="27803"/>
          <ac:picMkLst>
            <pc:docMk/>
            <pc:sldMk cId="1125724988" sldId="294"/>
            <ac:picMk id="251" creationId="{5BAA08AC-BA06-886C-9502-3AF5ABE6D745}"/>
          </ac:picMkLst>
        </pc:picChg>
        <pc:picChg chg="add del mod">
          <ac:chgData name="Evyan Lyngshing [Chillibreeze]" userId="b5a92789-231b-4933-b5e3-9c4db485d6cf" providerId="ADAL" clId="{3C7A14F0-AC9D-4C0F-B2FD-5645A9CA3617}" dt="2026-06-29T13:25:54.249" v="4002" actId="27803"/>
          <ac:picMkLst>
            <pc:docMk/>
            <pc:sldMk cId="1125724988" sldId="294"/>
            <ac:picMk id="255" creationId="{6D7FFE4C-4673-D8B0-CEC4-4C38639E8AF7}"/>
          </ac:picMkLst>
        </pc:picChg>
        <pc:picChg chg="add del mod">
          <ac:chgData name="Evyan Lyngshing [Chillibreeze]" userId="b5a92789-231b-4933-b5e3-9c4db485d6cf" providerId="ADAL" clId="{3C7A14F0-AC9D-4C0F-B2FD-5645A9CA3617}" dt="2026-06-29T13:26:28.850" v="4015" actId="27803"/>
          <ac:picMkLst>
            <pc:docMk/>
            <pc:sldMk cId="1125724988" sldId="294"/>
            <ac:picMk id="259" creationId="{2054C4B9-64BB-991C-1E6F-32A8FDB0A2B1}"/>
          </ac:picMkLst>
        </pc:picChg>
        <pc:picChg chg="add del mod">
          <ac:chgData name="Evyan Lyngshing [Chillibreeze]" userId="b5a92789-231b-4933-b5e3-9c4db485d6cf" providerId="ADAL" clId="{3C7A14F0-AC9D-4C0F-B2FD-5645A9CA3617}" dt="2026-06-29T13:27:19.491" v="4034" actId="27803"/>
          <ac:picMkLst>
            <pc:docMk/>
            <pc:sldMk cId="1125724988" sldId="294"/>
            <ac:picMk id="266" creationId="{DF5DA849-1495-65EC-B011-2F17AB5D103C}"/>
          </ac:picMkLst>
        </pc:picChg>
        <pc:picChg chg="add del mod">
          <ac:chgData name="Evyan Lyngshing [Chillibreeze]" userId="b5a92789-231b-4933-b5e3-9c4db485d6cf" providerId="ADAL" clId="{3C7A14F0-AC9D-4C0F-B2FD-5645A9CA3617}" dt="2026-06-29T13:27:57.064" v="4049" actId="27803"/>
          <ac:picMkLst>
            <pc:docMk/>
            <pc:sldMk cId="1125724988" sldId="294"/>
            <ac:picMk id="270" creationId="{49C8247A-CA11-1F79-E369-47E4947ADB0E}"/>
          </ac:picMkLst>
        </pc:picChg>
        <pc:cxnChg chg="mod ord">
          <ac:chgData name="Evyan Lyngshing [Chillibreeze]" userId="b5a92789-231b-4933-b5e3-9c4db485d6cf" providerId="ADAL" clId="{3C7A14F0-AC9D-4C0F-B2FD-5645A9CA3617}" dt="2026-06-29T11:05:44.532" v="663"/>
          <ac:cxnSpMkLst>
            <pc:docMk/>
            <pc:sldMk cId="1125724988" sldId="294"/>
            <ac:cxnSpMk id="7" creationId="{DB5AF152-A0AA-676B-78B6-489CB8EF9C71}"/>
          </ac:cxnSpMkLst>
        </pc:cxnChg>
        <pc:cxnChg chg="mod ord">
          <ac:chgData name="Evyan Lyngshing [Chillibreeze]" userId="b5a92789-231b-4933-b5e3-9c4db485d6cf" providerId="ADAL" clId="{3C7A14F0-AC9D-4C0F-B2FD-5645A9CA3617}" dt="2026-06-29T11:05:44.535" v="667"/>
          <ac:cxnSpMkLst>
            <pc:docMk/>
            <pc:sldMk cId="1125724988" sldId="294"/>
            <ac:cxnSpMk id="10" creationId="{6CD4E4AA-BDA1-5A26-ECDB-523AEB5B6CCC}"/>
          </ac:cxnSpMkLst>
        </pc:cxnChg>
        <pc:cxnChg chg="mod ord">
          <ac:chgData name="Evyan Lyngshing [Chillibreeze]" userId="b5a92789-231b-4933-b5e3-9c4db485d6cf" providerId="ADAL" clId="{3C7A14F0-AC9D-4C0F-B2FD-5645A9CA3617}" dt="2026-06-29T11:05:44.547" v="703"/>
          <ac:cxnSpMkLst>
            <pc:docMk/>
            <pc:sldMk cId="1125724988" sldId="294"/>
            <ac:cxnSpMk id="12" creationId="{DE2B5247-C4B4-DC66-7C83-54D56E8BCB98}"/>
          </ac:cxnSpMkLst>
        </pc:cxnChg>
        <pc:cxnChg chg="mod ord">
          <ac:chgData name="Evyan Lyngshing [Chillibreeze]" userId="b5a92789-231b-4933-b5e3-9c4db485d6cf" providerId="ADAL" clId="{3C7A14F0-AC9D-4C0F-B2FD-5645A9CA3617}" dt="2026-06-29T11:05:44.547" v="705"/>
          <ac:cxnSpMkLst>
            <pc:docMk/>
            <pc:sldMk cId="1125724988" sldId="294"/>
            <ac:cxnSpMk id="15" creationId="{F6021578-B89A-64DF-737D-311557DBFBC5}"/>
          </ac:cxnSpMkLst>
        </pc:cxnChg>
        <pc:cxnChg chg="mod ord">
          <ac:chgData name="Evyan Lyngshing [Chillibreeze]" userId="b5a92789-231b-4933-b5e3-9c4db485d6cf" providerId="ADAL" clId="{3C7A14F0-AC9D-4C0F-B2FD-5645A9CA3617}" dt="2026-06-29T11:05:44.551" v="719"/>
          <ac:cxnSpMkLst>
            <pc:docMk/>
            <pc:sldMk cId="1125724988" sldId="294"/>
            <ac:cxnSpMk id="41" creationId="{B8C9F77F-8A5D-EA73-DD87-1186B4BA3564}"/>
          </ac:cxnSpMkLst>
        </pc:cxnChg>
        <pc:cxnChg chg="mod ord">
          <ac:chgData name="Evyan Lyngshing [Chillibreeze]" userId="b5a92789-231b-4933-b5e3-9c4db485d6cf" providerId="ADAL" clId="{3C7A14F0-AC9D-4C0F-B2FD-5645A9CA3617}" dt="2026-06-29T11:05:44.552" v="721"/>
          <ac:cxnSpMkLst>
            <pc:docMk/>
            <pc:sldMk cId="1125724988" sldId="294"/>
            <ac:cxnSpMk id="42" creationId="{B2012297-13CF-BEDA-3987-C2E07B5A56CA}"/>
          </ac:cxnSpMkLst>
        </pc:cxnChg>
        <pc:cxnChg chg="mod ord">
          <ac:chgData name="Evyan Lyngshing [Chillibreeze]" userId="b5a92789-231b-4933-b5e3-9c4db485d6cf" providerId="ADAL" clId="{3C7A14F0-AC9D-4C0F-B2FD-5645A9CA3617}" dt="2026-06-29T12:25:50.878" v="3008"/>
          <ac:cxnSpMkLst>
            <pc:docMk/>
            <pc:sldMk cId="1125724988" sldId="294"/>
            <ac:cxnSpMk id="99" creationId="{85366BE2-2978-62ED-85E3-FFA013025191}"/>
          </ac:cxnSpMkLst>
        </pc:cxnChg>
        <pc:cxnChg chg="mod ord">
          <ac:chgData name="Evyan Lyngshing [Chillibreeze]" userId="b5a92789-231b-4933-b5e3-9c4db485d6cf" providerId="ADAL" clId="{3C7A14F0-AC9D-4C0F-B2FD-5645A9CA3617}" dt="2026-06-29T12:25:50.878" v="3010"/>
          <ac:cxnSpMkLst>
            <pc:docMk/>
            <pc:sldMk cId="1125724988" sldId="294"/>
            <ac:cxnSpMk id="102" creationId="{E9889D75-D7C9-F1D6-1EF3-BA6FD204AAAF}"/>
          </ac:cxnSpMkLst>
        </pc:cxnChg>
        <pc:cxnChg chg="mod ord">
          <ac:chgData name="Evyan Lyngshing [Chillibreeze]" userId="b5a92789-231b-4933-b5e3-9c4db485d6cf" providerId="ADAL" clId="{3C7A14F0-AC9D-4C0F-B2FD-5645A9CA3617}" dt="2026-06-29T12:25:50.878" v="3012"/>
          <ac:cxnSpMkLst>
            <pc:docMk/>
            <pc:sldMk cId="1125724988" sldId="294"/>
            <ac:cxnSpMk id="103" creationId="{D2D63256-43E4-5285-2CD3-D2B8C53D9CFD}"/>
          </ac:cxnSpMkLst>
        </pc:cxnChg>
        <pc:cxnChg chg="mod ord">
          <ac:chgData name="Evyan Lyngshing [Chillibreeze]" userId="b5a92789-231b-4933-b5e3-9c4db485d6cf" providerId="ADAL" clId="{3C7A14F0-AC9D-4C0F-B2FD-5645A9CA3617}" dt="2026-06-29T12:25:50.887" v="3040"/>
          <ac:cxnSpMkLst>
            <pc:docMk/>
            <pc:sldMk cId="1125724988" sldId="294"/>
            <ac:cxnSpMk id="201" creationId="{41BFBEF7-DB09-FFAD-FF1E-45247068B375}"/>
          </ac:cxnSpMkLst>
        </pc:cxnChg>
        <pc:cxnChg chg="mod ord">
          <ac:chgData name="Evyan Lyngshing [Chillibreeze]" userId="b5a92789-231b-4933-b5e3-9c4db485d6cf" providerId="ADAL" clId="{3C7A14F0-AC9D-4C0F-B2FD-5645A9CA3617}" dt="2026-06-29T12:25:50.887" v="3042"/>
          <ac:cxnSpMkLst>
            <pc:docMk/>
            <pc:sldMk cId="1125724988" sldId="294"/>
            <ac:cxnSpMk id="202" creationId="{8C6398F4-3743-A3F1-B260-296D19D55658}"/>
          </ac:cxnSpMkLst>
        </pc:cxnChg>
        <pc:cxnChg chg="mod ord">
          <ac:chgData name="Evyan Lyngshing [Chillibreeze]" userId="b5a92789-231b-4933-b5e3-9c4db485d6cf" providerId="ADAL" clId="{3C7A14F0-AC9D-4C0F-B2FD-5645A9CA3617}" dt="2026-06-29T12:25:50.889" v="3044"/>
          <ac:cxnSpMkLst>
            <pc:docMk/>
            <pc:sldMk cId="1125724988" sldId="294"/>
            <ac:cxnSpMk id="203" creationId="{1C5F3805-27C9-81FE-E5C6-248A23B371BB}"/>
          </ac:cxnSpMkLst>
        </pc:cxnChg>
        <pc:cxnChg chg="mod ord">
          <ac:chgData name="Evyan Lyngshing [Chillibreeze]" userId="b5a92789-231b-4933-b5e3-9c4db485d6cf" providerId="ADAL" clId="{3C7A14F0-AC9D-4C0F-B2FD-5645A9CA3617}" dt="2026-06-29T12:25:50.889" v="3046"/>
          <ac:cxnSpMkLst>
            <pc:docMk/>
            <pc:sldMk cId="1125724988" sldId="294"/>
            <ac:cxnSpMk id="204" creationId="{E98D80DC-6B8B-C1C7-28C1-121AD4B2411D}"/>
          </ac:cxnSpMkLst>
        </pc:cxnChg>
        <pc:cxnChg chg="mod ord">
          <ac:chgData name="Evyan Lyngshing [Chillibreeze]" userId="b5a92789-231b-4933-b5e3-9c4db485d6cf" providerId="ADAL" clId="{3C7A14F0-AC9D-4C0F-B2FD-5645A9CA3617}" dt="2026-06-29T11:05:44.535" v="665"/>
          <ac:cxnSpMkLst>
            <pc:docMk/>
            <pc:sldMk cId="1125724988" sldId="294"/>
            <ac:cxnSpMk id="211" creationId="{6DC63AA6-B934-E36D-9658-A1E2DAF7350C}"/>
          </ac:cxnSpMkLst>
        </pc:cxnChg>
      </pc:sldChg>
      <pc:sldChg chg="addSp delSp modSp mod setBg modClrScheme chgLayout">
        <pc:chgData name="Evyan Lyngshing [Chillibreeze]" userId="b5a92789-231b-4933-b5e3-9c4db485d6cf" providerId="ADAL" clId="{3C7A14F0-AC9D-4C0F-B2FD-5645A9CA3617}" dt="2026-06-29T13:29:22.189" v="4089" actId="164"/>
        <pc:sldMkLst>
          <pc:docMk/>
          <pc:sldMk cId="3604952828" sldId="295"/>
        </pc:sldMkLst>
        <pc:spChg chg="add del mod">
          <ac:chgData name="Evyan Lyngshing [Chillibreeze]" userId="b5a92789-231b-4933-b5e3-9c4db485d6cf" providerId="ADAL" clId="{3C7A14F0-AC9D-4C0F-B2FD-5645A9CA3617}" dt="2026-06-29T11:15:48.548" v="1025" actId="6264"/>
          <ac:spMkLst>
            <pc:docMk/>
            <pc:sldMk cId="3604952828" sldId="295"/>
            <ac:spMk id="3" creationId="{F9B9B125-0F39-8E88-9EEC-D8B493172BA7}"/>
          </ac:spMkLst>
        </pc:spChg>
        <pc:spChg chg="mod ord">
          <ac:chgData name="Evyan Lyngshing [Chillibreeze]" userId="b5a92789-231b-4933-b5e3-9c4db485d6cf" providerId="ADAL" clId="{3C7A14F0-AC9D-4C0F-B2FD-5645A9CA3617}" dt="2026-06-29T12:25:58.147" v="3072"/>
          <ac:spMkLst>
            <pc:docMk/>
            <pc:sldMk cId="3604952828" sldId="295"/>
            <ac:spMk id="4" creationId="{B15D0B8F-4376-9D46-9B62-21EEFCE8C7CD}"/>
          </ac:spMkLst>
        </pc:spChg>
        <pc:spChg chg="add mod ord">
          <ac:chgData name="Evyan Lyngshing [Chillibreeze]" userId="b5a92789-231b-4933-b5e3-9c4db485d6cf" providerId="ADAL" clId="{3C7A14F0-AC9D-4C0F-B2FD-5645A9CA3617}" dt="2026-06-29T12:25:58.144" v="3062"/>
          <ac:spMkLst>
            <pc:docMk/>
            <pc:sldMk cId="3604952828" sldId="295"/>
            <ac:spMk id="6" creationId="{AFF7D48D-2F45-DBFD-F5C7-BC5947375072}"/>
          </ac:spMkLst>
        </pc:spChg>
        <pc:spChg chg="add del mod ord">
          <ac:chgData name="Evyan Lyngshing [Chillibreeze]" userId="b5a92789-231b-4933-b5e3-9c4db485d6cf" providerId="ADAL" clId="{3C7A14F0-AC9D-4C0F-B2FD-5645A9CA3617}" dt="2026-06-29T12:23:19.514" v="2936" actId="478"/>
          <ac:spMkLst>
            <pc:docMk/>
            <pc:sldMk cId="3604952828" sldId="295"/>
            <ac:spMk id="8" creationId="{4D088962-1248-C5C0-C1C4-97C1B6D90351}"/>
          </ac:spMkLst>
        </pc:spChg>
        <pc:spChg chg="add del mod ord">
          <ac:chgData name="Evyan Lyngshing [Chillibreeze]" userId="b5a92789-231b-4933-b5e3-9c4db485d6cf" providerId="ADAL" clId="{3C7A14F0-AC9D-4C0F-B2FD-5645A9CA3617}" dt="2026-06-29T12:25:56.070" v="3051" actId="478"/>
          <ac:spMkLst>
            <pc:docMk/>
            <pc:sldMk cId="3604952828" sldId="295"/>
            <ac:spMk id="9" creationId="{4380089A-3DF2-0C13-52D6-4939B4885C5E}"/>
          </ac:spMkLst>
        </pc:spChg>
        <pc:spChg chg="add del mod ord">
          <ac:chgData name="Evyan Lyngshing [Chillibreeze]" userId="b5a92789-231b-4933-b5e3-9c4db485d6cf" providerId="ADAL" clId="{3C7A14F0-AC9D-4C0F-B2FD-5645A9CA3617}" dt="2026-06-29T12:25:56.070" v="3051" actId="478"/>
          <ac:spMkLst>
            <pc:docMk/>
            <pc:sldMk cId="3604952828" sldId="295"/>
            <ac:spMk id="10" creationId="{BFA59370-9846-D40E-D1EA-0B654908487F}"/>
          </ac:spMkLst>
        </pc:spChg>
        <pc:spChg chg="add mod ord">
          <ac:chgData name="Evyan Lyngshing [Chillibreeze]" userId="b5a92789-231b-4933-b5e3-9c4db485d6cf" providerId="ADAL" clId="{3C7A14F0-AC9D-4C0F-B2FD-5645A9CA3617}" dt="2026-06-29T12:25:58.144" v="3064"/>
          <ac:spMkLst>
            <pc:docMk/>
            <pc:sldMk cId="3604952828" sldId="295"/>
            <ac:spMk id="11" creationId="{F897CA7B-22EB-08CA-AA51-001F5F50C2E3}"/>
          </ac:spMkLst>
        </pc:spChg>
        <pc:spChg chg="del mod ord">
          <ac:chgData name="Evyan Lyngshing [Chillibreeze]" userId="b5a92789-231b-4933-b5e3-9c4db485d6cf" providerId="ADAL" clId="{3C7A14F0-AC9D-4C0F-B2FD-5645A9CA3617}" dt="2026-06-29T11:17:08.267" v="1150" actId="478"/>
          <ac:spMkLst>
            <pc:docMk/>
            <pc:sldMk cId="3604952828" sldId="295"/>
            <ac:spMk id="12" creationId="{708B2E7C-AE27-3B44-F6B8-C9B07216DEE1}"/>
          </ac:spMkLst>
        </pc:spChg>
        <pc:spChg chg="del mod ord">
          <ac:chgData name="Evyan Lyngshing [Chillibreeze]" userId="b5a92789-231b-4933-b5e3-9c4db485d6cf" providerId="ADAL" clId="{3C7A14F0-AC9D-4C0F-B2FD-5645A9CA3617}" dt="2026-06-29T11:17:08.267" v="1150" actId="478"/>
          <ac:spMkLst>
            <pc:docMk/>
            <pc:sldMk cId="3604952828" sldId="295"/>
            <ac:spMk id="13" creationId="{06FAA9C6-68CA-6E4A-E39B-C44D3BB76FAF}"/>
          </ac:spMkLst>
        </pc:spChg>
        <pc:spChg chg="del mod ord">
          <ac:chgData name="Evyan Lyngshing [Chillibreeze]" userId="b5a92789-231b-4933-b5e3-9c4db485d6cf" providerId="ADAL" clId="{3C7A14F0-AC9D-4C0F-B2FD-5645A9CA3617}" dt="2026-06-29T11:17:08.267" v="1150" actId="478"/>
          <ac:spMkLst>
            <pc:docMk/>
            <pc:sldMk cId="3604952828" sldId="295"/>
            <ac:spMk id="14" creationId="{2911BF11-DC42-DEE7-68EE-7C6CDA6C8520}"/>
          </ac:spMkLst>
        </pc:spChg>
        <pc:spChg chg="mod ord">
          <ac:chgData name="Evyan Lyngshing [Chillibreeze]" userId="b5a92789-231b-4933-b5e3-9c4db485d6cf" providerId="ADAL" clId="{3C7A14F0-AC9D-4C0F-B2FD-5645A9CA3617}" dt="2026-06-29T13:29:22.189" v="4089" actId="164"/>
          <ac:spMkLst>
            <pc:docMk/>
            <pc:sldMk cId="3604952828" sldId="295"/>
            <ac:spMk id="18" creationId="{A940000A-90F8-063C-F0EC-486CCD6741FD}"/>
          </ac:spMkLst>
        </pc:spChg>
        <pc:spChg chg="del mod ord">
          <ac:chgData name="Evyan Lyngshing [Chillibreeze]" userId="b5a92789-231b-4933-b5e3-9c4db485d6cf" providerId="ADAL" clId="{3C7A14F0-AC9D-4C0F-B2FD-5645A9CA3617}" dt="2026-06-29T11:17:04.625" v="1149" actId="478"/>
          <ac:spMkLst>
            <pc:docMk/>
            <pc:sldMk cId="3604952828" sldId="295"/>
            <ac:spMk id="19" creationId="{F13B7D0C-08B5-2EE6-ED93-722CE8D76242}"/>
          </ac:spMkLst>
        </pc:spChg>
        <pc:spChg chg="del mod ord">
          <ac:chgData name="Evyan Lyngshing [Chillibreeze]" userId="b5a92789-231b-4933-b5e3-9c4db485d6cf" providerId="ADAL" clId="{3C7A14F0-AC9D-4C0F-B2FD-5645A9CA3617}" dt="2026-06-29T11:17:04.625" v="1149" actId="478"/>
          <ac:spMkLst>
            <pc:docMk/>
            <pc:sldMk cId="3604952828" sldId="295"/>
            <ac:spMk id="20" creationId="{C4B9E0C8-AFA8-9B77-754B-F6C307903E8F}"/>
          </ac:spMkLst>
        </pc:spChg>
        <pc:spChg chg="add del mod ord">
          <ac:chgData name="Evyan Lyngshing [Chillibreeze]" userId="b5a92789-231b-4933-b5e3-9c4db485d6cf" providerId="ADAL" clId="{3C7A14F0-AC9D-4C0F-B2FD-5645A9CA3617}" dt="2026-06-29T11:17:04.625" v="1149" actId="478"/>
          <ac:spMkLst>
            <pc:docMk/>
            <pc:sldMk cId="3604952828" sldId="295"/>
            <ac:spMk id="21" creationId="{C4E73C22-B5EC-6088-86E1-FBD35B852136}"/>
          </ac:spMkLst>
        </pc:spChg>
        <pc:spChg chg="mod ord">
          <ac:chgData name="Evyan Lyngshing [Chillibreeze]" userId="b5a92789-231b-4933-b5e3-9c4db485d6cf" providerId="ADAL" clId="{3C7A14F0-AC9D-4C0F-B2FD-5645A9CA3617}" dt="2026-06-29T12:25:58.146" v="3068"/>
          <ac:spMkLst>
            <pc:docMk/>
            <pc:sldMk cId="3604952828" sldId="295"/>
            <ac:spMk id="22" creationId="{8338EC9E-0EB2-A8D4-1E85-0AD9A90A42B9}"/>
          </ac:spMkLst>
        </pc:spChg>
        <pc:spChg chg="add del mod ord">
          <ac:chgData name="Evyan Lyngshing [Chillibreeze]" userId="b5a92789-231b-4933-b5e3-9c4db485d6cf" providerId="ADAL" clId="{3C7A14F0-AC9D-4C0F-B2FD-5645A9CA3617}" dt="2026-06-29T11:17:04.625" v="1149" actId="478"/>
          <ac:spMkLst>
            <pc:docMk/>
            <pc:sldMk cId="3604952828" sldId="295"/>
            <ac:spMk id="23" creationId="{4FB8D10A-078E-D95A-5551-3D0C38F7B523}"/>
          </ac:spMkLst>
        </pc:spChg>
        <pc:spChg chg="del mod ord">
          <ac:chgData name="Evyan Lyngshing [Chillibreeze]" userId="b5a92789-231b-4933-b5e3-9c4db485d6cf" providerId="ADAL" clId="{3C7A14F0-AC9D-4C0F-B2FD-5645A9CA3617}" dt="2026-06-29T11:17:04.625" v="1149" actId="478"/>
          <ac:spMkLst>
            <pc:docMk/>
            <pc:sldMk cId="3604952828" sldId="295"/>
            <ac:spMk id="24" creationId="{C9D3AC1E-3C14-7A92-4263-FD97F69665BA}"/>
          </ac:spMkLst>
        </pc:spChg>
        <pc:spChg chg="add del mod ord">
          <ac:chgData name="Evyan Lyngshing [Chillibreeze]" userId="b5a92789-231b-4933-b5e3-9c4db485d6cf" providerId="ADAL" clId="{3C7A14F0-AC9D-4C0F-B2FD-5645A9CA3617}" dt="2026-06-29T11:17:04.625" v="1149" actId="478"/>
          <ac:spMkLst>
            <pc:docMk/>
            <pc:sldMk cId="3604952828" sldId="295"/>
            <ac:spMk id="25" creationId="{C9B90BAA-E146-87FB-831D-F3D9966F7901}"/>
          </ac:spMkLst>
        </pc:spChg>
        <pc:spChg chg="add mod ord">
          <ac:chgData name="Evyan Lyngshing [Chillibreeze]" userId="b5a92789-231b-4933-b5e3-9c4db485d6cf" providerId="ADAL" clId="{3C7A14F0-AC9D-4C0F-B2FD-5645A9CA3617}" dt="2026-06-29T13:28:49.443" v="4076" actId="164"/>
          <ac:spMkLst>
            <pc:docMk/>
            <pc:sldMk cId="3604952828" sldId="295"/>
            <ac:spMk id="26" creationId="{D8C10753-9397-1DED-6AB1-93AE87451460}"/>
          </ac:spMkLst>
        </pc:spChg>
        <pc:spChg chg="del mod ord">
          <ac:chgData name="Evyan Lyngshing [Chillibreeze]" userId="b5a92789-231b-4933-b5e3-9c4db485d6cf" providerId="ADAL" clId="{3C7A14F0-AC9D-4C0F-B2FD-5645A9CA3617}" dt="2026-06-29T11:17:04.625" v="1149" actId="478"/>
          <ac:spMkLst>
            <pc:docMk/>
            <pc:sldMk cId="3604952828" sldId="295"/>
            <ac:spMk id="27" creationId="{EC1DC4BB-330F-7029-2FAB-AD66A0F30287}"/>
          </ac:spMkLst>
        </pc:spChg>
        <pc:spChg chg="del mod ord">
          <ac:chgData name="Evyan Lyngshing [Chillibreeze]" userId="b5a92789-231b-4933-b5e3-9c4db485d6cf" providerId="ADAL" clId="{3C7A14F0-AC9D-4C0F-B2FD-5645A9CA3617}" dt="2026-06-29T11:17:04.625" v="1149" actId="478"/>
          <ac:spMkLst>
            <pc:docMk/>
            <pc:sldMk cId="3604952828" sldId="295"/>
            <ac:spMk id="28" creationId="{74E15057-84C0-AF26-0070-E5668E8863C2}"/>
          </ac:spMkLst>
        </pc:spChg>
        <pc:spChg chg="mod ord">
          <ac:chgData name="Evyan Lyngshing [Chillibreeze]" userId="b5a92789-231b-4933-b5e3-9c4db485d6cf" providerId="ADAL" clId="{3C7A14F0-AC9D-4C0F-B2FD-5645A9CA3617}" dt="2026-06-29T11:16:15.745" v="1082"/>
          <ac:spMkLst>
            <pc:docMk/>
            <pc:sldMk cId="3604952828" sldId="295"/>
            <ac:spMk id="29" creationId="{EE03FC28-7F39-86DA-D6C4-0C414FFC9372}"/>
          </ac:spMkLst>
        </pc:spChg>
        <pc:spChg chg="add del mod ord">
          <ac:chgData name="Evyan Lyngshing [Chillibreeze]" userId="b5a92789-231b-4933-b5e3-9c4db485d6cf" providerId="ADAL" clId="{3C7A14F0-AC9D-4C0F-B2FD-5645A9CA3617}" dt="2026-06-29T11:17:04.625" v="1149" actId="478"/>
          <ac:spMkLst>
            <pc:docMk/>
            <pc:sldMk cId="3604952828" sldId="295"/>
            <ac:spMk id="30" creationId="{6215774C-9E4F-105A-2D9C-C0A511D7ADFE}"/>
          </ac:spMkLst>
        </pc:spChg>
        <pc:spChg chg="del mod ord">
          <ac:chgData name="Evyan Lyngshing [Chillibreeze]" userId="b5a92789-231b-4933-b5e3-9c4db485d6cf" providerId="ADAL" clId="{3C7A14F0-AC9D-4C0F-B2FD-5645A9CA3617}" dt="2026-06-29T11:17:04.625" v="1149" actId="478"/>
          <ac:spMkLst>
            <pc:docMk/>
            <pc:sldMk cId="3604952828" sldId="295"/>
            <ac:spMk id="35" creationId="{B6D9F9F6-1A73-2AEA-B3E6-B216683C3E12}"/>
          </ac:spMkLst>
        </pc:spChg>
        <pc:spChg chg="del mod ord">
          <ac:chgData name="Evyan Lyngshing [Chillibreeze]" userId="b5a92789-231b-4933-b5e3-9c4db485d6cf" providerId="ADAL" clId="{3C7A14F0-AC9D-4C0F-B2FD-5645A9CA3617}" dt="2026-06-29T11:25:51.172" v="1255" actId="21"/>
          <ac:spMkLst>
            <pc:docMk/>
            <pc:sldMk cId="3604952828" sldId="295"/>
            <ac:spMk id="36" creationId="{2AE268F8-FBF6-FF8C-C030-DE61E3D7209F}"/>
          </ac:spMkLst>
        </pc:spChg>
        <pc:spChg chg="del mod ord">
          <ac:chgData name="Evyan Lyngshing [Chillibreeze]" userId="b5a92789-231b-4933-b5e3-9c4db485d6cf" providerId="ADAL" clId="{3C7A14F0-AC9D-4C0F-B2FD-5645A9CA3617}" dt="2026-06-29T11:25:51.172" v="1255" actId="21"/>
          <ac:spMkLst>
            <pc:docMk/>
            <pc:sldMk cId="3604952828" sldId="295"/>
            <ac:spMk id="37" creationId="{44813602-F5BC-C34F-8818-F5AC651A5A25}"/>
          </ac:spMkLst>
        </pc:spChg>
        <pc:spChg chg="add mod ord">
          <ac:chgData name="Evyan Lyngshing [Chillibreeze]" userId="b5a92789-231b-4933-b5e3-9c4db485d6cf" providerId="ADAL" clId="{3C7A14F0-AC9D-4C0F-B2FD-5645A9CA3617}" dt="2026-06-29T12:25:58.137" v="3054"/>
          <ac:spMkLst>
            <pc:docMk/>
            <pc:sldMk cId="3604952828" sldId="295"/>
            <ac:spMk id="40" creationId="{EFAEEE27-36E8-42E8-874F-64AD86D0C867}"/>
          </ac:spMkLst>
        </pc:spChg>
        <pc:spChg chg="add mod ord">
          <ac:chgData name="Evyan Lyngshing [Chillibreeze]" userId="b5a92789-231b-4933-b5e3-9c4db485d6cf" providerId="ADAL" clId="{3C7A14F0-AC9D-4C0F-B2FD-5645A9CA3617}" dt="2026-06-29T12:25:58.137" v="3056"/>
          <ac:spMkLst>
            <pc:docMk/>
            <pc:sldMk cId="3604952828" sldId="295"/>
            <ac:spMk id="41" creationId="{0FAE2569-8148-8D2D-503B-69CEC0782C1F}"/>
          </ac:spMkLst>
        </pc:spChg>
        <pc:spChg chg="mod">
          <ac:chgData name="Evyan Lyngshing [Chillibreeze]" userId="b5a92789-231b-4933-b5e3-9c4db485d6cf" providerId="ADAL" clId="{3C7A14F0-AC9D-4C0F-B2FD-5645A9CA3617}" dt="2026-06-29T13:28:43.030" v="4071" actId="207"/>
          <ac:spMkLst>
            <pc:docMk/>
            <pc:sldMk cId="3604952828" sldId="295"/>
            <ac:spMk id="45" creationId="{B2CF8E6F-E224-2F73-529C-D27D3C08CEA1}"/>
          </ac:spMkLst>
        </pc:spChg>
        <pc:spChg chg="mod">
          <ac:chgData name="Evyan Lyngshing [Chillibreeze]" userId="b5a92789-231b-4933-b5e3-9c4db485d6cf" providerId="ADAL" clId="{3C7A14F0-AC9D-4C0F-B2FD-5645A9CA3617}" dt="2026-06-29T13:28:43.030" v="4071" actId="207"/>
          <ac:spMkLst>
            <pc:docMk/>
            <pc:sldMk cId="3604952828" sldId="295"/>
            <ac:spMk id="46" creationId="{7F883000-10C9-9C26-E941-9D805510009D}"/>
          </ac:spMkLst>
        </pc:spChg>
        <pc:spChg chg="mod">
          <ac:chgData name="Evyan Lyngshing [Chillibreeze]" userId="b5a92789-231b-4933-b5e3-9c4db485d6cf" providerId="ADAL" clId="{3C7A14F0-AC9D-4C0F-B2FD-5645A9CA3617}" dt="2026-06-29T13:28:43.030" v="4071" actId="207"/>
          <ac:spMkLst>
            <pc:docMk/>
            <pc:sldMk cId="3604952828" sldId="295"/>
            <ac:spMk id="47" creationId="{A015F8E3-E1B9-6119-4E8B-6D2E1C9DCD02}"/>
          </ac:spMkLst>
        </pc:spChg>
        <pc:spChg chg="mod">
          <ac:chgData name="Evyan Lyngshing [Chillibreeze]" userId="b5a92789-231b-4933-b5e3-9c4db485d6cf" providerId="ADAL" clId="{3C7A14F0-AC9D-4C0F-B2FD-5645A9CA3617}" dt="2026-06-29T13:28:43.030" v="4071" actId="207"/>
          <ac:spMkLst>
            <pc:docMk/>
            <pc:sldMk cId="3604952828" sldId="295"/>
            <ac:spMk id="48" creationId="{71F3D65F-7A91-9F0E-B6D1-6EB54EA98F1A}"/>
          </ac:spMkLst>
        </pc:spChg>
        <pc:spChg chg="mod">
          <ac:chgData name="Evyan Lyngshing [Chillibreeze]" userId="b5a92789-231b-4933-b5e3-9c4db485d6cf" providerId="ADAL" clId="{3C7A14F0-AC9D-4C0F-B2FD-5645A9CA3617}" dt="2026-06-29T13:28:43.030" v="4071" actId="207"/>
          <ac:spMkLst>
            <pc:docMk/>
            <pc:sldMk cId="3604952828" sldId="295"/>
            <ac:spMk id="49" creationId="{303A3DF4-52D4-E7C5-9B5C-598480D7068D}"/>
          </ac:spMkLst>
        </pc:spChg>
        <pc:spChg chg="mod">
          <ac:chgData name="Evyan Lyngshing [Chillibreeze]" userId="b5a92789-231b-4933-b5e3-9c4db485d6cf" providerId="ADAL" clId="{3C7A14F0-AC9D-4C0F-B2FD-5645A9CA3617}" dt="2026-06-29T13:28:43.030" v="4071" actId="207"/>
          <ac:spMkLst>
            <pc:docMk/>
            <pc:sldMk cId="3604952828" sldId="295"/>
            <ac:spMk id="50" creationId="{C3742A56-3158-4689-7480-27B67F36C168}"/>
          </ac:spMkLst>
        </pc:spChg>
        <pc:spChg chg="mod">
          <ac:chgData name="Evyan Lyngshing [Chillibreeze]" userId="b5a92789-231b-4933-b5e3-9c4db485d6cf" providerId="ADAL" clId="{3C7A14F0-AC9D-4C0F-B2FD-5645A9CA3617}" dt="2026-06-29T13:28:43.030" v="4071" actId="207"/>
          <ac:spMkLst>
            <pc:docMk/>
            <pc:sldMk cId="3604952828" sldId="295"/>
            <ac:spMk id="51" creationId="{BBA088F9-5359-D852-ADA4-952F84A7EAF3}"/>
          </ac:spMkLst>
        </pc:spChg>
        <pc:spChg chg="mod">
          <ac:chgData name="Evyan Lyngshing [Chillibreeze]" userId="b5a92789-231b-4933-b5e3-9c4db485d6cf" providerId="ADAL" clId="{3C7A14F0-AC9D-4C0F-B2FD-5645A9CA3617}" dt="2026-06-29T13:29:15.314" v="4085" actId="207"/>
          <ac:spMkLst>
            <pc:docMk/>
            <pc:sldMk cId="3604952828" sldId="295"/>
            <ac:spMk id="57" creationId="{2256B3EC-16BA-6B64-CECD-F88F2D3BC2DD}"/>
          </ac:spMkLst>
        </pc:spChg>
        <pc:spChg chg="mod">
          <ac:chgData name="Evyan Lyngshing [Chillibreeze]" userId="b5a92789-231b-4933-b5e3-9c4db485d6cf" providerId="ADAL" clId="{3C7A14F0-AC9D-4C0F-B2FD-5645A9CA3617}" dt="2026-06-29T13:29:15.314" v="4085" actId="207"/>
          <ac:spMkLst>
            <pc:docMk/>
            <pc:sldMk cId="3604952828" sldId="295"/>
            <ac:spMk id="58" creationId="{B4518E52-9323-7350-366B-0649A438608F}"/>
          </ac:spMkLst>
        </pc:spChg>
        <pc:spChg chg="mod">
          <ac:chgData name="Evyan Lyngshing [Chillibreeze]" userId="b5a92789-231b-4933-b5e3-9c4db485d6cf" providerId="ADAL" clId="{3C7A14F0-AC9D-4C0F-B2FD-5645A9CA3617}" dt="2026-06-29T13:29:15.314" v="4085" actId="207"/>
          <ac:spMkLst>
            <pc:docMk/>
            <pc:sldMk cId="3604952828" sldId="295"/>
            <ac:spMk id="59" creationId="{596D3EC6-E54B-ED07-4252-0CD4B8579E69}"/>
          </ac:spMkLst>
        </pc:spChg>
        <pc:spChg chg="mod">
          <ac:chgData name="Evyan Lyngshing [Chillibreeze]" userId="b5a92789-231b-4933-b5e3-9c4db485d6cf" providerId="ADAL" clId="{3C7A14F0-AC9D-4C0F-B2FD-5645A9CA3617}" dt="2026-06-29T13:29:15.314" v="4085" actId="207"/>
          <ac:spMkLst>
            <pc:docMk/>
            <pc:sldMk cId="3604952828" sldId="295"/>
            <ac:spMk id="60" creationId="{EDBFADFC-7268-628A-3494-8E3F08C30B84}"/>
          </ac:spMkLst>
        </pc:spChg>
        <pc:spChg chg="del mod ord">
          <ac:chgData name="Evyan Lyngshing [Chillibreeze]" userId="b5a92789-231b-4933-b5e3-9c4db485d6cf" providerId="ADAL" clId="{3C7A14F0-AC9D-4C0F-B2FD-5645A9CA3617}" dt="2026-06-29T11:25:51.172" v="1255" actId="21"/>
          <ac:spMkLst>
            <pc:docMk/>
            <pc:sldMk cId="3604952828" sldId="295"/>
            <ac:spMk id="72" creationId="{0FBA0CA7-AB68-E75E-7601-42B777AD8540}"/>
          </ac:spMkLst>
        </pc:spChg>
        <pc:spChg chg="del mod ord">
          <ac:chgData name="Evyan Lyngshing [Chillibreeze]" userId="b5a92789-231b-4933-b5e3-9c4db485d6cf" providerId="ADAL" clId="{3C7A14F0-AC9D-4C0F-B2FD-5645A9CA3617}" dt="2026-06-29T11:25:51.172" v="1255" actId="21"/>
          <ac:spMkLst>
            <pc:docMk/>
            <pc:sldMk cId="3604952828" sldId="295"/>
            <ac:spMk id="73" creationId="{E5002351-6183-E796-D26E-DBAD36D062C2}"/>
          </ac:spMkLst>
        </pc:spChg>
        <pc:grpChg chg="del mod">
          <ac:chgData name="Evyan Lyngshing [Chillibreeze]" userId="b5a92789-231b-4933-b5e3-9c4db485d6cf" providerId="ADAL" clId="{3C7A14F0-AC9D-4C0F-B2FD-5645A9CA3617}" dt="2026-06-29T13:28:37.704" v="4061" actId="27803"/>
          <ac:grpSpMkLst>
            <pc:docMk/>
            <pc:sldMk cId="3604952828" sldId="295"/>
            <ac:grpSpMk id="44" creationId="{A0C821D2-6FF6-E82A-034B-72F35BA7196F}"/>
          </ac:grpSpMkLst>
        </pc:grpChg>
        <pc:grpChg chg="add mod">
          <ac:chgData name="Evyan Lyngshing [Chillibreeze]" userId="b5a92789-231b-4933-b5e3-9c4db485d6cf" providerId="ADAL" clId="{3C7A14F0-AC9D-4C0F-B2FD-5645A9CA3617}" dt="2026-06-29T13:28:49.443" v="4076" actId="164"/>
          <ac:grpSpMkLst>
            <pc:docMk/>
            <pc:sldMk cId="3604952828" sldId="295"/>
            <ac:grpSpMk id="52" creationId="{67BCB89C-4064-A038-5503-71A59408C8E7}"/>
          </ac:grpSpMkLst>
        </pc:grpChg>
        <pc:grpChg chg="add mod">
          <ac:chgData name="Evyan Lyngshing [Chillibreeze]" userId="b5a92789-231b-4933-b5e3-9c4db485d6cf" providerId="ADAL" clId="{3C7A14F0-AC9D-4C0F-B2FD-5645A9CA3617}" dt="2026-06-29T13:28:49.443" v="4076" actId="164"/>
          <ac:grpSpMkLst>
            <pc:docMk/>
            <pc:sldMk cId="3604952828" sldId="295"/>
            <ac:grpSpMk id="53" creationId="{1845D4D1-3B00-2333-53E1-EFF904B33C02}"/>
          </ac:grpSpMkLst>
        </pc:grpChg>
        <pc:grpChg chg="mod">
          <ac:chgData name="Evyan Lyngshing [Chillibreeze]" userId="b5a92789-231b-4933-b5e3-9c4db485d6cf" providerId="ADAL" clId="{3C7A14F0-AC9D-4C0F-B2FD-5645A9CA3617}" dt="2026-06-29T13:29:22.189" v="4089" actId="164"/>
          <ac:grpSpMkLst>
            <pc:docMk/>
            <pc:sldMk cId="3604952828" sldId="295"/>
            <ac:grpSpMk id="56" creationId="{1D948A3C-FF95-0A00-8F2C-93092998E321}"/>
          </ac:grpSpMkLst>
        </pc:grpChg>
        <pc:grpChg chg="add mod">
          <ac:chgData name="Evyan Lyngshing [Chillibreeze]" userId="b5a92789-231b-4933-b5e3-9c4db485d6cf" providerId="ADAL" clId="{3C7A14F0-AC9D-4C0F-B2FD-5645A9CA3617}" dt="2026-06-29T13:29:22.189" v="4089" actId="164"/>
          <ac:grpSpMkLst>
            <pc:docMk/>
            <pc:sldMk cId="3604952828" sldId="295"/>
            <ac:grpSpMk id="61" creationId="{E04AA11A-F492-099F-9E78-413BEC39C4B7}"/>
          </ac:grpSpMkLst>
        </pc:grpChg>
        <pc:grpChg chg="del mod ord">
          <ac:chgData name="Evyan Lyngshing [Chillibreeze]" userId="b5a92789-231b-4933-b5e3-9c4db485d6cf" providerId="ADAL" clId="{3C7A14F0-AC9D-4C0F-B2FD-5645A9CA3617}" dt="2026-06-29T11:25:51.172" v="1255" actId="21"/>
          <ac:grpSpMkLst>
            <pc:docMk/>
            <pc:sldMk cId="3604952828" sldId="295"/>
            <ac:grpSpMk id="66" creationId="{A2C29C31-9329-F6D9-B943-2529CF77B564}"/>
          </ac:grpSpMkLst>
        </pc:grpChg>
        <pc:grpChg chg="del mod ord">
          <ac:chgData name="Evyan Lyngshing [Chillibreeze]" userId="b5a92789-231b-4933-b5e3-9c4db485d6cf" providerId="ADAL" clId="{3C7A14F0-AC9D-4C0F-B2FD-5645A9CA3617}" dt="2026-06-29T11:25:51.172" v="1255" actId="21"/>
          <ac:grpSpMkLst>
            <pc:docMk/>
            <pc:sldMk cId="3604952828" sldId="295"/>
            <ac:grpSpMk id="82" creationId="{D199DB1A-A064-4C27-E67D-37594BCB1020}"/>
          </ac:grpSpMkLst>
        </pc:grpChg>
        <pc:graphicFrameChg chg="add mod ord modVis">
          <ac:chgData name="Evyan Lyngshing [Chillibreeze]" userId="b5a92789-231b-4933-b5e3-9c4db485d6cf" providerId="ADAL" clId="{3C7A14F0-AC9D-4C0F-B2FD-5645A9CA3617}" dt="2026-06-29T12:25:58.148" v="3076"/>
          <ac:graphicFrameMkLst>
            <pc:docMk/>
            <pc:sldMk cId="3604952828" sldId="295"/>
            <ac:graphicFrameMk id="2" creationId="{5FDC0585-EC20-C947-3883-F2CE5D8B3A2E}"/>
          </ac:graphicFrameMkLst>
        </pc:graphicFrameChg>
        <pc:picChg chg="mod ord">
          <ac:chgData name="Evyan Lyngshing [Chillibreeze]" userId="b5a92789-231b-4933-b5e3-9c4db485d6cf" providerId="ADAL" clId="{3C7A14F0-AC9D-4C0F-B2FD-5645A9CA3617}" dt="2026-06-29T12:25:58.144" v="3060"/>
          <ac:picMkLst>
            <pc:docMk/>
            <pc:sldMk cId="3604952828" sldId="295"/>
            <ac:picMk id="5" creationId="{8FFF0B72-798D-E88B-A7E2-3365AD0C5E90}"/>
          </ac:picMkLst>
        </pc:picChg>
        <pc:picChg chg="add mod ord">
          <ac:chgData name="Evyan Lyngshing [Chillibreeze]" userId="b5a92789-231b-4933-b5e3-9c4db485d6cf" providerId="ADAL" clId="{3C7A14F0-AC9D-4C0F-B2FD-5645A9CA3617}" dt="2026-06-29T12:25:58.142" v="3058"/>
          <ac:picMkLst>
            <pc:docMk/>
            <pc:sldMk cId="3604952828" sldId="295"/>
            <ac:picMk id="38" creationId="{4E13789D-2881-6B04-6AA9-D20FF357E906}"/>
          </ac:picMkLst>
        </pc:picChg>
        <pc:picChg chg="add mod ord">
          <ac:chgData name="Evyan Lyngshing [Chillibreeze]" userId="b5a92789-231b-4933-b5e3-9c4db485d6cf" providerId="ADAL" clId="{3C7A14F0-AC9D-4C0F-B2FD-5645A9CA3617}" dt="2026-06-29T12:25:58.147" v="3074"/>
          <ac:picMkLst>
            <pc:docMk/>
            <pc:sldMk cId="3604952828" sldId="295"/>
            <ac:picMk id="39" creationId="{C7F6FF56-016F-9B14-BC3E-81B8D5283CB5}"/>
          </ac:picMkLst>
        </pc:picChg>
        <pc:picChg chg="add del mod">
          <ac:chgData name="Evyan Lyngshing [Chillibreeze]" userId="b5a92789-231b-4933-b5e3-9c4db485d6cf" providerId="ADAL" clId="{3C7A14F0-AC9D-4C0F-B2FD-5645A9CA3617}" dt="2026-06-29T13:28:37.704" v="4061" actId="27803"/>
          <ac:picMkLst>
            <pc:docMk/>
            <pc:sldMk cId="3604952828" sldId="295"/>
            <ac:picMk id="43" creationId="{7D5646B3-3EFA-54B0-F5FF-9040EA923B28}"/>
          </ac:picMkLst>
        </pc:picChg>
        <pc:picChg chg="add del mod">
          <ac:chgData name="Evyan Lyngshing [Chillibreeze]" userId="b5a92789-231b-4933-b5e3-9c4db485d6cf" providerId="ADAL" clId="{3C7A14F0-AC9D-4C0F-B2FD-5645A9CA3617}" dt="2026-06-29T13:29:12.175" v="4079" actId="27803"/>
          <ac:picMkLst>
            <pc:docMk/>
            <pc:sldMk cId="3604952828" sldId="295"/>
            <ac:picMk id="55" creationId="{30FA63F1-C250-1D80-4877-C728EBD0123F}"/>
          </ac:picMkLst>
        </pc:picChg>
        <pc:cxnChg chg="del mod ord">
          <ac:chgData name="Evyan Lyngshing [Chillibreeze]" userId="b5a92789-231b-4933-b5e3-9c4db485d6cf" providerId="ADAL" clId="{3C7A14F0-AC9D-4C0F-B2FD-5645A9CA3617}" dt="2026-06-29T11:25:51.172" v="1255" actId="21"/>
          <ac:cxnSpMkLst>
            <pc:docMk/>
            <pc:sldMk cId="3604952828" sldId="295"/>
            <ac:cxnSpMk id="7" creationId="{DB5AF152-A0AA-676B-78B6-489CB8EF9C71}"/>
          </ac:cxnSpMkLst>
        </pc:cxnChg>
        <pc:cxnChg chg="del mod ord">
          <ac:chgData name="Evyan Lyngshing [Chillibreeze]" userId="b5a92789-231b-4933-b5e3-9c4db485d6cf" providerId="ADAL" clId="{3C7A14F0-AC9D-4C0F-B2FD-5645A9CA3617}" dt="2026-06-29T11:17:08.267" v="1150" actId="478"/>
          <ac:cxnSpMkLst>
            <pc:docMk/>
            <pc:sldMk cId="3604952828" sldId="295"/>
            <ac:cxnSpMk id="15" creationId="{A9BFBE56-6695-F2F1-8F9D-321308E742C0}"/>
          </ac:cxnSpMkLst>
        </pc:cxnChg>
        <pc:cxnChg chg="del mod ord">
          <ac:chgData name="Evyan Lyngshing [Chillibreeze]" userId="b5a92789-231b-4933-b5e3-9c4db485d6cf" providerId="ADAL" clId="{3C7A14F0-AC9D-4C0F-B2FD-5645A9CA3617}" dt="2026-06-29T11:17:08.267" v="1150" actId="478"/>
          <ac:cxnSpMkLst>
            <pc:docMk/>
            <pc:sldMk cId="3604952828" sldId="295"/>
            <ac:cxnSpMk id="16" creationId="{0A26A7E7-A925-EC02-DF9C-6CFFA328E76B}"/>
          </ac:cxnSpMkLst>
        </pc:cxnChg>
        <pc:cxnChg chg="del mod ord">
          <ac:chgData name="Evyan Lyngshing [Chillibreeze]" userId="b5a92789-231b-4933-b5e3-9c4db485d6cf" providerId="ADAL" clId="{3C7A14F0-AC9D-4C0F-B2FD-5645A9CA3617}" dt="2026-06-29T11:17:08.267" v="1150" actId="478"/>
          <ac:cxnSpMkLst>
            <pc:docMk/>
            <pc:sldMk cId="3604952828" sldId="295"/>
            <ac:cxnSpMk id="17" creationId="{49FEA773-BA05-C91D-84AF-565D74FC4C5C}"/>
          </ac:cxnSpMkLst>
        </pc:cxnChg>
        <pc:cxnChg chg="mod ord">
          <ac:chgData name="Evyan Lyngshing [Chillibreeze]" userId="b5a92789-231b-4933-b5e3-9c4db485d6cf" providerId="ADAL" clId="{3C7A14F0-AC9D-4C0F-B2FD-5645A9CA3617}" dt="2026-06-29T11:16:15.745" v="1086"/>
          <ac:cxnSpMkLst>
            <pc:docMk/>
            <pc:sldMk cId="3604952828" sldId="295"/>
            <ac:cxnSpMk id="31" creationId="{0855A41D-0421-0E09-A4BB-8C4F79A89695}"/>
          </ac:cxnSpMkLst>
        </pc:cxnChg>
        <pc:cxnChg chg="mod ord">
          <ac:chgData name="Evyan Lyngshing [Chillibreeze]" userId="b5a92789-231b-4933-b5e3-9c4db485d6cf" providerId="ADAL" clId="{3C7A14F0-AC9D-4C0F-B2FD-5645A9CA3617}" dt="2026-06-29T11:16:15.745" v="1088"/>
          <ac:cxnSpMkLst>
            <pc:docMk/>
            <pc:sldMk cId="3604952828" sldId="295"/>
            <ac:cxnSpMk id="32" creationId="{878C68FE-02B9-25D3-D023-B15639E01DA6}"/>
          </ac:cxnSpMkLst>
        </pc:cxnChg>
        <pc:cxnChg chg="mod ord">
          <ac:chgData name="Evyan Lyngshing [Chillibreeze]" userId="b5a92789-231b-4933-b5e3-9c4db485d6cf" providerId="ADAL" clId="{3C7A14F0-AC9D-4C0F-B2FD-5645A9CA3617}" dt="2026-06-29T11:16:15.745" v="1090"/>
          <ac:cxnSpMkLst>
            <pc:docMk/>
            <pc:sldMk cId="3604952828" sldId="295"/>
            <ac:cxnSpMk id="33" creationId="{30158E79-D2B8-4D2F-829D-58FE9E97A9F0}"/>
          </ac:cxnSpMkLst>
        </pc:cxnChg>
        <pc:cxnChg chg="mod ord">
          <ac:chgData name="Evyan Lyngshing [Chillibreeze]" userId="b5a92789-231b-4933-b5e3-9c4db485d6cf" providerId="ADAL" clId="{3C7A14F0-AC9D-4C0F-B2FD-5645A9CA3617}" dt="2026-06-29T11:16:15.745" v="1092"/>
          <ac:cxnSpMkLst>
            <pc:docMk/>
            <pc:sldMk cId="3604952828" sldId="295"/>
            <ac:cxnSpMk id="34" creationId="{5881BA0E-72A7-A629-6A41-8A5556E5FBDC}"/>
          </ac:cxnSpMkLst>
        </pc:cxnChg>
        <pc:cxnChg chg="del mod ord">
          <ac:chgData name="Evyan Lyngshing [Chillibreeze]" userId="b5a92789-231b-4933-b5e3-9c4db485d6cf" providerId="ADAL" clId="{3C7A14F0-AC9D-4C0F-B2FD-5645A9CA3617}" dt="2026-06-29T11:25:51.172" v="1255" actId="21"/>
          <ac:cxnSpMkLst>
            <pc:docMk/>
            <pc:sldMk cId="3604952828" sldId="295"/>
            <ac:cxnSpMk id="111" creationId="{C47E52DD-E419-F0CD-ADBA-DAEA61D6BC6D}"/>
          </ac:cxnSpMkLst>
        </pc:cxnChg>
      </pc:sldChg>
      <pc:sldChg chg="addSp delSp modSp mod setBg modClrScheme chgLayout">
        <pc:chgData name="Evyan Lyngshing [Chillibreeze]" userId="b5a92789-231b-4933-b5e3-9c4db485d6cf" providerId="ADAL" clId="{3C7A14F0-AC9D-4C0F-B2FD-5645A9CA3617}" dt="2026-06-29T13:43:50.184" v="4433" actId="164"/>
        <pc:sldMkLst>
          <pc:docMk/>
          <pc:sldMk cId="3825189141" sldId="296"/>
        </pc:sldMkLst>
        <pc:spChg chg="mod ord">
          <ac:chgData name="Evyan Lyngshing [Chillibreeze]" userId="b5a92789-231b-4933-b5e3-9c4db485d6cf" providerId="ADAL" clId="{3C7A14F0-AC9D-4C0F-B2FD-5645A9CA3617}" dt="2026-06-29T12:26:23.247" v="3224"/>
          <ac:spMkLst>
            <pc:docMk/>
            <pc:sldMk cId="3825189141" sldId="296"/>
            <ac:spMk id="4" creationId="{B15D0B8F-4376-9D46-9B62-21EEFCE8C7CD}"/>
          </ac:spMkLst>
        </pc:spChg>
        <pc:spChg chg="del mod ord">
          <ac:chgData name="Evyan Lyngshing [Chillibreeze]" userId="b5a92789-231b-4933-b5e3-9c4db485d6cf" providerId="ADAL" clId="{3C7A14F0-AC9D-4C0F-B2FD-5645A9CA3617}" dt="2026-06-29T11:57:50.732" v="2172" actId="478"/>
          <ac:spMkLst>
            <pc:docMk/>
            <pc:sldMk cId="3825189141" sldId="296"/>
            <ac:spMk id="11" creationId="{98E653E3-22EC-D995-FF51-93703DE16477}"/>
          </ac:spMkLst>
        </pc:spChg>
        <pc:spChg chg="del mod ord">
          <ac:chgData name="Evyan Lyngshing [Chillibreeze]" userId="b5a92789-231b-4933-b5e3-9c4db485d6cf" providerId="ADAL" clId="{3C7A14F0-AC9D-4C0F-B2FD-5645A9CA3617}" dt="2026-06-29T11:57:50.732" v="2172" actId="478"/>
          <ac:spMkLst>
            <pc:docMk/>
            <pc:sldMk cId="3825189141" sldId="296"/>
            <ac:spMk id="14" creationId="{2B9FDEEC-FE45-1CD5-B885-2ED991CD3063}"/>
          </ac:spMkLst>
        </pc:spChg>
        <pc:spChg chg="del mod ord">
          <ac:chgData name="Evyan Lyngshing [Chillibreeze]" userId="b5a92789-231b-4933-b5e3-9c4db485d6cf" providerId="ADAL" clId="{3C7A14F0-AC9D-4C0F-B2FD-5645A9CA3617}" dt="2026-06-29T11:57:50.732" v="2172" actId="478"/>
          <ac:spMkLst>
            <pc:docMk/>
            <pc:sldMk cId="3825189141" sldId="296"/>
            <ac:spMk id="26" creationId="{1FE0CBE0-5000-A430-2F52-E9D8A1624A47}"/>
          </ac:spMkLst>
        </pc:spChg>
        <pc:spChg chg="del mod ord">
          <ac:chgData name="Evyan Lyngshing [Chillibreeze]" userId="b5a92789-231b-4933-b5e3-9c4db485d6cf" providerId="ADAL" clId="{3C7A14F0-AC9D-4C0F-B2FD-5645A9CA3617}" dt="2026-06-29T11:57:50.732" v="2172" actId="478"/>
          <ac:spMkLst>
            <pc:docMk/>
            <pc:sldMk cId="3825189141" sldId="296"/>
            <ac:spMk id="27" creationId="{5B7074FC-FE9F-29B6-5511-FCF4D06E4F89}"/>
          </ac:spMkLst>
        </pc:spChg>
        <pc:spChg chg="del mod ord">
          <ac:chgData name="Evyan Lyngshing [Chillibreeze]" userId="b5a92789-231b-4933-b5e3-9c4db485d6cf" providerId="ADAL" clId="{3C7A14F0-AC9D-4C0F-B2FD-5645A9CA3617}" dt="2026-06-29T11:57:50.732" v="2172" actId="478"/>
          <ac:spMkLst>
            <pc:docMk/>
            <pc:sldMk cId="3825189141" sldId="296"/>
            <ac:spMk id="32" creationId="{CFE46BDA-5148-16CD-DF18-8CAFB98482AA}"/>
          </ac:spMkLst>
        </pc:spChg>
        <pc:spChg chg="mod ord">
          <ac:chgData name="Evyan Lyngshing [Chillibreeze]" userId="b5a92789-231b-4933-b5e3-9c4db485d6cf" providerId="ADAL" clId="{3C7A14F0-AC9D-4C0F-B2FD-5645A9CA3617}" dt="2026-06-29T11:56:54.656" v="1957"/>
          <ac:spMkLst>
            <pc:docMk/>
            <pc:sldMk cId="3825189141" sldId="296"/>
            <ac:spMk id="33" creationId="{0278CD79-D28B-9A74-D917-47B6F91000E4}"/>
          </ac:spMkLst>
        </pc:spChg>
        <pc:spChg chg="del mod ord">
          <ac:chgData name="Evyan Lyngshing [Chillibreeze]" userId="b5a92789-231b-4933-b5e3-9c4db485d6cf" providerId="ADAL" clId="{3C7A14F0-AC9D-4C0F-B2FD-5645A9CA3617}" dt="2026-06-29T11:57:50.732" v="2172" actId="478"/>
          <ac:spMkLst>
            <pc:docMk/>
            <pc:sldMk cId="3825189141" sldId="296"/>
            <ac:spMk id="36" creationId="{2AE268F8-FBF6-FF8C-C030-DE61E3D7209F}"/>
          </ac:spMkLst>
        </pc:spChg>
        <pc:spChg chg="mod ord">
          <ac:chgData name="Evyan Lyngshing [Chillibreeze]" userId="b5a92789-231b-4933-b5e3-9c4db485d6cf" providerId="ADAL" clId="{3C7A14F0-AC9D-4C0F-B2FD-5645A9CA3617}" dt="2026-06-29T11:56:54.641" v="1929"/>
          <ac:spMkLst>
            <pc:docMk/>
            <pc:sldMk cId="3825189141" sldId="296"/>
            <ac:spMk id="37" creationId="{44813602-F5BC-C34F-8818-F5AC651A5A25}"/>
          </ac:spMkLst>
        </pc:spChg>
        <pc:spChg chg="mod ord">
          <ac:chgData name="Evyan Lyngshing [Chillibreeze]" userId="b5a92789-231b-4933-b5e3-9c4db485d6cf" providerId="ADAL" clId="{3C7A14F0-AC9D-4C0F-B2FD-5645A9CA3617}" dt="2026-06-29T11:56:54.641" v="1931"/>
          <ac:spMkLst>
            <pc:docMk/>
            <pc:sldMk cId="3825189141" sldId="296"/>
            <ac:spMk id="72" creationId="{0FBA0CA7-AB68-E75E-7601-42B777AD8540}"/>
          </ac:spMkLst>
        </pc:spChg>
        <pc:spChg chg="mod ord">
          <ac:chgData name="Evyan Lyngshing [Chillibreeze]" userId="b5a92789-231b-4933-b5e3-9c4db485d6cf" providerId="ADAL" clId="{3C7A14F0-AC9D-4C0F-B2FD-5645A9CA3617}" dt="2026-06-29T11:56:54.648" v="1933"/>
          <ac:spMkLst>
            <pc:docMk/>
            <pc:sldMk cId="3825189141" sldId="296"/>
            <ac:spMk id="73" creationId="{E5002351-6183-E796-D26E-DBAD36D062C2}"/>
          </ac:spMkLst>
        </pc:spChg>
        <pc:spChg chg="del mod ord">
          <ac:chgData name="Evyan Lyngshing [Chillibreeze]" userId="b5a92789-231b-4933-b5e3-9c4db485d6cf" providerId="ADAL" clId="{3C7A14F0-AC9D-4C0F-B2FD-5645A9CA3617}" dt="2026-06-29T11:57:50.732" v="2172" actId="478"/>
          <ac:spMkLst>
            <pc:docMk/>
            <pc:sldMk cId="3825189141" sldId="296"/>
            <ac:spMk id="76" creationId="{33FDDACE-A007-291F-188E-03BC999A11A5}"/>
          </ac:spMkLst>
        </pc:spChg>
        <pc:spChg chg="del mod ord">
          <ac:chgData name="Evyan Lyngshing [Chillibreeze]" userId="b5a92789-231b-4933-b5e3-9c4db485d6cf" providerId="ADAL" clId="{3C7A14F0-AC9D-4C0F-B2FD-5645A9CA3617}" dt="2026-06-29T11:57:50.732" v="2172" actId="478"/>
          <ac:spMkLst>
            <pc:docMk/>
            <pc:sldMk cId="3825189141" sldId="296"/>
            <ac:spMk id="77" creationId="{38992F53-AC61-0463-5250-A90FB03278C9}"/>
          </ac:spMkLst>
        </pc:spChg>
        <pc:spChg chg="mod ord">
          <ac:chgData name="Evyan Lyngshing [Chillibreeze]" userId="b5a92789-231b-4933-b5e3-9c4db485d6cf" providerId="ADAL" clId="{3C7A14F0-AC9D-4C0F-B2FD-5645A9CA3617}" dt="2026-06-29T11:56:54.658" v="1967"/>
          <ac:spMkLst>
            <pc:docMk/>
            <pc:sldMk cId="3825189141" sldId="296"/>
            <ac:spMk id="86" creationId="{0F9983FF-9119-E7E3-2770-1A5A3E781594}"/>
          </ac:spMkLst>
        </pc:spChg>
        <pc:spChg chg="mod ord">
          <ac:chgData name="Evyan Lyngshing [Chillibreeze]" userId="b5a92789-231b-4933-b5e3-9c4db485d6cf" providerId="ADAL" clId="{3C7A14F0-AC9D-4C0F-B2FD-5645A9CA3617}" dt="2026-06-29T11:56:54.660" v="1969"/>
          <ac:spMkLst>
            <pc:docMk/>
            <pc:sldMk cId="3825189141" sldId="296"/>
            <ac:spMk id="87" creationId="{994F8878-17CB-088E-E676-11A7525C07B0}"/>
          </ac:spMkLst>
        </pc:spChg>
        <pc:spChg chg="del mod ord">
          <ac:chgData name="Evyan Lyngshing [Chillibreeze]" userId="b5a92789-231b-4933-b5e3-9c4db485d6cf" providerId="ADAL" clId="{3C7A14F0-AC9D-4C0F-B2FD-5645A9CA3617}" dt="2026-06-29T11:57:50.732" v="2172" actId="478"/>
          <ac:spMkLst>
            <pc:docMk/>
            <pc:sldMk cId="3825189141" sldId="296"/>
            <ac:spMk id="90" creationId="{1D1F4B17-9D8E-8B0B-F72E-DDD9714603D2}"/>
          </ac:spMkLst>
        </pc:spChg>
        <pc:spChg chg="del mod ord">
          <ac:chgData name="Evyan Lyngshing [Chillibreeze]" userId="b5a92789-231b-4933-b5e3-9c4db485d6cf" providerId="ADAL" clId="{3C7A14F0-AC9D-4C0F-B2FD-5645A9CA3617}" dt="2026-06-29T11:57:50.732" v="2172" actId="478"/>
          <ac:spMkLst>
            <pc:docMk/>
            <pc:sldMk cId="3825189141" sldId="296"/>
            <ac:spMk id="91" creationId="{1FAA8171-5B52-21D7-6306-2FD725034589}"/>
          </ac:spMkLst>
        </pc:spChg>
        <pc:spChg chg="mod ord">
          <ac:chgData name="Evyan Lyngshing [Chillibreeze]" userId="b5a92789-231b-4933-b5e3-9c4db485d6cf" providerId="ADAL" clId="{3C7A14F0-AC9D-4C0F-B2FD-5645A9CA3617}" dt="2026-06-29T11:56:54.648" v="1939"/>
          <ac:spMkLst>
            <pc:docMk/>
            <pc:sldMk cId="3825189141" sldId="296"/>
            <ac:spMk id="100" creationId="{31E0B7C6-7740-9EE8-CF42-598BBD4E3F28}"/>
          </ac:spMkLst>
        </pc:spChg>
        <pc:spChg chg="mod ord">
          <ac:chgData name="Evyan Lyngshing [Chillibreeze]" userId="b5a92789-231b-4933-b5e3-9c4db485d6cf" providerId="ADAL" clId="{3C7A14F0-AC9D-4C0F-B2FD-5645A9CA3617}" dt="2026-06-29T11:56:54.650" v="1941"/>
          <ac:spMkLst>
            <pc:docMk/>
            <pc:sldMk cId="3825189141" sldId="296"/>
            <ac:spMk id="101" creationId="{D8156E95-809C-30FB-1F77-C697EDA2E348}"/>
          </ac:spMkLst>
        </pc:spChg>
        <pc:spChg chg="add del mod">
          <ac:chgData name="Evyan Lyngshing [Chillibreeze]" userId="b5a92789-231b-4933-b5e3-9c4db485d6cf" providerId="ADAL" clId="{3C7A14F0-AC9D-4C0F-B2FD-5645A9CA3617}" dt="2026-06-29T11:56:14.279" v="1837" actId="6264"/>
          <ac:spMkLst>
            <pc:docMk/>
            <pc:sldMk cId="3825189141" sldId="296"/>
            <ac:spMk id="203" creationId="{A9C79781-448C-B251-2577-1D2100AB675F}"/>
          </ac:spMkLst>
        </pc:spChg>
        <pc:spChg chg="mod ord">
          <ac:chgData name="Evyan Lyngshing [Chillibreeze]" userId="b5a92789-231b-4933-b5e3-9c4db485d6cf" providerId="ADAL" clId="{3C7A14F0-AC9D-4C0F-B2FD-5645A9CA3617}" dt="2026-06-29T12:26:23.237" v="3176"/>
          <ac:spMkLst>
            <pc:docMk/>
            <pc:sldMk cId="3825189141" sldId="296"/>
            <ac:spMk id="206" creationId="{C1FA0FF0-0C52-0F46-32B0-3928BA718570}"/>
          </ac:spMkLst>
        </pc:spChg>
        <pc:spChg chg="add del mod ord">
          <ac:chgData name="Evyan Lyngshing [Chillibreeze]" userId="b5a92789-231b-4933-b5e3-9c4db485d6cf" providerId="ADAL" clId="{3C7A14F0-AC9D-4C0F-B2FD-5645A9CA3617}" dt="2026-06-29T12:26:21.098" v="3165" actId="478"/>
          <ac:spMkLst>
            <pc:docMk/>
            <pc:sldMk cId="3825189141" sldId="296"/>
            <ac:spMk id="207" creationId="{3B6BB4E2-4730-D6EA-6254-3FEE3A84A166}"/>
          </ac:spMkLst>
        </pc:spChg>
        <pc:spChg chg="add del mod ord">
          <ac:chgData name="Evyan Lyngshing [Chillibreeze]" userId="b5a92789-231b-4933-b5e3-9c4db485d6cf" providerId="ADAL" clId="{3C7A14F0-AC9D-4C0F-B2FD-5645A9CA3617}" dt="2026-06-29T12:26:21.098" v="3165" actId="478"/>
          <ac:spMkLst>
            <pc:docMk/>
            <pc:sldMk cId="3825189141" sldId="296"/>
            <ac:spMk id="208" creationId="{AF7BFC7A-BBFA-45AD-7CCB-BCC55FA32B50}"/>
          </ac:spMkLst>
        </pc:spChg>
        <pc:spChg chg="add mod ord">
          <ac:chgData name="Evyan Lyngshing [Chillibreeze]" userId="b5a92789-231b-4933-b5e3-9c4db485d6cf" providerId="ADAL" clId="{3C7A14F0-AC9D-4C0F-B2FD-5645A9CA3617}" dt="2026-06-29T12:26:23.237" v="3178"/>
          <ac:spMkLst>
            <pc:docMk/>
            <pc:sldMk cId="3825189141" sldId="296"/>
            <ac:spMk id="209" creationId="{BA40BB4C-5B16-36C2-85E8-73610AD2841C}"/>
          </ac:spMkLst>
        </pc:spChg>
        <pc:spChg chg="mod ord">
          <ac:chgData name="Evyan Lyngshing [Chillibreeze]" userId="b5a92789-231b-4933-b5e3-9c4db485d6cf" providerId="ADAL" clId="{3C7A14F0-AC9D-4C0F-B2FD-5645A9CA3617}" dt="2026-06-29T12:26:23.237" v="3180"/>
          <ac:spMkLst>
            <pc:docMk/>
            <pc:sldMk cId="3825189141" sldId="296"/>
            <ac:spMk id="210" creationId="{F12ACA9A-7CF6-17BF-00AC-91790EA5C9A6}"/>
          </ac:spMkLst>
        </pc:spChg>
        <pc:spChg chg="mod ord">
          <ac:chgData name="Evyan Lyngshing [Chillibreeze]" userId="b5a92789-231b-4933-b5e3-9c4db485d6cf" providerId="ADAL" clId="{3C7A14F0-AC9D-4C0F-B2FD-5645A9CA3617}" dt="2026-06-29T12:26:23.237" v="3182"/>
          <ac:spMkLst>
            <pc:docMk/>
            <pc:sldMk cId="3825189141" sldId="296"/>
            <ac:spMk id="211" creationId="{08B85867-E96A-B1E3-B3CD-9A4717F04000}"/>
          </ac:spMkLst>
        </pc:spChg>
        <pc:spChg chg="mod ord">
          <ac:chgData name="Evyan Lyngshing [Chillibreeze]" userId="b5a92789-231b-4933-b5e3-9c4db485d6cf" providerId="ADAL" clId="{3C7A14F0-AC9D-4C0F-B2FD-5645A9CA3617}" dt="2026-06-29T12:26:23.237" v="3184"/>
          <ac:spMkLst>
            <pc:docMk/>
            <pc:sldMk cId="3825189141" sldId="296"/>
            <ac:spMk id="212" creationId="{B89BF225-D511-7E3A-822C-881BCD88EF90}"/>
          </ac:spMkLst>
        </pc:spChg>
        <pc:spChg chg="mod ord topLvl">
          <ac:chgData name="Evyan Lyngshing [Chillibreeze]" userId="b5a92789-231b-4933-b5e3-9c4db485d6cf" providerId="ADAL" clId="{3C7A14F0-AC9D-4C0F-B2FD-5645A9CA3617}" dt="2026-06-29T13:40:51.328" v="4360" actId="164"/>
          <ac:spMkLst>
            <pc:docMk/>
            <pc:sldMk cId="3825189141" sldId="296"/>
            <ac:spMk id="216" creationId="{142382CF-0C4B-E838-3E77-CC23B20B1256}"/>
          </ac:spMkLst>
        </pc:spChg>
        <pc:spChg chg="mod ord">
          <ac:chgData name="Evyan Lyngshing [Chillibreeze]" userId="b5a92789-231b-4933-b5e3-9c4db485d6cf" providerId="ADAL" clId="{3C7A14F0-AC9D-4C0F-B2FD-5645A9CA3617}" dt="2026-06-29T13:41:35.226" v="4376" actId="164"/>
          <ac:spMkLst>
            <pc:docMk/>
            <pc:sldMk cId="3825189141" sldId="296"/>
            <ac:spMk id="217" creationId="{9B9F85BE-ACAB-FFED-FB2D-D480960C25EE}"/>
          </ac:spMkLst>
        </pc:spChg>
        <pc:spChg chg="add mod ord">
          <ac:chgData name="Evyan Lyngshing [Chillibreeze]" userId="b5a92789-231b-4933-b5e3-9c4db485d6cf" providerId="ADAL" clId="{3C7A14F0-AC9D-4C0F-B2FD-5645A9CA3617}" dt="2026-06-29T13:42:14.125" v="4394" actId="164"/>
          <ac:spMkLst>
            <pc:docMk/>
            <pc:sldMk cId="3825189141" sldId="296"/>
            <ac:spMk id="218" creationId="{6C7F6E3B-63E3-3ED1-F5A8-C6EB575E9193}"/>
          </ac:spMkLst>
        </pc:spChg>
        <pc:spChg chg="add mod ord">
          <ac:chgData name="Evyan Lyngshing [Chillibreeze]" userId="b5a92789-231b-4933-b5e3-9c4db485d6cf" providerId="ADAL" clId="{3C7A14F0-AC9D-4C0F-B2FD-5645A9CA3617}" dt="2026-06-29T13:42:51.595" v="4413" actId="164"/>
          <ac:spMkLst>
            <pc:docMk/>
            <pc:sldMk cId="3825189141" sldId="296"/>
            <ac:spMk id="219" creationId="{E53457FD-8F81-1F48-BCDC-22C6DCBBBB96}"/>
          </ac:spMkLst>
        </pc:spChg>
        <pc:spChg chg="mod ord">
          <ac:chgData name="Evyan Lyngshing [Chillibreeze]" userId="b5a92789-231b-4933-b5e3-9c4db485d6cf" providerId="ADAL" clId="{3C7A14F0-AC9D-4C0F-B2FD-5645A9CA3617}" dt="2026-06-29T12:26:23.247" v="3200"/>
          <ac:spMkLst>
            <pc:docMk/>
            <pc:sldMk cId="3825189141" sldId="296"/>
            <ac:spMk id="220" creationId="{AA4D93BD-55F6-FD17-919E-9101F97B132E}"/>
          </ac:spMkLst>
        </pc:spChg>
        <pc:spChg chg="add mod ord">
          <ac:chgData name="Evyan Lyngshing [Chillibreeze]" userId="b5a92789-231b-4933-b5e3-9c4db485d6cf" providerId="ADAL" clId="{3C7A14F0-AC9D-4C0F-B2FD-5645A9CA3617}" dt="2026-06-29T12:26:23.247" v="3202"/>
          <ac:spMkLst>
            <pc:docMk/>
            <pc:sldMk cId="3825189141" sldId="296"/>
            <ac:spMk id="221" creationId="{94F83F31-143B-D9E7-0AA5-7A426ECBEA59}"/>
          </ac:spMkLst>
        </pc:spChg>
        <pc:spChg chg="mod ord">
          <ac:chgData name="Evyan Lyngshing [Chillibreeze]" userId="b5a92789-231b-4933-b5e3-9c4db485d6cf" providerId="ADAL" clId="{3C7A14F0-AC9D-4C0F-B2FD-5645A9CA3617}" dt="2026-06-29T12:26:23.247" v="3204"/>
          <ac:spMkLst>
            <pc:docMk/>
            <pc:sldMk cId="3825189141" sldId="296"/>
            <ac:spMk id="222" creationId="{8A27E5FA-5645-CBD5-A205-5AADCACBF09F}"/>
          </ac:spMkLst>
        </pc:spChg>
        <pc:spChg chg="add mod ord">
          <ac:chgData name="Evyan Lyngshing [Chillibreeze]" userId="b5a92789-231b-4933-b5e3-9c4db485d6cf" providerId="ADAL" clId="{3C7A14F0-AC9D-4C0F-B2FD-5645A9CA3617}" dt="2026-06-29T12:26:23.247" v="3206"/>
          <ac:spMkLst>
            <pc:docMk/>
            <pc:sldMk cId="3825189141" sldId="296"/>
            <ac:spMk id="223" creationId="{0593580E-4D20-8EF3-E29E-2B5F5E6C37D1}"/>
          </ac:spMkLst>
        </pc:spChg>
        <pc:spChg chg="mod ord">
          <ac:chgData name="Evyan Lyngshing [Chillibreeze]" userId="b5a92789-231b-4933-b5e3-9c4db485d6cf" providerId="ADAL" clId="{3C7A14F0-AC9D-4C0F-B2FD-5645A9CA3617}" dt="2026-06-29T13:37:34.480" v="4296" actId="164"/>
          <ac:spMkLst>
            <pc:docMk/>
            <pc:sldMk cId="3825189141" sldId="296"/>
            <ac:spMk id="224" creationId="{623C8C12-8FEB-A413-4C94-A683F852765F}"/>
          </ac:spMkLst>
        </pc:spChg>
        <pc:spChg chg="add mod ord">
          <ac:chgData name="Evyan Lyngshing [Chillibreeze]" userId="b5a92789-231b-4933-b5e3-9c4db485d6cf" providerId="ADAL" clId="{3C7A14F0-AC9D-4C0F-B2FD-5645A9CA3617}" dt="2026-06-29T13:38:11.928" v="4315" actId="164"/>
          <ac:spMkLst>
            <pc:docMk/>
            <pc:sldMk cId="3825189141" sldId="296"/>
            <ac:spMk id="225" creationId="{831803DE-EC59-FE7B-7A0F-156397B6996B}"/>
          </ac:spMkLst>
        </pc:spChg>
        <pc:spChg chg="mod ord">
          <ac:chgData name="Evyan Lyngshing [Chillibreeze]" userId="b5a92789-231b-4933-b5e3-9c4db485d6cf" providerId="ADAL" clId="{3C7A14F0-AC9D-4C0F-B2FD-5645A9CA3617}" dt="2026-06-29T13:39:07.868" v="4328" actId="164"/>
          <ac:spMkLst>
            <pc:docMk/>
            <pc:sldMk cId="3825189141" sldId="296"/>
            <ac:spMk id="226" creationId="{845190E2-FCD7-2CD4-E31B-62A7493D8657}"/>
          </ac:spMkLst>
        </pc:spChg>
        <pc:spChg chg="add del mod ord">
          <ac:chgData name="Evyan Lyngshing [Chillibreeze]" userId="b5a92789-231b-4933-b5e3-9c4db485d6cf" providerId="ADAL" clId="{3C7A14F0-AC9D-4C0F-B2FD-5645A9CA3617}" dt="2026-06-29T12:09:00.742" v="2254" actId="478"/>
          <ac:spMkLst>
            <pc:docMk/>
            <pc:sldMk cId="3825189141" sldId="296"/>
            <ac:spMk id="227" creationId="{9C9D417A-37FF-2247-4B1B-697D7212BDA2}"/>
          </ac:spMkLst>
        </pc:spChg>
        <pc:spChg chg="add del mod ord">
          <ac:chgData name="Evyan Lyngshing [Chillibreeze]" userId="b5a92789-231b-4933-b5e3-9c4db485d6cf" providerId="ADAL" clId="{3C7A14F0-AC9D-4C0F-B2FD-5645A9CA3617}" dt="2026-06-29T12:09:04.922" v="2256" actId="21"/>
          <ac:spMkLst>
            <pc:docMk/>
            <pc:sldMk cId="3825189141" sldId="296"/>
            <ac:spMk id="228" creationId="{7AEBC933-9BBA-1E44-3E60-291DC5339454}"/>
          </ac:spMkLst>
        </pc:spChg>
        <pc:spChg chg="mod ord">
          <ac:chgData name="Evyan Lyngshing [Chillibreeze]" userId="b5a92789-231b-4933-b5e3-9c4db485d6cf" providerId="ADAL" clId="{3C7A14F0-AC9D-4C0F-B2FD-5645A9CA3617}" dt="2026-06-29T13:39:48.620" v="4342" actId="164"/>
          <ac:spMkLst>
            <pc:docMk/>
            <pc:sldMk cId="3825189141" sldId="296"/>
            <ac:spMk id="233" creationId="{09F323F8-3843-9F77-C09D-55145530EA20}"/>
          </ac:spMkLst>
        </pc:spChg>
        <pc:spChg chg="del mod ord">
          <ac:chgData name="Evyan Lyngshing [Chillibreeze]" userId="b5a92789-231b-4933-b5e3-9c4db485d6cf" providerId="ADAL" clId="{3C7A14F0-AC9D-4C0F-B2FD-5645A9CA3617}" dt="2026-06-29T12:22:11.795" v="2743" actId="21"/>
          <ac:spMkLst>
            <pc:docMk/>
            <pc:sldMk cId="3825189141" sldId="296"/>
            <ac:spMk id="234" creationId="{3331F973-010D-BF10-3836-B69B7C2BF5E4}"/>
          </ac:spMkLst>
        </pc:spChg>
        <pc:spChg chg="add mod ord">
          <ac:chgData name="Evyan Lyngshing [Chillibreeze]" userId="b5a92789-231b-4933-b5e3-9c4db485d6cf" providerId="ADAL" clId="{3C7A14F0-AC9D-4C0F-B2FD-5645A9CA3617}" dt="2026-06-29T12:26:23.247" v="3226"/>
          <ac:spMkLst>
            <pc:docMk/>
            <pc:sldMk cId="3825189141" sldId="296"/>
            <ac:spMk id="235" creationId="{64CF1EFA-2382-FAA9-C9F6-FF7318609F73}"/>
          </ac:spMkLst>
        </pc:spChg>
        <pc:spChg chg="add mod ord">
          <ac:chgData name="Evyan Lyngshing [Chillibreeze]" userId="b5a92789-231b-4933-b5e3-9c4db485d6cf" providerId="ADAL" clId="{3C7A14F0-AC9D-4C0F-B2FD-5645A9CA3617}" dt="2026-06-29T13:43:50.184" v="4433" actId="164"/>
          <ac:spMkLst>
            <pc:docMk/>
            <pc:sldMk cId="3825189141" sldId="296"/>
            <ac:spMk id="237" creationId="{34C504F1-FB58-740A-8869-E7233B8544C5}"/>
          </ac:spMkLst>
        </pc:spChg>
        <pc:spChg chg="add mod ord">
          <ac:chgData name="Evyan Lyngshing [Chillibreeze]" userId="b5a92789-231b-4933-b5e3-9c4db485d6cf" providerId="ADAL" clId="{3C7A14F0-AC9D-4C0F-B2FD-5645A9CA3617}" dt="2026-06-29T12:26:23.229" v="3168"/>
          <ac:spMkLst>
            <pc:docMk/>
            <pc:sldMk cId="3825189141" sldId="296"/>
            <ac:spMk id="240" creationId="{497387FC-9517-FC00-1394-00FE99D37303}"/>
          </ac:spMkLst>
        </pc:spChg>
        <pc:spChg chg="add mod ord">
          <ac:chgData name="Evyan Lyngshing [Chillibreeze]" userId="b5a92789-231b-4933-b5e3-9c4db485d6cf" providerId="ADAL" clId="{3C7A14F0-AC9D-4C0F-B2FD-5645A9CA3617}" dt="2026-06-29T12:26:23.237" v="3170"/>
          <ac:spMkLst>
            <pc:docMk/>
            <pc:sldMk cId="3825189141" sldId="296"/>
            <ac:spMk id="241" creationId="{0A98058D-0A7D-CAD4-839C-82DC4D515984}"/>
          </ac:spMkLst>
        </pc:spChg>
        <pc:spChg chg="mod">
          <ac:chgData name="Evyan Lyngshing [Chillibreeze]" userId="b5a92789-231b-4933-b5e3-9c4db485d6cf" providerId="ADAL" clId="{3C7A14F0-AC9D-4C0F-B2FD-5645A9CA3617}" dt="2026-06-29T13:37:34.480" v="4296" actId="164"/>
          <ac:spMkLst>
            <pc:docMk/>
            <pc:sldMk cId="3825189141" sldId="296"/>
            <ac:spMk id="244" creationId="{91426786-FEDF-1EEF-1053-0B6BB0B9D097}"/>
          </ac:spMkLst>
        </pc:spChg>
        <pc:spChg chg="mod">
          <ac:chgData name="Evyan Lyngshing [Chillibreeze]" userId="b5a92789-231b-4933-b5e3-9c4db485d6cf" providerId="ADAL" clId="{3C7A14F0-AC9D-4C0F-B2FD-5645A9CA3617}" dt="2026-06-29T13:37:56.675" v="4305" actId="207"/>
          <ac:spMkLst>
            <pc:docMk/>
            <pc:sldMk cId="3825189141" sldId="296"/>
            <ac:spMk id="249" creationId="{B225795B-ECEB-E28C-D4FF-518BBFEE8BB1}"/>
          </ac:spMkLst>
        </pc:spChg>
        <pc:spChg chg="mod">
          <ac:chgData name="Evyan Lyngshing [Chillibreeze]" userId="b5a92789-231b-4933-b5e3-9c4db485d6cf" providerId="ADAL" clId="{3C7A14F0-AC9D-4C0F-B2FD-5645A9CA3617}" dt="2026-06-29T13:37:56.675" v="4305" actId="207"/>
          <ac:spMkLst>
            <pc:docMk/>
            <pc:sldMk cId="3825189141" sldId="296"/>
            <ac:spMk id="250" creationId="{EFC611AA-3CA6-79B3-63BA-A21C9D820F1E}"/>
          </ac:spMkLst>
        </pc:spChg>
        <pc:spChg chg="mod">
          <ac:chgData name="Evyan Lyngshing [Chillibreeze]" userId="b5a92789-231b-4933-b5e3-9c4db485d6cf" providerId="ADAL" clId="{3C7A14F0-AC9D-4C0F-B2FD-5645A9CA3617}" dt="2026-06-29T13:37:56.675" v="4305" actId="207"/>
          <ac:spMkLst>
            <pc:docMk/>
            <pc:sldMk cId="3825189141" sldId="296"/>
            <ac:spMk id="251" creationId="{B45F89E0-D1B3-B85B-C388-5A04DCA96386}"/>
          </ac:spMkLst>
        </pc:spChg>
        <pc:spChg chg="mod">
          <ac:chgData name="Evyan Lyngshing [Chillibreeze]" userId="b5a92789-231b-4933-b5e3-9c4db485d6cf" providerId="ADAL" clId="{3C7A14F0-AC9D-4C0F-B2FD-5645A9CA3617}" dt="2026-06-29T13:38:46.196" v="4325" actId="207"/>
          <ac:spMkLst>
            <pc:docMk/>
            <pc:sldMk cId="3825189141" sldId="296"/>
            <ac:spMk id="256" creationId="{8DA7E906-4BD8-9A56-A92A-89CF4CEFAD67}"/>
          </ac:spMkLst>
        </pc:spChg>
        <pc:spChg chg="mod">
          <ac:chgData name="Evyan Lyngshing [Chillibreeze]" userId="b5a92789-231b-4933-b5e3-9c4db485d6cf" providerId="ADAL" clId="{3C7A14F0-AC9D-4C0F-B2FD-5645A9CA3617}" dt="2026-06-29T13:38:46.196" v="4325" actId="207"/>
          <ac:spMkLst>
            <pc:docMk/>
            <pc:sldMk cId="3825189141" sldId="296"/>
            <ac:spMk id="257" creationId="{B0818BC3-5F12-6C9F-0412-F87F7921E0E4}"/>
          </ac:spMkLst>
        </pc:spChg>
        <pc:spChg chg="mod">
          <ac:chgData name="Evyan Lyngshing [Chillibreeze]" userId="b5a92789-231b-4933-b5e3-9c4db485d6cf" providerId="ADAL" clId="{3C7A14F0-AC9D-4C0F-B2FD-5645A9CA3617}" dt="2026-06-29T13:38:46.196" v="4325" actId="207"/>
          <ac:spMkLst>
            <pc:docMk/>
            <pc:sldMk cId="3825189141" sldId="296"/>
            <ac:spMk id="258" creationId="{1E514D71-BE44-844A-AD15-C4D1B883141A}"/>
          </ac:spMkLst>
        </pc:spChg>
        <pc:spChg chg="mod">
          <ac:chgData name="Evyan Lyngshing [Chillibreeze]" userId="b5a92789-231b-4933-b5e3-9c4db485d6cf" providerId="ADAL" clId="{3C7A14F0-AC9D-4C0F-B2FD-5645A9CA3617}" dt="2026-06-29T13:39:40.874" v="4336" actId="207"/>
          <ac:spMkLst>
            <pc:docMk/>
            <pc:sldMk cId="3825189141" sldId="296"/>
            <ac:spMk id="264" creationId="{1B949853-318B-D830-8763-8EB40B196BDA}"/>
          </ac:spMkLst>
        </pc:spChg>
        <pc:spChg chg="mod">
          <ac:chgData name="Evyan Lyngshing [Chillibreeze]" userId="b5a92789-231b-4933-b5e3-9c4db485d6cf" providerId="ADAL" clId="{3C7A14F0-AC9D-4C0F-B2FD-5645A9CA3617}" dt="2026-06-29T13:39:40.874" v="4336" actId="207"/>
          <ac:spMkLst>
            <pc:docMk/>
            <pc:sldMk cId="3825189141" sldId="296"/>
            <ac:spMk id="265" creationId="{83D20F37-7301-C65B-44E4-26E3FBB7F382}"/>
          </ac:spMkLst>
        </pc:spChg>
        <pc:spChg chg="mod">
          <ac:chgData name="Evyan Lyngshing [Chillibreeze]" userId="b5a92789-231b-4933-b5e3-9c4db485d6cf" providerId="ADAL" clId="{3C7A14F0-AC9D-4C0F-B2FD-5645A9CA3617}" dt="2026-06-29T13:40:46.925" v="4358" actId="165"/>
          <ac:spMkLst>
            <pc:docMk/>
            <pc:sldMk cId="3825189141" sldId="296"/>
            <ac:spMk id="271" creationId="{12A48806-4E20-8368-5F81-9E325192E623}"/>
          </ac:spMkLst>
        </pc:spChg>
        <pc:spChg chg="mod">
          <ac:chgData name="Evyan Lyngshing [Chillibreeze]" userId="b5a92789-231b-4933-b5e3-9c4db485d6cf" providerId="ADAL" clId="{3C7A14F0-AC9D-4C0F-B2FD-5645A9CA3617}" dt="2026-06-29T13:40:46.925" v="4358" actId="165"/>
          <ac:spMkLst>
            <pc:docMk/>
            <pc:sldMk cId="3825189141" sldId="296"/>
            <ac:spMk id="272" creationId="{0F9C2C43-0A71-2C96-010F-E89F267745E5}"/>
          </ac:spMkLst>
        </pc:spChg>
        <pc:spChg chg="mod">
          <ac:chgData name="Evyan Lyngshing [Chillibreeze]" userId="b5a92789-231b-4933-b5e3-9c4db485d6cf" providerId="ADAL" clId="{3C7A14F0-AC9D-4C0F-B2FD-5645A9CA3617}" dt="2026-06-29T13:41:31.944" v="4373" actId="207"/>
          <ac:spMkLst>
            <pc:docMk/>
            <pc:sldMk cId="3825189141" sldId="296"/>
            <ac:spMk id="278" creationId="{0AEFFD1D-C6F4-A587-F813-982439155930}"/>
          </ac:spMkLst>
        </pc:spChg>
        <pc:spChg chg="mod">
          <ac:chgData name="Evyan Lyngshing [Chillibreeze]" userId="b5a92789-231b-4933-b5e3-9c4db485d6cf" providerId="ADAL" clId="{3C7A14F0-AC9D-4C0F-B2FD-5645A9CA3617}" dt="2026-06-29T13:41:31.944" v="4373" actId="207"/>
          <ac:spMkLst>
            <pc:docMk/>
            <pc:sldMk cId="3825189141" sldId="296"/>
            <ac:spMk id="279" creationId="{70363EAB-3E8D-B9E7-E4BA-E5C79ECBA1F8}"/>
          </ac:spMkLst>
        </pc:spChg>
        <pc:spChg chg="mod">
          <ac:chgData name="Evyan Lyngshing [Chillibreeze]" userId="b5a92789-231b-4933-b5e3-9c4db485d6cf" providerId="ADAL" clId="{3C7A14F0-AC9D-4C0F-B2FD-5645A9CA3617}" dt="2026-06-29T13:41:31.944" v="4373" actId="207"/>
          <ac:spMkLst>
            <pc:docMk/>
            <pc:sldMk cId="3825189141" sldId="296"/>
            <ac:spMk id="280" creationId="{964D66EC-BD26-D10E-FFF5-7FD1B038514E}"/>
          </ac:spMkLst>
        </pc:spChg>
        <pc:spChg chg="mod">
          <ac:chgData name="Evyan Lyngshing [Chillibreeze]" userId="b5a92789-231b-4933-b5e3-9c4db485d6cf" providerId="ADAL" clId="{3C7A14F0-AC9D-4C0F-B2FD-5645A9CA3617}" dt="2026-06-29T13:41:31.944" v="4373" actId="207"/>
          <ac:spMkLst>
            <pc:docMk/>
            <pc:sldMk cId="3825189141" sldId="296"/>
            <ac:spMk id="281" creationId="{9656B1EC-20AE-A99D-C2E7-A509900EA3BA}"/>
          </ac:spMkLst>
        </pc:spChg>
        <pc:spChg chg="mod">
          <ac:chgData name="Evyan Lyngshing [Chillibreeze]" userId="b5a92789-231b-4933-b5e3-9c4db485d6cf" providerId="ADAL" clId="{3C7A14F0-AC9D-4C0F-B2FD-5645A9CA3617}" dt="2026-06-29T13:41:31.944" v="4373" actId="207"/>
          <ac:spMkLst>
            <pc:docMk/>
            <pc:sldMk cId="3825189141" sldId="296"/>
            <ac:spMk id="282" creationId="{1BD0293F-195B-79C2-6F2F-0B32E7B7E258}"/>
          </ac:spMkLst>
        </pc:spChg>
        <pc:spChg chg="mod">
          <ac:chgData name="Evyan Lyngshing [Chillibreeze]" userId="b5a92789-231b-4933-b5e3-9c4db485d6cf" providerId="ADAL" clId="{3C7A14F0-AC9D-4C0F-B2FD-5645A9CA3617}" dt="2026-06-29T13:42:11.082" v="4390" actId="207"/>
          <ac:spMkLst>
            <pc:docMk/>
            <pc:sldMk cId="3825189141" sldId="296"/>
            <ac:spMk id="287" creationId="{6404642E-054C-C2B9-A2CB-C19A0E16F534}"/>
          </ac:spMkLst>
        </pc:spChg>
        <pc:spChg chg="mod">
          <ac:chgData name="Evyan Lyngshing [Chillibreeze]" userId="b5a92789-231b-4933-b5e3-9c4db485d6cf" providerId="ADAL" clId="{3C7A14F0-AC9D-4C0F-B2FD-5645A9CA3617}" dt="2026-06-29T13:42:11.082" v="4390" actId="207"/>
          <ac:spMkLst>
            <pc:docMk/>
            <pc:sldMk cId="3825189141" sldId="296"/>
            <ac:spMk id="288" creationId="{639AF090-FE68-36CB-D0A5-5642FE2F8A2A}"/>
          </ac:spMkLst>
        </pc:spChg>
        <pc:spChg chg="mod">
          <ac:chgData name="Evyan Lyngshing [Chillibreeze]" userId="b5a92789-231b-4933-b5e3-9c4db485d6cf" providerId="ADAL" clId="{3C7A14F0-AC9D-4C0F-B2FD-5645A9CA3617}" dt="2026-06-29T13:42:11.082" v="4390" actId="207"/>
          <ac:spMkLst>
            <pc:docMk/>
            <pc:sldMk cId="3825189141" sldId="296"/>
            <ac:spMk id="289" creationId="{5158A4E9-A4D0-53AF-431D-1AFA641733D3}"/>
          </ac:spMkLst>
        </pc:spChg>
        <pc:spChg chg="mod">
          <ac:chgData name="Evyan Lyngshing [Chillibreeze]" userId="b5a92789-231b-4933-b5e3-9c4db485d6cf" providerId="ADAL" clId="{3C7A14F0-AC9D-4C0F-B2FD-5645A9CA3617}" dt="2026-06-29T13:42:11.082" v="4390" actId="207"/>
          <ac:spMkLst>
            <pc:docMk/>
            <pc:sldMk cId="3825189141" sldId="296"/>
            <ac:spMk id="290" creationId="{8F6E47FE-D5CF-789F-BC62-D612C48B8D65}"/>
          </ac:spMkLst>
        </pc:spChg>
        <pc:spChg chg="mod">
          <ac:chgData name="Evyan Lyngshing [Chillibreeze]" userId="b5a92789-231b-4933-b5e3-9c4db485d6cf" providerId="ADAL" clId="{3C7A14F0-AC9D-4C0F-B2FD-5645A9CA3617}" dt="2026-06-29T13:42:11.082" v="4390" actId="207"/>
          <ac:spMkLst>
            <pc:docMk/>
            <pc:sldMk cId="3825189141" sldId="296"/>
            <ac:spMk id="291" creationId="{C18B51D4-70D5-5EBC-F9B4-5B9E93664242}"/>
          </ac:spMkLst>
        </pc:spChg>
        <pc:spChg chg="mod">
          <ac:chgData name="Evyan Lyngshing [Chillibreeze]" userId="b5a92789-231b-4933-b5e3-9c4db485d6cf" providerId="ADAL" clId="{3C7A14F0-AC9D-4C0F-B2FD-5645A9CA3617}" dt="2026-06-29T13:42:11.082" v="4390" actId="207"/>
          <ac:spMkLst>
            <pc:docMk/>
            <pc:sldMk cId="3825189141" sldId="296"/>
            <ac:spMk id="292" creationId="{B426B269-C79A-5F13-493A-D331AEF7BD93}"/>
          </ac:spMkLst>
        </pc:spChg>
        <pc:spChg chg="mod">
          <ac:chgData name="Evyan Lyngshing [Chillibreeze]" userId="b5a92789-231b-4933-b5e3-9c4db485d6cf" providerId="ADAL" clId="{3C7A14F0-AC9D-4C0F-B2FD-5645A9CA3617}" dt="2026-06-29T13:42:42.051" v="4406" actId="207"/>
          <ac:spMkLst>
            <pc:docMk/>
            <pc:sldMk cId="3825189141" sldId="296"/>
            <ac:spMk id="297" creationId="{FEA398D9-3CAE-0A74-EE8C-2EB2565B25D6}"/>
          </ac:spMkLst>
        </pc:spChg>
        <pc:spChg chg="mod">
          <ac:chgData name="Evyan Lyngshing [Chillibreeze]" userId="b5a92789-231b-4933-b5e3-9c4db485d6cf" providerId="ADAL" clId="{3C7A14F0-AC9D-4C0F-B2FD-5645A9CA3617}" dt="2026-06-29T13:42:42.051" v="4406" actId="207"/>
          <ac:spMkLst>
            <pc:docMk/>
            <pc:sldMk cId="3825189141" sldId="296"/>
            <ac:spMk id="298" creationId="{DFBB97C7-50C9-A234-BFED-5717DD36F0AB}"/>
          </ac:spMkLst>
        </pc:spChg>
        <pc:spChg chg="mod">
          <ac:chgData name="Evyan Lyngshing [Chillibreeze]" userId="b5a92789-231b-4933-b5e3-9c4db485d6cf" providerId="ADAL" clId="{3C7A14F0-AC9D-4C0F-B2FD-5645A9CA3617}" dt="2026-06-29T13:42:42.051" v="4406" actId="207"/>
          <ac:spMkLst>
            <pc:docMk/>
            <pc:sldMk cId="3825189141" sldId="296"/>
            <ac:spMk id="299" creationId="{E3F44998-1BDA-B550-0CDD-BFDE81173C30}"/>
          </ac:spMkLst>
        </pc:spChg>
        <pc:spChg chg="mod">
          <ac:chgData name="Evyan Lyngshing [Chillibreeze]" userId="b5a92789-231b-4933-b5e3-9c4db485d6cf" providerId="ADAL" clId="{3C7A14F0-AC9D-4C0F-B2FD-5645A9CA3617}" dt="2026-06-29T13:42:42.051" v="4406" actId="207"/>
          <ac:spMkLst>
            <pc:docMk/>
            <pc:sldMk cId="3825189141" sldId="296"/>
            <ac:spMk id="300" creationId="{89664C64-3757-8A62-4C20-67E5CD7F8D61}"/>
          </ac:spMkLst>
        </pc:spChg>
        <pc:spChg chg="mod">
          <ac:chgData name="Evyan Lyngshing [Chillibreeze]" userId="b5a92789-231b-4933-b5e3-9c4db485d6cf" providerId="ADAL" clId="{3C7A14F0-AC9D-4C0F-B2FD-5645A9CA3617}" dt="2026-06-29T13:42:42.051" v="4406" actId="207"/>
          <ac:spMkLst>
            <pc:docMk/>
            <pc:sldMk cId="3825189141" sldId="296"/>
            <ac:spMk id="301" creationId="{BB711D72-92EC-FAAD-5B5C-8B92E2FCA54C}"/>
          </ac:spMkLst>
        </pc:spChg>
        <pc:spChg chg="mod">
          <ac:chgData name="Evyan Lyngshing [Chillibreeze]" userId="b5a92789-231b-4933-b5e3-9c4db485d6cf" providerId="ADAL" clId="{3C7A14F0-AC9D-4C0F-B2FD-5645A9CA3617}" dt="2026-06-29T13:42:42.051" v="4406" actId="207"/>
          <ac:spMkLst>
            <pc:docMk/>
            <pc:sldMk cId="3825189141" sldId="296"/>
            <ac:spMk id="302" creationId="{F6BB3BCC-88DE-7E27-CE65-4A9823F02B20}"/>
          </ac:spMkLst>
        </pc:spChg>
        <pc:spChg chg="mod">
          <ac:chgData name="Evyan Lyngshing [Chillibreeze]" userId="b5a92789-231b-4933-b5e3-9c4db485d6cf" providerId="ADAL" clId="{3C7A14F0-AC9D-4C0F-B2FD-5645A9CA3617}" dt="2026-06-29T13:43:44.605" v="4428" actId="207"/>
          <ac:spMkLst>
            <pc:docMk/>
            <pc:sldMk cId="3825189141" sldId="296"/>
            <ac:spMk id="307" creationId="{494A64BC-DE08-7CB1-72A0-F005DD8EC0AF}"/>
          </ac:spMkLst>
        </pc:spChg>
        <pc:spChg chg="mod">
          <ac:chgData name="Evyan Lyngshing [Chillibreeze]" userId="b5a92789-231b-4933-b5e3-9c4db485d6cf" providerId="ADAL" clId="{3C7A14F0-AC9D-4C0F-B2FD-5645A9CA3617}" dt="2026-06-29T13:43:44.605" v="4428" actId="207"/>
          <ac:spMkLst>
            <pc:docMk/>
            <pc:sldMk cId="3825189141" sldId="296"/>
            <ac:spMk id="308" creationId="{B3433EFE-B111-5DE0-B9DE-0626C03D8E16}"/>
          </ac:spMkLst>
        </pc:spChg>
        <pc:spChg chg="mod">
          <ac:chgData name="Evyan Lyngshing [Chillibreeze]" userId="b5a92789-231b-4933-b5e3-9c4db485d6cf" providerId="ADAL" clId="{3C7A14F0-AC9D-4C0F-B2FD-5645A9CA3617}" dt="2026-06-29T13:43:44.605" v="4428" actId="207"/>
          <ac:spMkLst>
            <pc:docMk/>
            <pc:sldMk cId="3825189141" sldId="296"/>
            <ac:spMk id="309" creationId="{BC7012CB-6E72-ADE8-53FB-6F8DC9A9995E}"/>
          </ac:spMkLst>
        </pc:spChg>
        <pc:spChg chg="mod">
          <ac:chgData name="Evyan Lyngshing [Chillibreeze]" userId="b5a92789-231b-4933-b5e3-9c4db485d6cf" providerId="ADAL" clId="{3C7A14F0-AC9D-4C0F-B2FD-5645A9CA3617}" dt="2026-06-29T13:43:44.605" v="4428" actId="207"/>
          <ac:spMkLst>
            <pc:docMk/>
            <pc:sldMk cId="3825189141" sldId="296"/>
            <ac:spMk id="310" creationId="{41E26E20-47F8-B7EA-E5AF-3D93FB125185}"/>
          </ac:spMkLst>
        </pc:spChg>
        <pc:spChg chg="mod">
          <ac:chgData name="Evyan Lyngshing [Chillibreeze]" userId="b5a92789-231b-4933-b5e3-9c4db485d6cf" providerId="ADAL" clId="{3C7A14F0-AC9D-4C0F-B2FD-5645A9CA3617}" dt="2026-06-29T13:43:44.605" v="4428" actId="207"/>
          <ac:spMkLst>
            <pc:docMk/>
            <pc:sldMk cId="3825189141" sldId="296"/>
            <ac:spMk id="311" creationId="{EE454CAE-0BE1-8762-F35D-8F2841EC12A6}"/>
          </ac:spMkLst>
        </pc:spChg>
        <pc:spChg chg="mod">
          <ac:chgData name="Evyan Lyngshing [Chillibreeze]" userId="b5a92789-231b-4933-b5e3-9c4db485d6cf" providerId="ADAL" clId="{3C7A14F0-AC9D-4C0F-B2FD-5645A9CA3617}" dt="2026-06-29T13:43:44.605" v="4428" actId="207"/>
          <ac:spMkLst>
            <pc:docMk/>
            <pc:sldMk cId="3825189141" sldId="296"/>
            <ac:spMk id="312" creationId="{4832DAC3-643F-F8DE-19D2-D0F33913B643}"/>
          </ac:spMkLst>
        </pc:spChg>
        <pc:spChg chg="mod">
          <ac:chgData name="Evyan Lyngshing [Chillibreeze]" userId="b5a92789-231b-4933-b5e3-9c4db485d6cf" providerId="ADAL" clId="{3C7A14F0-AC9D-4C0F-B2FD-5645A9CA3617}" dt="2026-06-29T13:43:44.605" v="4428" actId="207"/>
          <ac:spMkLst>
            <pc:docMk/>
            <pc:sldMk cId="3825189141" sldId="296"/>
            <ac:spMk id="313" creationId="{64B6E349-573F-5713-0126-831EB93B46B9}"/>
          </ac:spMkLst>
        </pc:spChg>
        <pc:spChg chg="mod">
          <ac:chgData name="Evyan Lyngshing [Chillibreeze]" userId="b5a92789-231b-4933-b5e3-9c4db485d6cf" providerId="ADAL" clId="{3C7A14F0-AC9D-4C0F-B2FD-5645A9CA3617}" dt="2026-06-29T13:43:44.605" v="4428" actId="207"/>
          <ac:spMkLst>
            <pc:docMk/>
            <pc:sldMk cId="3825189141" sldId="296"/>
            <ac:spMk id="314" creationId="{B3D1A597-3359-A4EC-7F85-43F1061F8595}"/>
          </ac:spMkLst>
        </pc:spChg>
        <pc:spChg chg="mod">
          <ac:chgData name="Evyan Lyngshing [Chillibreeze]" userId="b5a92789-231b-4933-b5e3-9c4db485d6cf" providerId="ADAL" clId="{3C7A14F0-AC9D-4C0F-B2FD-5645A9CA3617}" dt="2026-06-29T13:43:44.605" v="4428" actId="207"/>
          <ac:spMkLst>
            <pc:docMk/>
            <pc:sldMk cId="3825189141" sldId="296"/>
            <ac:spMk id="315" creationId="{1E7BEF3E-3E51-EF9A-110B-0E1BE3AC754D}"/>
          </ac:spMkLst>
        </pc:spChg>
        <pc:spChg chg="mod">
          <ac:chgData name="Evyan Lyngshing [Chillibreeze]" userId="b5a92789-231b-4933-b5e3-9c4db485d6cf" providerId="ADAL" clId="{3C7A14F0-AC9D-4C0F-B2FD-5645A9CA3617}" dt="2026-06-29T13:43:44.605" v="4428" actId="207"/>
          <ac:spMkLst>
            <pc:docMk/>
            <pc:sldMk cId="3825189141" sldId="296"/>
            <ac:spMk id="316" creationId="{3F0EC016-9C3B-9CE7-B9A5-5069FF468FC1}"/>
          </ac:spMkLst>
        </pc:spChg>
        <pc:grpChg chg="mod ord">
          <ac:chgData name="Evyan Lyngshing [Chillibreeze]" userId="b5a92789-231b-4933-b5e3-9c4db485d6cf" providerId="ADAL" clId="{3C7A14F0-AC9D-4C0F-B2FD-5645A9CA3617}" dt="2026-06-29T11:56:54.641" v="1909"/>
          <ac:grpSpMkLst>
            <pc:docMk/>
            <pc:sldMk cId="3825189141" sldId="296"/>
            <ac:grpSpMk id="2" creationId="{82C75E01-D2AB-2D31-6D01-FDAC2B8C9AEB}"/>
          </ac:grpSpMkLst>
        </pc:grpChg>
        <pc:grpChg chg="mod ord">
          <ac:chgData name="Evyan Lyngshing [Chillibreeze]" userId="b5a92789-231b-4933-b5e3-9c4db485d6cf" providerId="ADAL" clId="{3C7A14F0-AC9D-4C0F-B2FD-5645A9CA3617}" dt="2026-06-29T11:56:54.656" v="1953"/>
          <ac:grpSpMkLst>
            <pc:docMk/>
            <pc:sldMk cId="3825189141" sldId="296"/>
            <ac:grpSpMk id="19" creationId="{9569C30C-E4D9-2579-3A97-55B34F66330B}"/>
          </ac:grpSpMkLst>
        </pc:grpChg>
        <pc:grpChg chg="mod ord">
          <ac:chgData name="Evyan Lyngshing [Chillibreeze]" userId="b5a92789-231b-4933-b5e3-9c4db485d6cf" providerId="ADAL" clId="{3C7A14F0-AC9D-4C0F-B2FD-5645A9CA3617}" dt="2026-06-29T11:56:54.658" v="1961"/>
          <ac:grpSpMkLst>
            <pc:docMk/>
            <pc:sldMk cId="3825189141" sldId="296"/>
            <ac:grpSpMk id="35" creationId="{C16A0C38-FDEA-48D8-86C4-CFB42C9E278C}"/>
          </ac:grpSpMkLst>
        </pc:grpChg>
        <pc:grpChg chg="mod ord">
          <ac:chgData name="Evyan Lyngshing [Chillibreeze]" userId="b5a92789-231b-4933-b5e3-9c4db485d6cf" providerId="ADAL" clId="{3C7A14F0-AC9D-4C0F-B2FD-5645A9CA3617}" dt="2026-06-29T11:56:54.641" v="1907"/>
          <ac:grpSpMkLst>
            <pc:docMk/>
            <pc:sldMk cId="3825189141" sldId="296"/>
            <ac:grpSpMk id="44" creationId="{48518C2A-25B2-6CE7-971F-282BAE436BE7}"/>
          </ac:grpSpMkLst>
        </pc:grpChg>
        <pc:grpChg chg="mod ord">
          <ac:chgData name="Evyan Lyngshing [Chillibreeze]" userId="b5a92789-231b-4933-b5e3-9c4db485d6cf" providerId="ADAL" clId="{3C7A14F0-AC9D-4C0F-B2FD-5645A9CA3617}" dt="2026-06-29T11:56:54.640" v="1905"/>
          <ac:grpSpMkLst>
            <pc:docMk/>
            <pc:sldMk cId="3825189141" sldId="296"/>
            <ac:grpSpMk id="55" creationId="{2748C4D7-BD0E-D103-4F1B-DDEF50EED133}"/>
          </ac:grpSpMkLst>
        </pc:grpChg>
        <pc:grpChg chg="mod ord">
          <ac:chgData name="Evyan Lyngshing [Chillibreeze]" userId="b5a92789-231b-4933-b5e3-9c4db485d6cf" providerId="ADAL" clId="{3C7A14F0-AC9D-4C0F-B2FD-5645A9CA3617}" dt="2026-06-29T11:56:54.650" v="1943"/>
          <ac:grpSpMkLst>
            <pc:docMk/>
            <pc:sldMk cId="3825189141" sldId="296"/>
            <ac:grpSpMk id="66" creationId="{156F21D3-04B5-B874-AD4E-1AC12AC7F837}"/>
          </ac:grpSpMkLst>
        </pc:grpChg>
        <pc:grpChg chg="mod ord">
          <ac:chgData name="Evyan Lyngshing [Chillibreeze]" userId="b5a92789-231b-4933-b5e3-9c4db485d6cf" providerId="ADAL" clId="{3C7A14F0-AC9D-4C0F-B2FD-5645A9CA3617}" dt="2026-06-29T11:56:54.652" v="1945"/>
          <ac:grpSpMkLst>
            <pc:docMk/>
            <pc:sldMk cId="3825189141" sldId="296"/>
            <ac:grpSpMk id="85" creationId="{5913A9C1-8D94-2DF8-7EA9-92DDAF5F0456}"/>
          </ac:grpSpMkLst>
        </pc:grpChg>
        <pc:grpChg chg="mod ord">
          <ac:chgData name="Evyan Lyngshing [Chillibreeze]" userId="b5a92789-231b-4933-b5e3-9c4db485d6cf" providerId="ADAL" clId="{3C7A14F0-AC9D-4C0F-B2FD-5645A9CA3617}" dt="2026-06-29T11:56:54.660" v="1971"/>
          <ac:grpSpMkLst>
            <pc:docMk/>
            <pc:sldMk cId="3825189141" sldId="296"/>
            <ac:grpSpMk id="88" creationId="{02F1A1A0-D366-8233-436C-5DE946486AC3}"/>
          </ac:grpSpMkLst>
        </pc:grpChg>
        <pc:grpChg chg="mod ord">
          <ac:chgData name="Evyan Lyngshing [Chillibreeze]" userId="b5a92789-231b-4933-b5e3-9c4db485d6cf" providerId="ADAL" clId="{3C7A14F0-AC9D-4C0F-B2FD-5645A9CA3617}" dt="2026-06-29T11:56:54.660" v="1975"/>
          <ac:grpSpMkLst>
            <pc:docMk/>
            <pc:sldMk cId="3825189141" sldId="296"/>
            <ac:grpSpMk id="104" creationId="{412A7580-F9A1-D97B-F449-2E6416CA58D5}"/>
          </ac:grpSpMkLst>
        </pc:grpChg>
        <pc:grpChg chg="mod ord">
          <ac:chgData name="Evyan Lyngshing [Chillibreeze]" userId="b5a92789-231b-4933-b5e3-9c4db485d6cf" providerId="ADAL" clId="{3C7A14F0-AC9D-4C0F-B2FD-5645A9CA3617}" dt="2026-06-29T11:56:54.652" v="1947"/>
          <ac:grpSpMkLst>
            <pc:docMk/>
            <pc:sldMk cId="3825189141" sldId="296"/>
            <ac:grpSpMk id="121" creationId="{A23433BE-0D22-7646-DA38-7384EBAC1B0F}"/>
          </ac:grpSpMkLst>
        </pc:grpChg>
        <pc:grpChg chg="add mod">
          <ac:chgData name="Evyan Lyngshing [Chillibreeze]" userId="b5a92789-231b-4933-b5e3-9c4db485d6cf" providerId="ADAL" clId="{3C7A14F0-AC9D-4C0F-B2FD-5645A9CA3617}" dt="2026-06-29T13:37:34.480" v="4296" actId="164"/>
          <ac:grpSpMkLst>
            <pc:docMk/>
            <pc:sldMk cId="3825189141" sldId="296"/>
            <ac:grpSpMk id="245" creationId="{BDD6F39A-72EE-4C4F-BC6D-C5B8F6A79CA9}"/>
          </ac:grpSpMkLst>
        </pc:grpChg>
        <pc:grpChg chg="mod">
          <ac:chgData name="Evyan Lyngshing [Chillibreeze]" userId="b5a92789-231b-4933-b5e3-9c4db485d6cf" providerId="ADAL" clId="{3C7A14F0-AC9D-4C0F-B2FD-5645A9CA3617}" dt="2026-06-29T13:38:11.928" v="4315" actId="164"/>
          <ac:grpSpMkLst>
            <pc:docMk/>
            <pc:sldMk cId="3825189141" sldId="296"/>
            <ac:grpSpMk id="248" creationId="{FBB35890-442B-9A94-1828-BEDB6C657686}"/>
          </ac:grpSpMkLst>
        </pc:grpChg>
        <pc:grpChg chg="add mod">
          <ac:chgData name="Evyan Lyngshing [Chillibreeze]" userId="b5a92789-231b-4933-b5e3-9c4db485d6cf" providerId="ADAL" clId="{3C7A14F0-AC9D-4C0F-B2FD-5645A9CA3617}" dt="2026-06-29T13:38:11.928" v="4315" actId="164"/>
          <ac:grpSpMkLst>
            <pc:docMk/>
            <pc:sldMk cId="3825189141" sldId="296"/>
            <ac:grpSpMk id="252" creationId="{85CEA3FE-408C-16B1-615E-03B10311B7AA}"/>
          </ac:grpSpMkLst>
        </pc:grpChg>
        <pc:grpChg chg="del mod">
          <ac:chgData name="Evyan Lyngshing [Chillibreeze]" userId="b5a92789-231b-4933-b5e3-9c4db485d6cf" providerId="ADAL" clId="{3C7A14F0-AC9D-4C0F-B2FD-5645A9CA3617}" dt="2026-06-29T13:38:39.239" v="4318" actId="27803"/>
          <ac:grpSpMkLst>
            <pc:docMk/>
            <pc:sldMk cId="3825189141" sldId="296"/>
            <ac:grpSpMk id="255" creationId="{CAEB637E-E779-F576-B794-1E2CE192A7F3}"/>
          </ac:grpSpMkLst>
        </pc:grpChg>
        <pc:grpChg chg="add mod">
          <ac:chgData name="Evyan Lyngshing [Chillibreeze]" userId="b5a92789-231b-4933-b5e3-9c4db485d6cf" providerId="ADAL" clId="{3C7A14F0-AC9D-4C0F-B2FD-5645A9CA3617}" dt="2026-06-29T13:39:07.868" v="4328" actId="164"/>
          <ac:grpSpMkLst>
            <pc:docMk/>
            <pc:sldMk cId="3825189141" sldId="296"/>
            <ac:grpSpMk id="259" creationId="{20EDFA33-5CC4-EACD-DC41-CD112E518DFE}"/>
          </ac:grpSpMkLst>
        </pc:grpChg>
        <pc:grpChg chg="add mod">
          <ac:chgData name="Evyan Lyngshing [Chillibreeze]" userId="b5a92789-231b-4933-b5e3-9c4db485d6cf" providerId="ADAL" clId="{3C7A14F0-AC9D-4C0F-B2FD-5645A9CA3617}" dt="2026-06-29T13:39:07.868" v="4328" actId="164"/>
          <ac:grpSpMkLst>
            <pc:docMk/>
            <pc:sldMk cId="3825189141" sldId="296"/>
            <ac:grpSpMk id="260" creationId="{86BD2631-09BC-2B73-65D0-D1038A94E3C0}"/>
          </ac:grpSpMkLst>
        </pc:grpChg>
        <pc:grpChg chg="del mod">
          <ac:chgData name="Evyan Lyngshing [Chillibreeze]" userId="b5a92789-231b-4933-b5e3-9c4db485d6cf" providerId="ADAL" clId="{3C7A14F0-AC9D-4C0F-B2FD-5645A9CA3617}" dt="2026-06-29T13:39:35.154" v="4331" actId="27803"/>
          <ac:grpSpMkLst>
            <pc:docMk/>
            <pc:sldMk cId="3825189141" sldId="296"/>
            <ac:grpSpMk id="263" creationId="{1DD24C94-8276-7671-A870-F7DD036B4A14}"/>
          </ac:grpSpMkLst>
        </pc:grpChg>
        <pc:grpChg chg="add mod">
          <ac:chgData name="Evyan Lyngshing [Chillibreeze]" userId="b5a92789-231b-4933-b5e3-9c4db485d6cf" providerId="ADAL" clId="{3C7A14F0-AC9D-4C0F-B2FD-5645A9CA3617}" dt="2026-06-29T13:39:48.620" v="4342" actId="164"/>
          <ac:grpSpMkLst>
            <pc:docMk/>
            <pc:sldMk cId="3825189141" sldId="296"/>
            <ac:grpSpMk id="266" creationId="{4496A926-A925-DFA3-A541-C92C94F96AD3}"/>
          </ac:grpSpMkLst>
        </pc:grpChg>
        <pc:grpChg chg="add mod">
          <ac:chgData name="Evyan Lyngshing [Chillibreeze]" userId="b5a92789-231b-4933-b5e3-9c4db485d6cf" providerId="ADAL" clId="{3C7A14F0-AC9D-4C0F-B2FD-5645A9CA3617}" dt="2026-06-29T13:39:48.620" v="4342" actId="164"/>
          <ac:grpSpMkLst>
            <pc:docMk/>
            <pc:sldMk cId="3825189141" sldId="296"/>
            <ac:grpSpMk id="267" creationId="{DAEA42CC-300C-ADEB-3AC4-AE7758ACEFA2}"/>
          </ac:grpSpMkLst>
        </pc:grpChg>
        <pc:grpChg chg="mod topLvl">
          <ac:chgData name="Evyan Lyngshing [Chillibreeze]" userId="b5a92789-231b-4933-b5e3-9c4db485d6cf" providerId="ADAL" clId="{3C7A14F0-AC9D-4C0F-B2FD-5645A9CA3617}" dt="2026-06-29T13:40:51.328" v="4360" actId="164"/>
          <ac:grpSpMkLst>
            <pc:docMk/>
            <pc:sldMk cId="3825189141" sldId="296"/>
            <ac:grpSpMk id="270" creationId="{2502F93A-9647-4942-6E6D-78200EB26E6C}"/>
          </ac:grpSpMkLst>
        </pc:grpChg>
        <pc:grpChg chg="add del mod">
          <ac:chgData name="Evyan Lyngshing [Chillibreeze]" userId="b5a92789-231b-4933-b5e3-9c4db485d6cf" providerId="ADAL" clId="{3C7A14F0-AC9D-4C0F-B2FD-5645A9CA3617}" dt="2026-06-29T13:40:46.925" v="4358" actId="165"/>
          <ac:grpSpMkLst>
            <pc:docMk/>
            <pc:sldMk cId="3825189141" sldId="296"/>
            <ac:grpSpMk id="273" creationId="{E1808950-5FBB-0227-DCA4-9C1F44C2B021}"/>
          </ac:grpSpMkLst>
        </pc:grpChg>
        <pc:grpChg chg="add mod">
          <ac:chgData name="Evyan Lyngshing [Chillibreeze]" userId="b5a92789-231b-4933-b5e3-9c4db485d6cf" providerId="ADAL" clId="{3C7A14F0-AC9D-4C0F-B2FD-5645A9CA3617}" dt="2026-06-29T13:40:51.328" v="4360" actId="164"/>
          <ac:grpSpMkLst>
            <pc:docMk/>
            <pc:sldMk cId="3825189141" sldId="296"/>
            <ac:grpSpMk id="274" creationId="{4DD40A64-5756-F7A1-FC7B-8D23ABDEFD49}"/>
          </ac:grpSpMkLst>
        </pc:grpChg>
        <pc:grpChg chg="mod">
          <ac:chgData name="Evyan Lyngshing [Chillibreeze]" userId="b5a92789-231b-4933-b5e3-9c4db485d6cf" providerId="ADAL" clId="{3C7A14F0-AC9D-4C0F-B2FD-5645A9CA3617}" dt="2026-06-29T13:41:35.226" v="4376" actId="164"/>
          <ac:grpSpMkLst>
            <pc:docMk/>
            <pc:sldMk cId="3825189141" sldId="296"/>
            <ac:grpSpMk id="277" creationId="{2CF88023-534F-2F64-ECBB-D88164D9B057}"/>
          </ac:grpSpMkLst>
        </pc:grpChg>
        <pc:grpChg chg="add mod">
          <ac:chgData name="Evyan Lyngshing [Chillibreeze]" userId="b5a92789-231b-4933-b5e3-9c4db485d6cf" providerId="ADAL" clId="{3C7A14F0-AC9D-4C0F-B2FD-5645A9CA3617}" dt="2026-06-29T13:41:35.226" v="4376" actId="164"/>
          <ac:grpSpMkLst>
            <pc:docMk/>
            <pc:sldMk cId="3825189141" sldId="296"/>
            <ac:grpSpMk id="283" creationId="{1093AF58-0F53-80D0-7A2E-5776BB44AF75}"/>
          </ac:grpSpMkLst>
        </pc:grpChg>
        <pc:grpChg chg="mod">
          <ac:chgData name="Evyan Lyngshing [Chillibreeze]" userId="b5a92789-231b-4933-b5e3-9c4db485d6cf" providerId="ADAL" clId="{3C7A14F0-AC9D-4C0F-B2FD-5645A9CA3617}" dt="2026-06-29T13:42:14.125" v="4394" actId="164"/>
          <ac:grpSpMkLst>
            <pc:docMk/>
            <pc:sldMk cId="3825189141" sldId="296"/>
            <ac:grpSpMk id="286" creationId="{C5EDFA38-E8EB-911D-C812-2DDEDC129A8F}"/>
          </ac:grpSpMkLst>
        </pc:grpChg>
        <pc:grpChg chg="add mod">
          <ac:chgData name="Evyan Lyngshing [Chillibreeze]" userId="b5a92789-231b-4933-b5e3-9c4db485d6cf" providerId="ADAL" clId="{3C7A14F0-AC9D-4C0F-B2FD-5645A9CA3617}" dt="2026-06-29T13:42:14.125" v="4394" actId="164"/>
          <ac:grpSpMkLst>
            <pc:docMk/>
            <pc:sldMk cId="3825189141" sldId="296"/>
            <ac:grpSpMk id="293" creationId="{0D083810-B82F-AA90-FC03-C9A6FA1A9970}"/>
          </ac:grpSpMkLst>
        </pc:grpChg>
        <pc:grpChg chg="mod">
          <ac:chgData name="Evyan Lyngshing [Chillibreeze]" userId="b5a92789-231b-4933-b5e3-9c4db485d6cf" providerId="ADAL" clId="{3C7A14F0-AC9D-4C0F-B2FD-5645A9CA3617}" dt="2026-06-29T13:42:51.595" v="4413" actId="164"/>
          <ac:grpSpMkLst>
            <pc:docMk/>
            <pc:sldMk cId="3825189141" sldId="296"/>
            <ac:grpSpMk id="296" creationId="{528363F2-ABF9-0CB4-224B-B6066536AFFC}"/>
          </ac:grpSpMkLst>
        </pc:grpChg>
        <pc:grpChg chg="add mod">
          <ac:chgData name="Evyan Lyngshing [Chillibreeze]" userId="b5a92789-231b-4933-b5e3-9c4db485d6cf" providerId="ADAL" clId="{3C7A14F0-AC9D-4C0F-B2FD-5645A9CA3617}" dt="2026-06-29T13:42:51.595" v="4413" actId="164"/>
          <ac:grpSpMkLst>
            <pc:docMk/>
            <pc:sldMk cId="3825189141" sldId="296"/>
            <ac:grpSpMk id="303" creationId="{5A59B60E-04E3-87D6-1621-7ED636222C91}"/>
          </ac:grpSpMkLst>
        </pc:grpChg>
        <pc:grpChg chg="mod">
          <ac:chgData name="Evyan Lyngshing [Chillibreeze]" userId="b5a92789-231b-4933-b5e3-9c4db485d6cf" providerId="ADAL" clId="{3C7A14F0-AC9D-4C0F-B2FD-5645A9CA3617}" dt="2026-06-29T13:43:50.184" v="4433" actId="164"/>
          <ac:grpSpMkLst>
            <pc:docMk/>
            <pc:sldMk cId="3825189141" sldId="296"/>
            <ac:grpSpMk id="306" creationId="{02630B1F-1C1A-DEA2-AD1E-10BD135E2E84}"/>
          </ac:grpSpMkLst>
        </pc:grpChg>
        <pc:grpChg chg="add mod">
          <ac:chgData name="Evyan Lyngshing [Chillibreeze]" userId="b5a92789-231b-4933-b5e3-9c4db485d6cf" providerId="ADAL" clId="{3C7A14F0-AC9D-4C0F-B2FD-5645A9CA3617}" dt="2026-06-29T13:43:50.184" v="4433" actId="164"/>
          <ac:grpSpMkLst>
            <pc:docMk/>
            <pc:sldMk cId="3825189141" sldId="296"/>
            <ac:grpSpMk id="317" creationId="{19955CB3-14B1-6485-2B4D-FF1F9D59C0B1}"/>
          </ac:grpSpMkLst>
        </pc:grpChg>
        <pc:graphicFrameChg chg="add mod ord modVis">
          <ac:chgData name="Evyan Lyngshing [Chillibreeze]" userId="b5a92789-231b-4933-b5e3-9c4db485d6cf" providerId="ADAL" clId="{3C7A14F0-AC9D-4C0F-B2FD-5645A9CA3617}" dt="2026-06-29T12:26:23.258" v="3232"/>
          <ac:graphicFrameMkLst>
            <pc:docMk/>
            <pc:sldMk cId="3825189141" sldId="296"/>
            <ac:graphicFrameMk id="202" creationId="{1CE1417F-AA19-D9D7-56DA-2FC05BF13E22}"/>
          </ac:graphicFrameMkLst>
        </pc:graphicFrameChg>
        <pc:picChg chg="mod ord">
          <ac:chgData name="Evyan Lyngshing [Chillibreeze]" userId="b5a92789-231b-4933-b5e3-9c4db485d6cf" providerId="ADAL" clId="{3C7A14F0-AC9D-4C0F-B2FD-5645A9CA3617}" dt="2026-06-29T12:26:23.237" v="3172"/>
          <ac:picMkLst>
            <pc:docMk/>
            <pc:sldMk cId="3825189141" sldId="296"/>
            <ac:picMk id="204" creationId="{CC40E1FC-4D61-40E8-4C86-31D8322B337A}"/>
          </ac:picMkLst>
        </pc:picChg>
        <pc:picChg chg="mod ord">
          <ac:chgData name="Evyan Lyngshing [Chillibreeze]" userId="b5a92789-231b-4933-b5e3-9c4db485d6cf" providerId="ADAL" clId="{3C7A14F0-AC9D-4C0F-B2FD-5645A9CA3617}" dt="2026-06-29T12:26:23.237" v="3174"/>
          <ac:picMkLst>
            <pc:docMk/>
            <pc:sldMk cId="3825189141" sldId="296"/>
            <ac:picMk id="205" creationId="{EA861E60-F962-BA7E-5C1E-EFE5F66BF7B3}"/>
          </ac:picMkLst>
        </pc:picChg>
        <pc:picChg chg="add mod ord">
          <ac:chgData name="Evyan Lyngshing [Chillibreeze]" userId="b5a92789-231b-4933-b5e3-9c4db485d6cf" providerId="ADAL" clId="{3C7A14F0-AC9D-4C0F-B2FD-5645A9CA3617}" dt="2026-06-29T12:26:23.247" v="3222"/>
          <ac:picMkLst>
            <pc:docMk/>
            <pc:sldMk cId="3825189141" sldId="296"/>
            <ac:picMk id="239" creationId="{6C1FEEA7-E2DA-B9C9-1264-260A4B6799FD}"/>
          </ac:picMkLst>
        </pc:picChg>
        <pc:picChg chg="add del mod">
          <ac:chgData name="Evyan Lyngshing [Chillibreeze]" userId="b5a92789-231b-4933-b5e3-9c4db485d6cf" providerId="ADAL" clId="{3C7A14F0-AC9D-4C0F-B2FD-5645A9CA3617}" dt="2026-06-29T13:37:15.957" v="4286" actId="27803"/>
          <ac:picMkLst>
            <pc:docMk/>
            <pc:sldMk cId="3825189141" sldId="296"/>
            <ac:picMk id="243" creationId="{91426786-FEDF-1EEF-1053-0B6BB0B9D097}"/>
          </ac:picMkLst>
        </pc:picChg>
        <pc:picChg chg="add del mod">
          <ac:chgData name="Evyan Lyngshing [Chillibreeze]" userId="b5a92789-231b-4933-b5e3-9c4db485d6cf" providerId="ADAL" clId="{3C7A14F0-AC9D-4C0F-B2FD-5645A9CA3617}" dt="2026-06-29T13:37:49.957" v="4299" actId="27803"/>
          <ac:picMkLst>
            <pc:docMk/>
            <pc:sldMk cId="3825189141" sldId="296"/>
            <ac:picMk id="247" creationId="{7DD3EB89-28D9-79D3-356A-925B023B1D03}"/>
          </ac:picMkLst>
        </pc:picChg>
        <pc:picChg chg="add del mod">
          <ac:chgData name="Evyan Lyngshing [Chillibreeze]" userId="b5a92789-231b-4933-b5e3-9c4db485d6cf" providerId="ADAL" clId="{3C7A14F0-AC9D-4C0F-B2FD-5645A9CA3617}" dt="2026-06-29T13:38:39.239" v="4318" actId="27803"/>
          <ac:picMkLst>
            <pc:docMk/>
            <pc:sldMk cId="3825189141" sldId="296"/>
            <ac:picMk id="254" creationId="{1F25A249-1FF9-4FFF-C67A-516D0A6708F5}"/>
          </ac:picMkLst>
        </pc:picChg>
        <pc:picChg chg="add del mod">
          <ac:chgData name="Evyan Lyngshing [Chillibreeze]" userId="b5a92789-231b-4933-b5e3-9c4db485d6cf" providerId="ADAL" clId="{3C7A14F0-AC9D-4C0F-B2FD-5645A9CA3617}" dt="2026-06-29T13:39:35.154" v="4331" actId="27803"/>
          <ac:picMkLst>
            <pc:docMk/>
            <pc:sldMk cId="3825189141" sldId="296"/>
            <ac:picMk id="262" creationId="{1F633480-1EC2-5E5F-0C8A-E6ACFBB7F28E}"/>
          </ac:picMkLst>
        </pc:picChg>
        <pc:picChg chg="add del mod">
          <ac:chgData name="Evyan Lyngshing [Chillibreeze]" userId="b5a92789-231b-4933-b5e3-9c4db485d6cf" providerId="ADAL" clId="{3C7A14F0-AC9D-4C0F-B2FD-5645A9CA3617}" dt="2026-06-29T13:40:17.117" v="4345" actId="27803"/>
          <ac:picMkLst>
            <pc:docMk/>
            <pc:sldMk cId="3825189141" sldId="296"/>
            <ac:picMk id="269" creationId="{334FAF1F-EDD2-0DBD-139A-2F6FF1DF36CC}"/>
          </ac:picMkLst>
        </pc:picChg>
        <pc:picChg chg="add del mod">
          <ac:chgData name="Evyan Lyngshing [Chillibreeze]" userId="b5a92789-231b-4933-b5e3-9c4db485d6cf" providerId="ADAL" clId="{3C7A14F0-AC9D-4C0F-B2FD-5645A9CA3617}" dt="2026-06-29T13:41:18.440" v="4363" actId="27803"/>
          <ac:picMkLst>
            <pc:docMk/>
            <pc:sldMk cId="3825189141" sldId="296"/>
            <ac:picMk id="276" creationId="{CD65BBF8-E1C3-8774-E875-4D32B6BA2C8A}"/>
          </ac:picMkLst>
        </pc:picChg>
        <pc:picChg chg="add del mod">
          <ac:chgData name="Evyan Lyngshing [Chillibreeze]" userId="b5a92789-231b-4933-b5e3-9c4db485d6cf" providerId="ADAL" clId="{3C7A14F0-AC9D-4C0F-B2FD-5645A9CA3617}" dt="2026-06-29T13:42:01.165" v="4379" actId="27803"/>
          <ac:picMkLst>
            <pc:docMk/>
            <pc:sldMk cId="3825189141" sldId="296"/>
            <ac:picMk id="285" creationId="{A82D2F32-F2A8-A58D-7EB9-764DB9A98DEF}"/>
          </ac:picMkLst>
        </pc:picChg>
        <pc:picChg chg="add del mod">
          <ac:chgData name="Evyan Lyngshing [Chillibreeze]" userId="b5a92789-231b-4933-b5e3-9c4db485d6cf" providerId="ADAL" clId="{3C7A14F0-AC9D-4C0F-B2FD-5645A9CA3617}" dt="2026-06-29T13:42:36.788" v="4397" actId="27803"/>
          <ac:picMkLst>
            <pc:docMk/>
            <pc:sldMk cId="3825189141" sldId="296"/>
            <ac:picMk id="295" creationId="{3BE91FB5-5652-3C1F-D60C-A7336FDAAE9B}"/>
          </ac:picMkLst>
        </pc:picChg>
        <pc:picChg chg="add mod">
          <ac:chgData name="Evyan Lyngshing [Chillibreeze]" userId="b5a92789-231b-4933-b5e3-9c4db485d6cf" providerId="ADAL" clId="{3C7A14F0-AC9D-4C0F-B2FD-5645A9CA3617}" dt="2026-06-29T13:43:38.439" v="4415"/>
          <ac:picMkLst>
            <pc:docMk/>
            <pc:sldMk cId="3825189141" sldId="296"/>
            <ac:picMk id="305" creationId="{1A861F60-170B-CA74-3A3D-F08DF1C57510}"/>
          </ac:picMkLst>
        </pc:picChg>
        <pc:cxnChg chg="mod ord">
          <ac:chgData name="Evyan Lyngshing [Chillibreeze]" userId="b5a92789-231b-4933-b5e3-9c4db485d6cf" providerId="ADAL" clId="{3C7A14F0-AC9D-4C0F-B2FD-5645A9CA3617}" dt="2026-06-29T11:56:54.641" v="1913"/>
          <ac:cxnSpMkLst>
            <pc:docMk/>
            <pc:sldMk cId="3825189141" sldId="296"/>
            <ac:cxnSpMk id="7" creationId="{DB5AF152-A0AA-676B-78B6-489CB8EF9C71}"/>
          </ac:cxnSpMkLst>
        </pc:cxnChg>
        <pc:cxnChg chg="mod ord">
          <ac:chgData name="Evyan Lyngshing [Chillibreeze]" userId="b5a92789-231b-4933-b5e3-9c4db485d6cf" providerId="ADAL" clId="{3C7A14F0-AC9D-4C0F-B2FD-5645A9CA3617}" dt="2026-06-29T11:56:54.641" v="1917"/>
          <ac:cxnSpMkLst>
            <pc:docMk/>
            <pc:sldMk cId="3825189141" sldId="296"/>
            <ac:cxnSpMk id="10" creationId="{6CD4E4AA-BDA1-5A26-ECDB-523AEB5B6CCC}"/>
          </ac:cxnSpMkLst>
        </pc:cxnChg>
        <pc:cxnChg chg="mod ord">
          <ac:chgData name="Evyan Lyngshing [Chillibreeze]" userId="b5a92789-231b-4933-b5e3-9c4db485d6cf" providerId="ADAL" clId="{3C7A14F0-AC9D-4C0F-B2FD-5645A9CA3617}" dt="2026-06-29T11:56:54.654" v="1951"/>
          <ac:cxnSpMkLst>
            <pc:docMk/>
            <pc:sldMk cId="3825189141" sldId="296"/>
            <ac:cxnSpMk id="15" creationId="{6A3CD687-95B8-6180-8C98-BCCC4ED480DC}"/>
          </ac:cxnSpMkLst>
        </pc:cxnChg>
        <pc:cxnChg chg="mod ord">
          <ac:chgData name="Evyan Lyngshing [Chillibreeze]" userId="b5a92789-231b-4933-b5e3-9c4db485d6cf" providerId="ADAL" clId="{3C7A14F0-AC9D-4C0F-B2FD-5645A9CA3617}" dt="2026-06-29T11:56:54.656" v="1959"/>
          <ac:cxnSpMkLst>
            <pc:docMk/>
            <pc:sldMk cId="3825189141" sldId="296"/>
            <ac:cxnSpMk id="34" creationId="{4EECBF92-C78F-5D88-322C-4CF1E2684DB5}"/>
          </ac:cxnSpMkLst>
        </pc:cxnChg>
        <pc:cxnChg chg="mod ord">
          <ac:chgData name="Evyan Lyngshing [Chillibreeze]" userId="b5a92789-231b-4933-b5e3-9c4db485d6cf" providerId="ADAL" clId="{3C7A14F0-AC9D-4C0F-B2FD-5645A9CA3617}" dt="2026-06-29T11:56:54.660" v="1973"/>
          <ac:cxnSpMkLst>
            <pc:docMk/>
            <pc:sldMk cId="3825189141" sldId="296"/>
            <ac:cxnSpMk id="103" creationId="{48131C81-E25D-005B-4654-2444BB28873E}"/>
          </ac:cxnSpMkLst>
        </pc:cxnChg>
        <pc:cxnChg chg="mod ord">
          <ac:chgData name="Evyan Lyngshing [Chillibreeze]" userId="b5a92789-231b-4933-b5e3-9c4db485d6cf" providerId="ADAL" clId="{3C7A14F0-AC9D-4C0F-B2FD-5645A9CA3617}" dt="2026-06-29T11:56:54.641" v="1915"/>
          <ac:cxnSpMkLst>
            <pc:docMk/>
            <pc:sldMk cId="3825189141" sldId="296"/>
            <ac:cxnSpMk id="111" creationId="{C47E52DD-E419-F0CD-ADBA-DAEA61D6BC6D}"/>
          </ac:cxnSpMkLst>
        </pc:cxnChg>
        <pc:cxnChg chg="mod ord">
          <ac:chgData name="Evyan Lyngshing [Chillibreeze]" userId="b5a92789-231b-4933-b5e3-9c4db485d6cf" providerId="ADAL" clId="{3C7A14F0-AC9D-4C0F-B2FD-5645A9CA3617}" dt="2026-06-29T11:56:54.654" v="1949"/>
          <ac:cxnSpMkLst>
            <pc:docMk/>
            <pc:sldMk cId="3825189141" sldId="296"/>
            <ac:cxnSpMk id="196" creationId="{E19CADBF-D15E-4EB7-DB83-3F7CF2E8AB8A}"/>
          </ac:cxnSpMkLst>
        </pc:cxnChg>
        <pc:cxnChg chg="mod ord">
          <ac:chgData name="Evyan Lyngshing [Chillibreeze]" userId="b5a92789-231b-4933-b5e3-9c4db485d6cf" providerId="ADAL" clId="{3C7A14F0-AC9D-4C0F-B2FD-5645A9CA3617}" dt="2026-06-29T12:26:23.237" v="3186"/>
          <ac:cxnSpMkLst>
            <pc:docMk/>
            <pc:sldMk cId="3825189141" sldId="296"/>
            <ac:cxnSpMk id="213" creationId="{8339CA37-1638-2EA6-7804-561E88954EC1}"/>
          </ac:cxnSpMkLst>
        </pc:cxnChg>
        <pc:cxnChg chg="mod ord">
          <ac:chgData name="Evyan Lyngshing [Chillibreeze]" userId="b5a92789-231b-4933-b5e3-9c4db485d6cf" providerId="ADAL" clId="{3C7A14F0-AC9D-4C0F-B2FD-5645A9CA3617}" dt="2026-06-29T12:26:23.245" v="3188"/>
          <ac:cxnSpMkLst>
            <pc:docMk/>
            <pc:sldMk cId="3825189141" sldId="296"/>
            <ac:cxnSpMk id="214" creationId="{4116952C-19F2-1B9C-C512-F3C1DDF29293}"/>
          </ac:cxnSpMkLst>
        </pc:cxnChg>
        <pc:cxnChg chg="mod ord">
          <ac:chgData name="Evyan Lyngshing [Chillibreeze]" userId="b5a92789-231b-4933-b5e3-9c4db485d6cf" providerId="ADAL" clId="{3C7A14F0-AC9D-4C0F-B2FD-5645A9CA3617}" dt="2026-06-29T12:26:23.245" v="3190"/>
          <ac:cxnSpMkLst>
            <pc:docMk/>
            <pc:sldMk cId="3825189141" sldId="296"/>
            <ac:cxnSpMk id="215" creationId="{0DBF8FE8-1FA2-C80A-0BDF-BE1B0C7C74D9}"/>
          </ac:cxnSpMkLst>
        </pc:cxnChg>
        <pc:cxnChg chg="mod ord">
          <ac:chgData name="Evyan Lyngshing [Chillibreeze]" userId="b5a92789-231b-4933-b5e3-9c4db485d6cf" providerId="ADAL" clId="{3C7A14F0-AC9D-4C0F-B2FD-5645A9CA3617}" dt="2026-06-29T12:26:23.247" v="3214"/>
          <ac:cxnSpMkLst>
            <pc:docMk/>
            <pc:sldMk cId="3825189141" sldId="296"/>
            <ac:cxnSpMk id="229" creationId="{AEB28351-5CFE-6AEB-5AD4-69AA88E0F4E7}"/>
          </ac:cxnSpMkLst>
        </pc:cxnChg>
        <pc:cxnChg chg="mod ord">
          <ac:chgData name="Evyan Lyngshing [Chillibreeze]" userId="b5a92789-231b-4933-b5e3-9c4db485d6cf" providerId="ADAL" clId="{3C7A14F0-AC9D-4C0F-B2FD-5645A9CA3617}" dt="2026-06-29T12:26:23.247" v="3216"/>
          <ac:cxnSpMkLst>
            <pc:docMk/>
            <pc:sldMk cId="3825189141" sldId="296"/>
            <ac:cxnSpMk id="230" creationId="{C9071964-F145-7AF8-85A4-9A7F3FB6057F}"/>
          </ac:cxnSpMkLst>
        </pc:cxnChg>
        <pc:cxnChg chg="mod ord">
          <ac:chgData name="Evyan Lyngshing [Chillibreeze]" userId="b5a92789-231b-4933-b5e3-9c4db485d6cf" providerId="ADAL" clId="{3C7A14F0-AC9D-4C0F-B2FD-5645A9CA3617}" dt="2026-06-29T12:26:23.247" v="3218"/>
          <ac:cxnSpMkLst>
            <pc:docMk/>
            <pc:sldMk cId="3825189141" sldId="296"/>
            <ac:cxnSpMk id="231" creationId="{9282A57A-D646-A289-81AF-3BBBD8F53A03}"/>
          </ac:cxnSpMkLst>
        </pc:cxnChg>
        <pc:cxnChg chg="del mod ord">
          <ac:chgData name="Evyan Lyngshing [Chillibreeze]" userId="b5a92789-231b-4933-b5e3-9c4db485d6cf" providerId="ADAL" clId="{3C7A14F0-AC9D-4C0F-B2FD-5645A9CA3617}" dt="2026-06-29T12:09:00.742" v="2254" actId="478"/>
          <ac:cxnSpMkLst>
            <pc:docMk/>
            <pc:sldMk cId="3825189141" sldId="296"/>
            <ac:cxnSpMk id="232" creationId="{DE788C68-FEDB-6490-D9CD-7CA980056772}"/>
          </ac:cxnSpMkLst>
        </pc:cxnChg>
        <pc:cxnChg chg="add mod ord">
          <ac:chgData name="Evyan Lyngshing [Chillibreeze]" userId="b5a92789-231b-4933-b5e3-9c4db485d6cf" providerId="ADAL" clId="{3C7A14F0-AC9D-4C0F-B2FD-5645A9CA3617}" dt="2026-06-29T12:26:23.247" v="3228"/>
          <ac:cxnSpMkLst>
            <pc:docMk/>
            <pc:sldMk cId="3825189141" sldId="296"/>
            <ac:cxnSpMk id="236" creationId="{CC14D5A9-85C4-5A28-33FA-47169618002B}"/>
          </ac:cxnSpMkLst>
        </pc:cxnChg>
      </pc:sldChg>
      <pc:sldChg chg="addSp delSp modSp mod setBg modClrScheme chgLayout">
        <pc:chgData name="Evyan Lyngshing [Chillibreeze]" userId="b5a92789-231b-4933-b5e3-9c4db485d6cf" providerId="ADAL" clId="{3C7A14F0-AC9D-4C0F-B2FD-5645A9CA3617}" dt="2026-06-29T13:45:11.784" v="4466" actId="164"/>
        <pc:sldMkLst>
          <pc:docMk/>
          <pc:sldMk cId="165793057" sldId="298"/>
        </pc:sldMkLst>
        <pc:spChg chg="mod ord">
          <ac:chgData name="Evyan Lyngshing [Chillibreeze]" userId="b5a92789-231b-4933-b5e3-9c4db485d6cf" providerId="ADAL" clId="{3C7A14F0-AC9D-4C0F-B2FD-5645A9CA3617}" dt="2026-06-29T12:26:33.479" v="3256"/>
          <ac:spMkLst>
            <pc:docMk/>
            <pc:sldMk cId="165793057" sldId="298"/>
            <ac:spMk id="4" creationId="{B15D0B8F-4376-9D46-9B62-21EEFCE8C7CD}"/>
          </ac:spMkLst>
        </pc:spChg>
        <pc:spChg chg="del mod ord">
          <ac:chgData name="Evyan Lyngshing [Chillibreeze]" userId="b5a92789-231b-4933-b5e3-9c4db485d6cf" providerId="ADAL" clId="{3C7A14F0-AC9D-4C0F-B2FD-5645A9CA3617}" dt="2026-06-29T12:19:54.595" v="2676" actId="478"/>
          <ac:spMkLst>
            <pc:docMk/>
            <pc:sldMk cId="165793057" sldId="298"/>
            <ac:spMk id="11" creationId="{98E653E3-22EC-D995-FF51-93703DE16477}"/>
          </ac:spMkLst>
        </pc:spChg>
        <pc:spChg chg="del mod ord">
          <ac:chgData name="Evyan Lyngshing [Chillibreeze]" userId="b5a92789-231b-4933-b5e3-9c4db485d6cf" providerId="ADAL" clId="{3C7A14F0-AC9D-4C0F-B2FD-5645A9CA3617}" dt="2026-06-29T12:19:54.595" v="2676" actId="478"/>
          <ac:spMkLst>
            <pc:docMk/>
            <pc:sldMk cId="165793057" sldId="298"/>
            <ac:spMk id="14" creationId="{2B9FDEEC-FE45-1CD5-B885-2ED991CD3063}"/>
          </ac:spMkLst>
        </pc:spChg>
        <pc:spChg chg="add del mod">
          <ac:chgData name="Evyan Lyngshing [Chillibreeze]" userId="b5a92789-231b-4933-b5e3-9c4db485d6cf" providerId="ADAL" clId="{3C7A14F0-AC9D-4C0F-B2FD-5645A9CA3617}" dt="2026-06-29T12:15:41.782" v="2520" actId="6264"/>
          <ac:spMkLst>
            <pc:docMk/>
            <pc:sldMk cId="165793057" sldId="298"/>
            <ac:spMk id="26" creationId="{6FF4894F-895E-3C8B-03A5-275B5FD4E32D}"/>
          </ac:spMkLst>
        </pc:spChg>
        <pc:spChg chg="add mod ord">
          <ac:chgData name="Evyan Lyngshing [Chillibreeze]" userId="b5a92789-231b-4933-b5e3-9c4db485d6cf" providerId="ADAL" clId="{3C7A14F0-AC9D-4C0F-B2FD-5645A9CA3617}" dt="2026-06-29T12:26:33.475" v="3244"/>
          <ac:spMkLst>
            <pc:docMk/>
            <pc:sldMk cId="165793057" sldId="298"/>
            <ac:spMk id="44" creationId="{19728E84-A2FF-F0AF-95BB-CF692F5F1D69}"/>
          </ac:spMkLst>
        </pc:spChg>
        <pc:spChg chg="add del mod ord">
          <ac:chgData name="Evyan Lyngshing [Chillibreeze]" userId="b5a92789-231b-4933-b5e3-9c4db485d6cf" providerId="ADAL" clId="{3C7A14F0-AC9D-4C0F-B2FD-5645A9CA3617}" dt="2026-06-29T12:26:31.478" v="3233" actId="478"/>
          <ac:spMkLst>
            <pc:docMk/>
            <pc:sldMk cId="165793057" sldId="298"/>
            <ac:spMk id="45" creationId="{9EE5F0E9-8D75-954E-DBA4-B79F33A5AB01}"/>
          </ac:spMkLst>
        </pc:spChg>
        <pc:spChg chg="add del mod ord">
          <ac:chgData name="Evyan Lyngshing [Chillibreeze]" userId="b5a92789-231b-4933-b5e3-9c4db485d6cf" providerId="ADAL" clId="{3C7A14F0-AC9D-4C0F-B2FD-5645A9CA3617}" dt="2026-06-29T12:26:31.478" v="3233" actId="478"/>
          <ac:spMkLst>
            <pc:docMk/>
            <pc:sldMk cId="165793057" sldId="298"/>
            <ac:spMk id="46" creationId="{40E5F3D7-4592-7F04-503F-6D910FC2BBF7}"/>
          </ac:spMkLst>
        </pc:spChg>
        <pc:spChg chg="add mod ord">
          <ac:chgData name="Evyan Lyngshing [Chillibreeze]" userId="b5a92789-231b-4933-b5e3-9c4db485d6cf" providerId="ADAL" clId="{3C7A14F0-AC9D-4C0F-B2FD-5645A9CA3617}" dt="2026-06-29T12:26:33.475" v="3246"/>
          <ac:spMkLst>
            <pc:docMk/>
            <pc:sldMk cId="165793057" sldId="298"/>
            <ac:spMk id="47" creationId="{5903EE2C-70F7-D0C6-0F15-377B15C53D38}"/>
          </ac:spMkLst>
        </pc:spChg>
        <pc:spChg chg="del mod ord">
          <ac:chgData name="Evyan Lyngshing [Chillibreeze]" userId="b5a92789-231b-4933-b5e3-9c4db485d6cf" providerId="ADAL" clId="{3C7A14F0-AC9D-4C0F-B2FD-5645A9CA3617}" dt="2026-06-29T12:17:11.798" v="2674" actId="478"/>
          <ac:spMkLst>
            <pc:docMk/>
            <pc:sldMk cId="165793057" sldId="298"/>
            <ac:spMk id="48" creationId="{289291D7-EBB2-5429-6D45-D6263B8A2438}"/>
          </ac:spMkLst>
        </pc:spChg>
        <pc:spChg chg="add del mod ord">
          <ac:chgData name="Evyan Lyngshing [Chillibreeze]" userId="b5a92789-231b-4933-b5e3-9c4db485d6cf" providerId="ADAL" clId="{3C7A14F0-AC9D-4C0F-B2FD-5645A9CA3617}" dt="2026-06-29T12:17:11.798" v="2674" actId="478"/>
          <ac:spMkLst>
            <pc:docMk/>
            <pc:sldMk cId="165793057" sldId="298"/>
            <ac:spMk id="49" creationId="{BE6EA3BF-8671-2D63-F0E4-C153DC13CDE2}"/>
          </ac:spMkLst>
        </pc:spChg>
        <pc:spChg chg="add del mod ord">
          <ac:chgData name="Evyan Lyngshing [Chillibreeze]" userId="b5a92789-231b-4933-b5e3-9c4db485d6cf" providerId="ADAL" clId="{3C7A14F0-AC9D-4C0F-B2FD-5645A9CA3617}" dt="2026-06-29T12:17:11.798" v="2674" actId="478"/>
          <ac:spMkLst>
            <pc:docMk/>
            <pc:sldMk cId="165793057" sldId="298"/>
            <ac:spMk id="50" creationId="{71CEFB67-EFE4-04EF-67E3-1FBE6AB2AD46}"/>
          </ac:spMkLst>
        </pc:spChg>
        <pc:spChg chg="mod ord">
          <ac:chgData name="Evyan Lyngshing [Chillibreeze]" userId="b5a92789-231b-4933-b5e3-9c4db485d6cf" providerId="ADAL" clId="{3C7A14F0-AC9D-4C0F-B2FD-5645A9CA3617}" dt="2026-06-29T13:45:11.784" v="4466" actId="164"/>
          <ac:spMkLst>
            <pc:docMk/>
            <pc:sldMk cId="165793057" sldId="298"/>
            <ac:spMk id="54" creationId="{3801B139-2583-0228-72FA-3357465E23D4}"/>
          </ac:spMkLst>
        </pc:spChg>
        <pc:spChg chg="mod ord">
          <ac:chgData name="Evyan Lyngshing [Chillibreeze]" userId="b5a92789-231b-4933-b5e3-9c4db485d6cf" providerId="ADAL" clId="{3C7A14F0-AC9D-4C0F-B2FD-5645A9CA3617}" dt="2026-06-29T12:16:15.138" v="2552"/>
          <ac:spMkLst>
            <pc:docMk/>
            <pc:sldMk cId="165793057" sldId="298"/>
            <ac:spMk id="55" creationId="{355A0DA6-B08E-6599-1F94-152523D8E473}"/>
          </ac:spMkLst>
        </pc:spChg>
        <pc:spChg chg="add del mod ord">
          <ac:chgData name="Evyan Lyngshing [Chillibreeze]" userId="b5a92789-231b-4933-b5e3-9c4db485d6cf" providerId="ADAL" clId="{3C7A14F0-AC9D-4C0F-B2FD-5645A9CA3617}" dt="2026-06-29T12:17:11.798" v="2674" actId="478"/>
          <ac:spMkLst>
            <pc:docMk/>
            <pc:sldMk cId="165793057" sldId="298"/>
            <ac:spMk id="56" creationId="{1D957EA3-163A-6003-8100-1115A2E502BF}"/>
          </ac:spMkLst>
        </pc:spChg>
        <pc:spChg chg="del mod ord">
          <ac:chgData name="Evyan Lyngshing [Chillibreeze]" userId="b5a92789-231b-4933-b5e3-9c4db485d6cf" providerId="ADAL" clId="{3C7A14F0-AC9D-4C0F-B2FD-5645A9CA3617}" dt="2026-06-29T12:17:11.798" v="2674" actId="478"/>
          <ac:spMkLst>
            <pc:docMk/>
            <pc:sldMk cId="165793057" sldId="298"/>
            <ac:spMk id="57" creationId="{4B0A08BE-D61B-836F-F0AB-934B8EF6591A}"/>
          </ac:spMkLst>
        </pc:spChg>
        <pc:spChg chg="add mod ord">
          <ac:chgData name="Evyan Lyngshing [Chillibreeze]" userId="b5a92789-231b-4933-b5e3-9c4db485d6cf" providerId="ADAL" clId="{3C7A14F0-AC9D-4C0F-B2FD-5645A9CA3617}" dt="2026-06-29T12:26:33.476" v="3250"/>
          <ac:spMkLst>
            <pc:docMk/>
            <pc:sldMk cId="165793057" sldId="298"/>
            <ac:spMk id="58" creationId="{2F2BB5E2-B338-64B9-ABCE-E7EAA80D0D03}"/>
          </ac:spMkLst>
        </pc:spChg>
        <pc:spChg chg="del mod ord">
          <ac:chgData name="Evyan Lyngshing [Chillibreeze]" userId="b5a92789-231b-4933-b5e3-9c4db485d6cf" providerId="ADAL" clId="{3C7A14F0-AC9D-4C0F-B2FD-5645A9CA3617}" dt="2026-06-29T12:17:11.798" v="2674" actId="478"/>
          <ac:spMkLst>
            <pc:docMk/>
            <pc:sldMk cId="165793057" sldId="298"/>
            <ac:spMk id="59" creationId="{4E779BAC-46A7-A09B-6E15-3B4E0E862D14}"/>
          </ac:spMkLst>
        </pc:spChg>
        <pc:spChg chg="del mod ord">
          <ac:chgData name="Evyan Lyngshing [Chillibreeze]" userId="b5a92789-231b-4933-b5e3-9c4db485d6cf" providerId="ADAL" clId="{3C7A14F0-AC9D-4C0F-B2FD-5645A9CA3617}" dt="2026-06-29T12:17:11.798" v="2674" actId="478"/>
          <ac:spMkLst>
            <pc:docMk/>
            <pc:sldMk cId="165793057" sldId="298"/>
            <ac:spMk id="60" creationId="{7EBC431C-F739-5404-F0A6-A3364E5EE8D2}"/>
          </ac:spMkLst>
        </pc:spChg>
        <pc:spChg chg="del mod ord">
          <ac:chgData name="Evyan Lyngshing [Chillibreeze]" userId="b5a92789-231b-4933-b5e3-9c4db485d6cf" providerId="ADAL" clId="{3C7A14F0-AC9D-4C0F-B2FD-5645A9CA3617}" dt="2026-06-29T12:17:11.798" v="2674" actId="478"/>
          <ac:spMkLst>
            <pc:docMk/>
            <pc:sldMk cId="165793057" sldId="298"/>
            <ac:spMk id="61" creationId="{1CA0193E-9327-5144-85E3-210F8C1EA93B}"/>
          </ac:spMkLst>
        </pc:spChg>
        <pc:spChg chg="mod ord">
          <ac:chgData name="Evyan Lyngshing [Chillibreeze]" userId="b5a92789-231b-4933-b5e3-9c4db485d6cf" providerId="ADAL" clId="{3C7A14F0-AC9D-4C0F-B2FD-5645A9CA3617}" dt="2026-06-29T13:44:26.075" v="4447" actId="164"/>
          <ac:spMkLst>
            <pc:docMk/>
            <pc:sldMk cId="165793057" sldId="298"/>
            <ac:spMk id="62" creationId="{D0EE41BC-962D-47D3-8278-6013519E19EB}"/>
          </ac:spMkLst>
        </pc:spChg>
        <pc:spChg chg="add del mod ord">
          <ac:chgData name="Evyan Lyngshing [Chillibreeze]" userId="b5a92789-231b-4933-b5e3-9c4db485d6cf" providerId="ADAL" clId="{3C7A14F0-AC9D-4C0F-B2FD-5645A9CA3617}" dt="2026-06-29T12:17:11.798" v="2674" actId="478"/>
          <ac:spMkLst>
            <pc:docMk/>
            <pc:sldMk cId="165793057" sldId="298"/>
            <ac:spMk id="63" creationId="{F1BD05B8-12D9-7271-CA86-E86EB9083A6A}"/>
          </ac:spMkLst>
        </pc:spChg>
        <pc:spChg chg="mod ord">
          <ac:chgData name="Evyan Lyngshing [Chillibreeze]" userId="b5a92789-231b-4933-b5e3-9c4db485d6cf" providerId="ADAL" clId="{3C7A14F0-AC9D-4C0F-B2FD-5645A9CA3617}" dt="2026-06-29T12:16:15.150" v="2570"/>
          <ac:spMkLst>
            <pc:docMk/>
            <pc:sldMk cId="165793057" sldId="298"/>
            <ac:spMk id="64" creationId="{05274E13-CFE5-37E8-DC09-9AAA9A299F03}"/>
          </ac:spMkLst>
        </pc:spChg>
        <pc:spChg chg="mod ord">
          <ac:chgData name="Evyan Lyngshing [Chillibreeze]" userId="b5a92789-231b-4933-b5e3-9c4db485d6cf" providerId="ADAL" clId="{3C7A14F0-AC9D-4C0F-B2FD-5645A9CA3617}" dt="2026-06-29T12:16:15.154" v="2578"/>
          <ac:spMkLst>
            <pc:docMk/>
            <pc:sldMk cId="165793057" sldId="298"/>
            <ac:spMk id="68" creationId="{C34E7055-8F18-E7C0-FE4B-0C012D2B58B2}"/>
          </ac:spMkLst>
        </pc:spChg>
        <pc:spChg chg="del mod ord">
          <ac:chgData name="Evyan Lyngshing [Chillibreeze]" userId="b5a92789-231b-4933-b5e3-9c4db485d6cf" providerId="ADAL" clId="{3C7A14F0-AC9D-4C0F-B2FD-5645A9CA3617}" dt="2026-06-29T12:21:51.559" v="2711" actId="21"/>
          <ac:spMkLst>
            <pc:docMk/>
            <pc:sldMk cId="165793057" sldId="298"/>
            <ac:spMk id="69" creationId="{FC88A1F2-E505-883C-9382-7B2D6809FA9B}"/>
          </ac:spMkLst>
        </pc:spChg>
        <pc:spChg chg="mod ord">
          <ac:chgData name="Evyan Lyngshing [Chillibreeze]" userId="b5a92789-231b-4933-b5e3-9c4db485d6cf" providerId="ADAL" clId="{3C7A14F0-AC9D-4C0F-B2FD-5645A9CA3617}" dt="2026-06-29T12:16:15.156" v="2582"/>
          <ac:spMkLst>
            <pc:docMk/>
            <pc:sldMk cId="165793057" sldId="298"/>
            <ac:spMk id="70" creationId="{1D8F5201-B1C1-CCEE-C399-6CB15898D22A}"/>
          </ac:spMkLst>
        </pc:spChg>
        <pc:spChg chg="del mod ord">
          <ac:chgData name="Evyan Lyngshing [Chillibreeze]" userId="b5a92789-231b-4933-b5e3-9c4db485d6cf" providerId="ADAL" clId="{3C7A14F0-AC9D-4C0F-B2FD-5645A9CA3617}" dt="2026-06-29T12:19:54.595" v="2676" actId="478"/>
          <ac:spMkLst>
            <pc:docMk/>
            <pc:sldMk cId="165793057" sldId="298"/>
            <ac:spMk id="72" creationId="{0FBA0CA7-AB68-E75E-7601-42B777AD8540}"/>
          </ac:spMkLst>
        </pc:spChg>
        <pc:spChg chg="del mod ord">
          <ac:chgData name="Evyan Lyngshing [Chillibreeze]" userId="b5a92789-231b-4933-b5e3-9c4db485d6cf" providerId="ADAL" clId="{3C7A14F0-AC9D-4C0F-B2FD-5645A9CA3617}" dt="2026-06-29T12:19:54.595" v="2676" actId="478"/>
          <ac:spMkLst>
            <pc:docMk/>
            <pc:sldMk cId="165793057" sldId="298"/>
            <ac:spMk id="73" creationId="{E5002351-6183-E796-D26E-DBAD36D062C2}"/>
          </ac:spMkLst>
        </pc:spChg>
        <pc:spChg chg="add del mod ord">
          <ac:chgData name="Evyan Lyngshing [Chillibreeze]" userId="b5a92789-231b-4933-b5e3-9c4db485d6cf" providerId="ADAL" clId="{3C7A14F0-AC9D-4C0F-B2FD-5645A9CA3617}" dt="2026-06-29T12:17:11.798" v="2674" actId="478"/>
          <ac:spMkLst>
            <pc:docMk/>
            <pc:sldMk cId="165793057" sldId="298"/>
            <ac:spMk id="74" creationId="{43376410-D3D0-49A8-EB61-CA5A4FC95F34}"/>
          </ac:spMkLst>
        </pc:spChg>
        <pc:spChg chg="add mod ord">
          <ac:chgData name="Evyan Lyngshing [Chillibreeze]" userId="b5a92789-231b-4933-b5e3-9c4db485d6cf" providerId="ADAL" clId="{3C7A14F0-AC9D-4C0F-B2FD-5645A9CA3617}" dt="2026-06-29T12:26:33.468" v="3236"/>
          <ac:spMkLst>
            <pc:docMk/>
            <pc:sldMk cId="165793057" sldId="298"/>
            <ac:spMk id="77" creationId="{AA222877-3029-AC2F-03DD-8B1EF51BD82E}"/>
          </ac:spMkLst>
        </pc:spChg>
        <pc:spChg chg="add mod ord">
          <ac:chgData name="Evyan Lyngshing [Chillibreeze]" userId="b5a92789-231b-4933-b5e3-9c4db485d6cf" providerId="ADAL" clId="{3C7A14F0-AC9D-4C0F-B2FD-5645A9CA3617}" dt="2026-06-29T12:26:33.471" v="3238"/>
          <ac:spMkLst>
            <pc:docMk/>
            <pc:sldMk cId="165793057" sldId="298"/>
            <ac:spMk id="78" creationId="{5513BC9F-8CB0-778F-970E-3B2AF339E262}"/>
          </ac:spMkLst>
        </pc:spChg>
        <pc:spChg chg="mod">
          <ac:chgData name="Evyan Lyngshing [Chillibreeze]" userId="b5a92789-231b-4933-b5e3-9c4db485d6cf" providerId="ADAL" clId="{3C7A14F0-AC9D-4C0F-B2FD-5645A9CA3617}" dt="2026-06-29T13:44:26.075" v="4447" actId="164"/>
          <ac:spMkLst>
            <pc:docMk/>
            <pc:sldMk cId="165793057" sldId="298"/>
            <ac:spMk id="81" creationId="{1F7E3736-FE20-18CF-0399-EA14BD3FB835}"/>
          </ac:spMkLst>
        </pc:spChg>
        <pc:spChg chg="mod">
          <ac:chgData name="Evyan Lyngshing [Chillibreeze]" userId="b5a92789-231b-4933-b5e3-9c4db485d6cf" providerId="ADAL" clId="{3C7A14F0-AC9D-4C0F-B2FD-5645A9CA3617}" dt="2026-06-29T13:45:10.527" v="4465" actId="207"/>
          <ac:spMkLst>
            <pc:docMk/>
            <pc:sldMk cId="165793057" sldId="298"/>
            <ac:spMk id="86" creationId="{6FB80226-B75F-8444-4F99-5D16E34C5FF0}"/>
          </ac:spMkLst>
        </pc:spChg>
        <pc:spChg chg="mod">
          <ac:chgData name="Evyan Lyngshing [Chillibreeze]" userId="b5a92789-231b-4933-b5e3-9c4db485d6cf" providerId="ADAL" clId="{3C7A14F0-AC9D-4C0F-B2FD-5645A9CA3617}" dt="2026-06-29T13:45:10.527" v="4465" actId="207"/>
          <ac:spMkLst>
            <pc:docMk/>
            <pc:sldMk cId="165793057" sldId="298"/>
            <ac:spMk id="87" creationId="{936CA784-CC03-5DF3-F90A-6DAB2E6DFEB0}"/>
          </ac:spMkLst>
        </pc:spChg>
        <pc:spChg chg="mod">
          <ac:chgData name="Evyan Lyngshing [Chillibreeze]" userId="b5a92789-231b-4933-b5e3-9c4db485d6cf" providerId="ADAL" clId="{3C7A14F0-AC9D-4C0F-B2FD-5645A9CA3617}" dt="2026-06-29T13:45:10.527" v="4465" actId="207"/>
          <ac:spMkLst>
            <pc:docMk/>
            <pc:sldMk cId="165793057" sldId="298"/>
            <ac:spMk id="88" creationId="{AFBDD834-D105-FDC4-5062-0A3CCA0872A7}"/>
          </ac:spMkLst>
        </pc:spChg>
        <pc:spChg chg="mod">
          <ac:chgData name="Evyan Lyngshing [Chillibreeze]" userId="b5a92789-231b-4933-b5e3-9c4db485d6cf" providerId="ADAL" clId="{3C7A14F0-AC9D-4C0F-B2FD-5645A9CA3617}" dt="2026-06-29T13:45:10.527" v="4465" actId="207"/>
          <ac:spMkLst>
            <pc:docMk/>
            <pc:sldMk cId="165793057" sldId="298"/>
            <ac:spMk id="89" creationId="{E2B9E829-6387-0A94-5ED9-807B697D3E49}"/>
          </ac:spMkLst>
        </pc:spChg>
        <pc:grpChg chg="del mod ord">
          <ac:chgData name="Evyan Lyngshing [Chillibreeze]" userId="b5a92789-231b-4933-b5e3-9c4db485d6cf" providerId="ADAL" clId="{3C7A14F0-AC9D-4C0F-B2FD-5645A9CA3617}" dt="2026-06-29T12:19:54.595" v="2676" actId="478"/>
          <ac:grpSpMkLst>
            <pc:docMk/>
            <pc:sldMk cId="165793057" sldId="298"/>
            <ac:grpSpMk id="2" creationId="{F082B5B1-5438-8318-6B53-CF65FE3F558C}"/>
          </ac:grpSpMkLst>
        </pc:grpChg>
        <pc:grpChg chg="del mod ord">
          <ac:chgData name="Evyan Lyngshing [Chillibreeze]" userId="b5a92789-231b-4933-b5e3-9c4db485d6cf" providerId="ADAL" clId="{3C7A14F0-AC9D-4C0F-B2FD-5645A9CA3617}" dt="2026-06-29T12:19:54.595" v="2676" actId="478"/>
          <ac:grpSpMkLst>
            <pc:docMk/>
            <pc:sldMk cId="165793057" sldId="298"/>
            <ac:grpSpMk id="10" creationId="{D6064D0A-8D86-B9CF-2014-67C0424DA1F1}"/>
          </ac:grpSpMkLst>
        </pc:grpChg>
        <pc:grpChg chg="del mod ord">
          <ac:chgData name="Evyan Lyngshing [Chillibreeze]" userId="b5a92789-231b-4933-b5e3-9c4db485d6cf" providerId="ADAL" clId="{3C7A14F0-AC9D-4C0F-B2FD-5645A9CA3617}" dt="2026-06-29T12:19:54.595" v="2676" actId="478"/>
          <ac:grpSpMkLst>
            <pc:docMk/>
            <pc:sldMk cId="165793057" sldId="298"/>
            <ac:grpSpMk id="30" creationId="{0C2E63C7-D577-9E40-E609-BB19D357D71B}"/>
          </ac:grpSpMkLst>
        </pc:grpChg>
        <pc:grpChg chg="add mod">
          <ac:chgData name="Evyan Lyngshing [Chillibreeze]" userId="b5a92789-231b-4933-b5e3-9c4db485d6cf" providerId="ADAL" clId="{3C7A14F0-AC9D-4C0F-B2FD-5645A9CA3617}" dt="2026-06-29T13:44:26.075" v="4447" actId="164"/>
          <ac:grpSpMkLst>
            <pc:docMk/>
            <pc:sldMk cId="165793057" sldId="298"/>
            <ac:grpSpMk id="82" creationId="{356CA042-B144-AB6A-3EA4-F27C69D2ECF7}"/>
          </ac:grpSpMkLst>
        </pc:grpChg>
        <pc:grpChg chg="del mod">
          <ac:chgData name="Evyan Lyngshing [Chillibreeze]" userId="b5a92789-231b-4933-b5e3-9c4db485d6cf" providerId="ADAL" clId="{3C7A14F0-AC9D-4C0F-B2FD-5645A9CA3617}" dt="2026-06-29T13:44:50.716" v="4450" actId="27803"/>
          <ac:grpSpMkLst>
            <pc:docMk/>
            <pc:sldMk cId="165793057" sldId="298"/>
            <ac:grpSpMk id="85" creationId="{32222122-21D7-3DD5-51D6-543A9D5BB4A4}"/>
          </ac:grpSpMkLst>
        </pc:grpChg>
        <pc:grpChg chg="add mod">
          <ac:chgData name="Evyan Lyngshing [Chillibreeze]" userId="b5a92789-231b-4933-b5e3-9c4db485d6cf" providerId="ADAL" clId="{3C7A14F0-AC9D-4C0F-B2FD-5645A9CA3617}" dt="2026-06-29T13:45:11.784" v="4466" actId="164"/>
          <ac:grpSpMkLst>
            <pc:docMk/>
            <pc:sldMk cId="165793057" sldId="298"/>
            <ac:grpSpMk id="90" creationId="{3F1C6EAF-79C9-26BA-3455-9B762440CEF8}"/>
          </ac:grpSpMkLst>
        </pc:grpChg>
        <pc:grpChg chg="add mod">
          <ac:chgData name="Evyan Lyngshing [Chillibreeze]" userId="b5a92789-231b-4933-b5e3-9c4db485d6cf" providerId="ADAL" clId="{3C7A14F0-AC9D-4C0F-B2FD-5645A9CA3617}" dt="2026-06-29T13:45:11.784" v="4466" actId="164"/>
          <ac:grpSpMkLst>
            <pc:docMk/>
            <pc:sldMk cId="165793057" sldId="298"/>
            <ac:grpSpMk id="91" creationId="{C037A05A-300B-8255-53BE-2FF35EC4080C}"/>
          </ac:grpSpMkLst>
        </pc:grpChg>
        <pc:graphicFrameChg chg="add mod ord modVis">
          <ac:chgData name="Evyan Lyngshing [Chillibreeze]" userId="b5a92789-231b-4933-b5e3-9c4db485d6cf" providerId="ADAL" clId="{3C7A14F0-AC9D-4C0F-B2FD-5645A9CA3617}" dt="2026-06-29T12:26:33.480" v="3258"/>
          <ac:graphicFrameMkLst>
            <pc:docMk/>
            <pc:sldMk cId="165793057" sldId="298"/>
            <ac:graphicFrameMk id="18" creationId="{13CBAF62-95D1-2973-63C7-676C344ABBDD}"/>
          </ac:graphicFrameMkLst>
        </pc:graphicFrameChg>
        <pc:picChg chg="mod ord">
          <ac:chgData name="Evyan Lyngshing [Chillibreeze]" userId="b5a92789-231b-4933-b5e3-9c4db485d6cf" providerId="ADAL" clId="{3C7A14F0-AC9D-4C0F-B2FD-5645A9CA3617}" dt="2026-06-29T12:26:33.473" v="3240"/>
          <ac:picMkLst>
            <pc:docMk/>
            <pc:sldMk cId="165793057" sldId="298"/>
            <ac:picMk id="27" creationId="{26EBE4ED-E191-BD9A-BC74-199E9B94F263}"/>
          </ac:picMkLst>
        </pc:picChg>
        <pc:picChg chg="mod ord">
          <ac:chgData name="Evyan Lyngshing [Chillibreeze]" userId="b5a92789-231b-4933-b5e3-9c4db485d6cf" providerId="ADAL" clId="{3C7A14F0-AC9D-4C0F-B2FD-5645A9CA3617}" dt="2026-06-29T12:26:33.473" v="3242"/>
          <ac:picMkLst>
            <pc:docMk/>
            <pc:sldMk cId="165793057" sldId="298"/>
            <ac:picMk id="43" creationId="{824F36C5-A408-0E8C-F577-D71BA85306A9}"/>
          </ac:picMkLst>
        </pc:picChg>
        <pc:picChg chg="add mod ord">
          <ac:chgData name="Evyan Lyngshing [Chillibreeze]" userId="b5a92789-231b-4933-b5e3-9c4db485d6cf" providerId="ADAL" clId="{3C7A14F0-AC9D-4C0F-B2FD-5645A9CA3617}" dt="2026-06-29T12:26:33.478" v="3254"/>
          <ac:picMkLst>
            <pc:docMk/>
            <pc:sldMk cId="165793057" sldId="298"/>
            <ac:picMk id="76" creationId="{7A5A0D2A-4FE9-B960-19A3-9F2660650DD4}"/>
          </ac:picMkLst>
        </pc:picChg>
        <pc:picChg chg="add del mod">
          <ac:chgData name="Evyan Lyngshing [Chillibreeze]" userId="b5a92789-231b-4933-b5e3-9c4db485d6cf" providerId="ADAL" clId="{3C7A14F0-AC9D-4C0F-B2FD-5645A9CA3617}" dt="2026-06-29T13:44:11.907" v="4436" actId="27803"/>
          <ac:picMkLst>
            <pc:docMk/>
            <pc:sldMk cId="165793057" sldId="298"/>
            <ac:picMk id="80" creationId="{1F7E3736-FE20-18CF-0399-EA14BD3FB835}"/>
          </ac:picMkLst>
        </pc:picChg>
        <pc:picChg chg="add del mod">
          <ac:chgData name="Evyan Lyngshing [Chillibreeze]" userId="b5a92789-231b-4933-b5e3-9c4db485d6cf" providerId="ADAL" clId="{3C7A14F0-AC9D-4C0F-B2FD-5645A9CA3617}" dt="2026-06-29T13:44:50.716" v="4450" actId="27803"/>
          <ac:picMkLst>
            <pc:docMk/>
            <pc:sldMk cId="165793057" sldId="298"/>
            <ac:picMk id="84" creationId="{E71E9EF1-34CF-BFC0-D265-01504DCC41B1}"/>
          </ac:picMkLst>
        </pc:picChg>
        <pc:cxnChg chg="del mod ord">
          <ac:chgData name="Evyan Lyngshing [Chillibreeze]" userId="b5a92789-231b-4933-b5e3-9c4db485d6cf" providerId="ADAL" clId="{3C7A14F0-AC9D-4C0F-B2FD-5645A9CA3617}" dt="2026-06-29T12:19:54.595" v="2676" actId="478"/>
          <ac:cxnSpMkLst>
            <pc:docMk/>
            <pc:sldMk cId="165793057" sldId="298"/>
            <ac:cxnSpMk id="41" creationId="{65EA7CA0-A87E-2D1A-4BBD-7C0E6BF65BAB}"/>
          </ac:cxnSpMkLst>
        </pc:cxnChg>
        <pc:cxnChg chg="del mod ord">
          <ac:chgData name="Evyan Lyngshing [Chillibreeze]" userId="b5a92789-231b-4933-b5e3-9c4db485d6cf" providerId="ADAL" clId="{3C7A14F0-AC9D-4C0F-B2FD-5645A9CA3617}" dt="2026-06-29T12:19:54.595" v="2676" actId="478"/>
          <ac:cxnSpMkLst>
            <pc:docMk/>
            <pc:sldMk cId="165793057" sldId="298"/>
            <ac:cxnSpMk id="42" creationId="{84C4AB3C-700B-DA06-B115-7A5D5EB3503A}"/>
          </ac:cxnSpMkLst>
        </pc:cxnChg>
        <pc:cxnChg chg="mod ord">
          <ac:chgData name="Evyan Lyngshing [Chillibreeze]" userId="b5a92789-231b-4933-b5e3-9c4db485d6cf" providerId="ADAL" clId="{3C7A14F0-AC9D-4C0F-B2FD-5645A9CA3617}" dt="2026-06-29T12:16:15.134" v="2544"/>
          <ac:cxnSpMkLst>
            <pc:docMk/>
            <pc:sldMk cId="165793057" sldId="298"/>
            <ac:cxnSpMk id="51" creationId="{D86AFD58-8D01-432E-3FAE-1EB1F6BBB8BA}"/>
          </ac:cxnSpMkLst>
        </pc:cxnChg>
        <pc:cxnChg chg="mod ord">
          <ac:chgData name="Evyan Lyngshing [Chillibreeze]" userId="b5a92789-231b-4933-b5e3-9c4db485d6cf" providerId="ADAL" clId="{3C7A14F0-AC9D-4C0F-B2FD-5645A9CA3617}" dt="2026-06-29T12:16:15.134" v="2546"/>
          <ac:cxnSpMkLst>
            <pc:docMk/>
            <pc:sldMk cId="165793057" sldId="298"/>
            <ac:cxnSpMk id="52" creationId="{DF8217A5-BB87-1C1D-A4D6-2239AD165C3A}"/>
          </ac:cxnSpMkLst>
        </pc:cxnChg>
        <pc:cxnChg chg="mod ord">
          <ac:chgData name="Evyan Lyngshing [Chillibreeze]" userId="b5a92789-231b-4933-b5e3-9c4db485d6cf" providerId="ADAL" clId="{3C7A14F0-AC9D-4C0F-B2FD-5645A9CA3617}" dt="2026-06-29T12:16:15.136" v="2548"/>
          <ac:cxnSpMkLst>
            <pc:docMk/>
            <pc:sldMk cId="165793057" sldId="298"/>
            <ac:cxnSpMk id="53" creationId="{FB251062-02AF-E20C-3AE8-24C31D209E2F}"/>
          </ac:cxnSpMkLst>
        </pc:cxnChg>
        <pc:cxnChg chg="del mod ord">
          <ac:chgData name="Evyan Lyngshing [Chillibreeze]" userId="b5a92789-231b-4933-b5e3-9c4db485d6cf" providerId="ADAL" clId="{3C7A14F0-AC9D-4C0F-B2FD-5645A9CA3617}" dt="2026-06-29T12:17:14.770" v="2675" actId="478"/>
          <ac:cxnSpMkLst>
            <pc:docMk/>
            <pc:sldMk cId="165793057" sldId="298"/>
            <ac:cxnSpMk id="65" creationId="{35EE753B-4D1B-59C2-3D84-70B1BBC41200}"/>
          </ac:cxnSpMkLst>
        </pc:cxnChg>
        <pc:cxnChg chg="mod ord">
          <ac:chgData name="Evyan Lyngshing [Chillibreeze]" userId="b5a92789-231b-4933-b5e3-9c4db485d6cf" providerId="ADAL" clId="{3C7A14F0-AC9D-4C0F-B2FD-5645A9CA3617}" dt="2026-06-29T12:16:15.152" v="2574"/>
          <ac:cxnSpMkLst>
            <pc:docMk/>
            <pc:sldMk cId="165793057" sldId="298"/>
            <ac:cxnSpMk id="66" creationId="{8CE71840-F012-18BC-F254-45A59F2904A1}"/>
          </ac:cxnSpMkLst>
        </pc:cxnChg>
        <pc:cxnChg chg="mod ord">
          <ac:chgData name="Evyan Lyngshing [Chillibreeze]" userId="b5a92789-231b-4933-b5e3-9c4db485d6cf" providerId="ADAL" clId="{3C7A14F0-AC9D-4C0F-B2FD-5645A9CA3617}" dt="2026-06-29T12:16:15.152" v="2576"/>
          <ac:cxnSpMkLst>
            <pc:docMk/>
            <pc:sldMk cId="165793057" sldId="298"/>
            <ac:cxnSpMk id="67" creationId="{42A4928E-8C21-5BD7-D861-AE79C9FFF62A}"/>
          </ac:cxnSpMkLst>
        </pc:cxnChg>
        <pc:cxnChg chg="mod ord">
          <ac:chgData name="Evyan Lyngshing [Chillibreeze]" userId="b5a92789-231b-4933-b5e3-9c4db485d6cf" providerId="ADAL" clId="{3C7A14F0-AC9D-4C0F-B2FD-5645A9CA3617}" dt="2026-06-29T12:16:15.158" v="2584"/>
          <ac:cxnSpMkLst>
            <pc:docMk/>
            <pc:sldMk cId="165793057" sldId="298"/>
            <ac:cxnSpMk id="71" creationId="{429CDE8E-F30C-E78D-DCB2-0F74DF580180}"/>
          </ac:cxnSpMkLst>
        </pc:cxnChg>
      </pc:sldChg>
      <pc:sldChg chg="addSp delSp modSp del mod setBg modClrScheme delAnim modAnim chgLayout">
        <pc:chgData name="Evyan Lyngshing [Chillibreeze]" userId="b5a92789-231b-4933-b5e3-9c4db485d6cf" providerId="ADAL" clId="{3C7A14F0-AC9D-4C0F-B2FD-5645A9CA3617}" dt="2026-06-29T12:25:38.956" v="2982" actId="47"/>
        <pc:sldMkLst>
          <pc:docMk/>
          <pc:sldMk cId="4151671207" sldId="299"/>
        </pc:sldMkLst>
        <pc:spChg chg="mod ord">
          <ac:chgData name="Evyan Lyngshing [Chillibreeze]" userId="b5a92789-231b-4933-b5e3-9c4db485d6cf" providerId="ADAL" clId="{3C7A14F0-AC9D-4C0F-B2FD-5645A9CA3617}" dt="2026-06-29T10:56:05.042" v="582" actId="299"/>
          <ac:spMkLst>
            <pc:docMk/>
            <pc:sldMk cId="4151671207" sldId="299"/>
            <ac:spMk id="4" creationId="{B15D0B8F-4376-9D46-9B62-21EEFCE8C7CD}"/>
          </ac:spMkLst>
        </pc:spChg>
        <pc:spChg chg="del">
          <ac:chgData name="Evyan Lyngshing [Chillibreeze]" userId="b5a92789-231b-4933-b5e3-9c4db485d6cf" providerId="ADAL" clId="{3C7A14F0-AC9D-4C0F-B2FD-5645A9CA3617}" dt="2026-06-29T09:58:27.788" v="103" actId="21"/>
          <ac:spMkLst>
            <pc:docMk/>
            <pc:sldMk cId="4151671207" sldId="299"/>
            <ac:spMk id="6" creationId="{AE79A68C-B542-1929-B903-05EC2EAB9BC2}"/>
          </ac:spMkLst>
        </pc:spChg>
        <pc:spChg chg="del">
          <ac:chgData name="Evyan Lyngshing [Chillibreeze]" userId="b5a92789-231b-4933-b5e3-9c4db485d6cf" providerId="ADAL" clId="{3C7A14F0-AC9D-4C0F-B2FD-5645A9CA3617}" dt="2026-06-29T09:58:27.788" v="103" actId="21"/>
          <ac:spMkLst>
            <pc:docMk/>
            <pc:sldMk cId="4151671207" sldId="299"/>
            <ac:spMk id="11" creationId="{98E653E3-22EC-D995-FF51-93703DE16477}"/>
          </ac:spMkLst>
        </pc:spChg>
        <pc:spChg chg="del">
          <ac:chgData name="Evyan Lyngshing [Chillibreeze]" userId="b5a92789-231b-4933-b5e3-9c4db485d6cf" providerId="ADAL" clId="{3C7A14F0-AC9D-4C0F-B2FD-5645A9CA3617}" dt="2026-06-29T09:58:27.788" v="103" actId="21"/>
          <ac:spMkLst>
            <pc:docMk/>
            <pc:sldMk cId="4151671207" sldId="299"/>
            <ac:spMk id="36" creationId="{2AE268F8-FBF6-FF8C-C030-DE61E3D7209F}"/>
          </ac:spMkLst>
        </pc:spChg>
        <pc:spChg chg="del">
          <ac:chgData name="Evyan Lyngshing [Chillibreeze]" userId="b5a92789-231b-4933-b5e3-9c4db485d6cf" providerId="ADAL" clId="{3C7A14F0-AC9D-4C0F-B2FD-5645A9CA3617}" dt="2026-06-29T09:58:27.788" v="103" actId="21"/>
          <ac:spMkLst>
            <pc:docMk/>
            <pc:sldMk cId="4151671207" sldId="299"/>
            <ac:spMk id="37" creationId="{44813602-F5BC-C34F-8818-F5AC651A5A25}"/>
          </ac:spMkLst>
        </pc:spChg>
        <pc:spChg chg="del">
          <ac:chgData name="Evyan Lyngshing [Chillibreeze]" userId="b5a92789-231b-4933-b5e3-9c4db485d6cf" providerId="ADAL" clId="{3C7A14F0-AC9D-4C0F-B2FD-5645A9CA3617}" dt="2026-06-29T09:58:27.788" v="103" actId="21"/>
          <ac:spMkLst>
            <pc:docMk/>
            <pc:sldMk cId="4151671207" sldId="299"/>
            <ac:spMk id="45" creationId="{34BF3542-0516-EA2B-C001-1D702F7CA1D0}"/>
          </ac:spMkLst>
        </pc:spChg>
        <pc:spChg chg="del">
          <ac:chgData name="Evyan Lyngshing [Chillibreeze]" userId="b5a92789-231b-4933-b5e3-9c4db485d6cf" providerId="ADAL" clId="{3C7A14F0-AC9D-4C0F-B2FD-5645A9CA3617}" dt="2026-06-29T09:58:27.788" v="103" actId="21"/>
          <ac:spMkLst>
            <pc:docMk/>
            <pc:sldMk cId="4151671207" sldId="299"/>
            <ac:spMk id="58" creationId="{57381B24-5DAC-6BA0-EBFF-7DF39D439864}"/>
          </ac:spMkLst>
        </pc:spChg>
        <pc:spChg chg="del">
          <ac:chgData name="Evyan Lyngshing [Chillibreeze]" userId="b5a92789-231b-4933-b5e3-9c4db485d6cf" providerId="ADAL" clId="{3C7A14F0-AC9D-4C0F-B2FD-5645A9CA3617}" dt="2026-06-29T09:58:27.788" v="103" actId="21"/>
          <ac:spMkLst>
            <pc:docMk/>
            <pc:sldMk cId="4151671207" sldId="299"/>
            <ac:spMk id="73" creationId="{E5002351-6183-E796-D26E-DBAD36D062C2}"/>
          </ac:spMkLst>
        </pc:spChg>
        <pc:spChg chg="add del mod">
          <ac:chgData name="Evyan Lyngshing [Chillibreeze]" userId="b5a92789-231b-4933-b5e3-9c4db485d6cf" providerId="ADAL" clId="{3C7A14F0-AC9D-4C0F-B2FD-5645A9CA3617}" dt="2026-06-29T09:58:23.459" v="99" actId="6264"/>
          <ac:spMkLst>
            <pc:docMk/>
            <pc:sldMk cId="4151671207" sldId="299"/>
            <ac:spMk id="83" creationId="{CFFB1BDD-85F2-367B-D716-F15EFA63783C}"/>
          </ac:spMkLst>
        </pc:spChg>
        <pc:spChg chg="add mod ord">
          <ac:chgData name="Evyan Lyngshing [Chillibreeze]" userId="b5a92789-231b-4933-b5e3-9c4db485d6cf" providerId="ADAL" clId="{3C7A14F0-AC9D-4C0F-B2FD-5645A9CA3617}" dt="2026-06-29T10:49:06.556" v="488"/>
          <ac:spMkLst>
            <pc:docMk/>
            <pc:sldMk cId="4151671207" sldId="299"/>
            <ac:spMk id="85" creationId="{C4A823BC-D4FD-288C-A8F0-774133F1437A}"/>
          </ac:spMkLst>
        </pc:spChg>
        <pc:spChg chg="del">
          <ac:chgData name="Evyan Lyngshing [Chillibreeze]" userId="b5a92789-231b-4933-b5e3-9c4db485d6cf" providerId="ADAL" clId="{3C7A14F0-AC9D-4C0F-B2FD-5645A9CA3617}" dt="2026-06-29T09:58:27.788" v="103" actId="21"/>
          <ac:spMkLst>
            <pc:docMk/>
            <pc:sldMk cId="4151671207" sldId="299"/>
            <ac:spMk id="91" creationId="{1FAA8171-5B52-21D7-6306-2FD725034589}"/>
          </ac:spMkLst>
        </pc:spChg>
        <pc:spChg chg="del">
          <ac:chgData name="Evyan Lyngshing [Chillibreeze]" userId="b5a92789-231b-4933-b5e3-9c4db485d6cf" providerId="ADAL" clId="{3C7A14F0-AC9D-4C0F-B2FD-5645A9CA3617}" dt="2026-06-29T09:58:27.788" v="103" actId="21"/>
          <ac:spMkLst>
            <pc:docMk/>
            <pc:sldMk cId="4151671207" sldId="299"/>
            <ac:spMk id="100" creationId="{31E0B7C6-7740-9EE8-CF42-598BBD4E3F28}"/>
          </ac:spMkLst>
        </pc:spChg>
        <pc:spChg chg="del">
          <ac:chgData name="Evyan Lyngshing [Chillibreeze]" userId="b5a92789-231b-4933-b5e3-9c4db485d6cf" providerId="ADAL" clId="{3C7A14F0-AC9D-4C0F-B2FD-5645A9CA3617}" dt="2026-06-29T09:58:27.788" v="103" actId="21"/>
          <ac:spMkLst>
            <pc:docMk/>
            <pc:sldMk cId="4151671207" sldId="299"/>
            <ac:spMk id="101" creationId="{D8156E95-809C-30FB-1F77-C697EDA2E348}"/>
          </ac:spMkLst>
        </pc:spChg>
        <pc:spChg chg="add del mod">
          <ac:chgData name="Evyan Lyngshing [Chillibreeze]" userId="b5a92789-231b-4933-b5e3-9c4db485d6cf" providerId="ADAL" clId="{3C7A14F0-AC9D-4C0F-B2FD-5645A9CA3617}" dt="2026-06-29T10:00:34.841" v="126" actId="6264"/>
          <ac:spMkLst>
            <pc:docMk/>
            <pc:sldMk cId="4151671207" sldId="299"/>
            <ac:spMk id="102" creationId="{AA1E5185-53ED-B6FA-0A72-164CA26A3230}"/>
          </ac:spMkLst>
        </pc:spChg>
        <pc:spChg chg="add del mod">
          <ac:chgData name="Evyan Lyngshing [Chillibreeze]" userId="b5a92789-231b-4933-b5e3-9c4db485d6cf" providerId="ADAL" clId="{3C7A14F0-AC9D-4C0F-B2FD-5645A9CA3617}" dt="2026-06-29T10:01:24.349" v="152" actId="21"/>
          <ac:spMkLst>
            <pc:docMk/>
            <pc:sldMk cId="4151671207" sldId="299"/>
            <ac:spMk id="103" creationId="{0B0BBF03-548E-7DEC-39C4-50277A1AA562}"/>
          </ac:spMkLst>
        </pc:spChg>
        <pc:spChg chg="add mod ord topLvl">
          <ac:chgData name="Evyan Lyngshing [Chillibreeze]" userId="b5a92789-231b-4933-b5e3-9c4db485d6cf" providerId="ADAL" clId="{3C7A14F0-AC9D-4C0F-B2FD-5645A9CA3617}" dt="2026-06-29T10:49:06.557" v="492"/>
          <ac:spMkLst>
            <pc:docMk/>
            <pc:sldMk cId="4151671207" sldId="299"/>
            <ac:spMk id="104" creationId="{3E8A5D4E-9E9F-200A-C75A-45E25D37710C}"/>
          </ac:spMkLst>
        </pc:spChg>
        <pc:spChg chg="add mod ord topLvl">
          <ac:chgData name="Evyan Lyngshing [Chillibreeze]" userId="b5a92789-231b-4933-b5e3-9c4db485d6cf" providerId="ADAL" clId="{3C7A14F0-AC9D-4C0F-B2FD-5645A9CA3617}" dt="2026-06-29T10:49:06.557" v="494"/>
          <ac:spMkLst>
            <pc:docMk/>
            <pc:sldMk cId="4151671207" sldId="299"/>
            <ac:spMk id="105" creationId="{ABA29B8E-9B66-3BCF-F2DF-091788A71028}"/>
          </ac:spMkLst>
        </pc:spChg>
        <pc:spChg chg="add del mod">
          <ac:chgData name="Evyan Lyngshing [Chillibreeze]" userId="b5a92789-231b-4933-b5e3-9c4db485d6cf" providerId="ADAL" clId="{3C7A14F0-AC9D-4C0F-B2FD-5645A9CA3617}" dt="2026-06-29T10:12:23.009" v="188" actId="21"/>
          <ac:spMkLst>
            <pc:docMk/>
            <pc:sldMk cId="4151671207" sldId="299"/>
            <ac:spMk id="108" creationId="{E67490A5-D522-D977-D8B4-29F0B6C4B77D}"/>
          </ac:spMkLst>
        </pc:spChg>
        <pc:spChg chg="add del mod">
          <ac:chgData name="Evyan Lyngshing [Chillibreeze]" userId="b5a92789-231b-4933-b5e3-9c4db485d6cf" providerId="ADAL" clId="{3C7A14F0-AC9D-4C0F-B2FD-5645A9CA3617}" dt="2026-06-29T10:16:58.748" v="230" actId="21"/>
          <ac:spMkLst>
            <pc:docMk/>
            <pc:sldMk cId="4151671207" sldId="299"/>
            <ac:spMk id="109" creationId="{B07F8A9E-B45F-F7F7-AA54-6095B87871E9}"/>
          </ac:spMkLst>
        </pc:spChg>
        <pc:spChg chg="add mod topLvl">
          <ac:chgData name="Evyan Lyngshing [Chillibreeze]" userId="b5a92789-231b-4933-b5e3-9c4db485d6cf" providerId="ADAL" clId="{3C7A14F0-AC9D-4C0F-B2FD-5645A9CA3617}" dt="2026-06-29T10:54:55.135" v="549" actId="165"/>
          <ac:spMkLst>
            <pc:docMk/>
            <pc:sldMk cId="4151671207" sldId="299"/>
            <ac:spMk id="110" creationId="{2145139E-8518-C2A7-571F-FA59E1BB602C}"/>
          </ac:spMkLst>
        </pc:spChg>
        <pc:spChg chg="add mod topLvl">
          <ac:chgData name="Evyan Lyngshing [Chillibreeze]" userId="b5a92789-231b-4933-b5e3-9c4db485d6cf" providerId="ADAL" clId="{3C7A14F0-AC9D-4C0F-B2FD-5645A9CA3617}" dt="2026-06-29T10:54:55.135" v="549" actId="165"/>
          <ac:spMkLst>
            <pc:docMk/>
            <pc:sldMk cId="4151671207" sldId="299"/>
            <ac:spMk id="112" creationId="{8DA26F84-668C-B70D-2421-CE756485535D}"/>
          </ac:spMkLst>
        </pc:spChg>
        <pc:spChg chg="add mod topLvl">
          <ac:chgData name="Evyan Lyngshing [Chillibreeze]" userId="b5a92789-231b-4933-b5e3-9c4db485d6cf" providerId="ADAL" clId="{3C7A14F0-AC9D-4C0F-B2FD-5645A9CA3617}" dt="2026-06-29T10:54:55.135" v="549" actId="165"/>
          <ac:spMkLst>
            <pc:docMk/>
            <pc:sldMk cId="4151671207" sldId="299"/>
            <ac:spMk id="113" creationId="{623AF179-3AE5-426C-41DE-77995EFF418F}"/>
          </ac:spMkLst>
        </pc:spChg>
        <pc:spChg chg="add mod topLvl">
          <ac:chgData name="Evyan Lyngshing [Chillibreeze]" userId="b5a92789-231b-4933-b5e3-9c4db485d6cf" providerId="ADAL" clId="{3C7A14F0-AC9D-4C0F-B2FD-5645A9CA3617}" dt="2026-06-29T10:54:55.135" v="549" actId="165"/>
          <ac:spMkLst>
            <pc:docMk/>
            <pc:sldMk cId="4151671207" sldId="299"/>
            <ac:spMk id="114" creationId="{F39A94E7-B275-307C-B3C9-AD31FE89D7E1}"/>
          </ac:spMkLst>
        </pc:spChg>
        <pc:spChg chg="add mod topLvl">
          <ac:chgData name="Evyan Lyngshing [Chillibreeze]" userId="b5a92789-231b-4933-b5e3-9c4db485d6cf" providerId="ADAL" clId="{3C7A14F0-AC9D-4C0F-B2FD-5645A9CA3617}" dt="2026-06-29T10:55:19.115" v="552" actId="1076"/>
          <ac:spMkLst>
            <pc:docMk/>
            <pc:sldMk cId="4151671207" sldId="299"/>
            <ac:spMk id="131" creationId="{B658DD68-B970-71BD-2696-C3E96D86AB9E}"/>
          </ac:spMkLst>
        </pc:spChg>
        <pc:spChg chg="add mod topLvl">
          <ac:chgData name="Evyan Lyngshing [Chillibreeze]" userId="b5a92789-231b-4933-b5e3-9c4db485d6cf" providerId="ADAL" clId="{3C7A14F0-AC9D-4C0F-B2FD-5645A9CA3617}" dt="2026-06-29T10:55:19.115" v="552" actId="1076"/>
          <ac:spMkLst>
            <pc:docMk/>
            <pc:sldMk cId="4151671207" sldId="299"/>
            <ac:spMk id="132" creationId="{3CC5E507-6B7C-F6B9-BF68-AE61F58BEBE1}"/>
          </ac:spMkLst>
        </pc:spChg>
        <pc:spChg chg="add mod topLvl">
          <ac:chgData name="Evyan Lyngshing [Chillibreeze]" userId="b5a92789-231b-4933-b5e3-9c4db485d6cf" providerId="ADAL" clId="{3C7A14F0-AC9D-4C0F-B2FD-5645A9CA3617}" dt="2026-06-29T10:55:19.115" v="552" actId="1076"/>
          <ac:spMkLst>
            <pc:docMk/>
            <pc:sldMk cId="4151671207" sldId="299"/>
            <ac:spMk id="133" creationId="{C2CA4F19-1835-F679-DA71-28902EDCB2BC}"/>
          </ac:spMkLst>
        </pc:spChg>
        <pc:spChg chg="add mod topLvl">
          <ac:chgData name="Evyan Lyngshing [Chillibreeze]" userId="b5a92789-231b-4933-b5e3-9c4db485d6cf" providerId="ADAL" clId="{3C7A14F0-AC9D-4C0F-B2FD-5645A9CA3617}" dt="2026-06-29T10:55:19.115" v="552" actId="1076"/>
          <ac:spMkLst>
            <pc:docMk/>
            <pc:sldMk cId="4151671207" sldId="299"/>
            <ac:spMk id="134" creationId="{F4FE7CCA-D4B6-1E77-80A3-8ED3D09A71D1}"/>
          </ac:spMkLst>
        </pc:spChg>
        <pc:spChg chg="mod ord topLvl">
          <ac:chgData name="Evyan Lyngshing [Chillibreeze]" userId="b5a92789-231b-4933-b5e3-9c4db485d6cf" providerId="ADAL" clId="{3C7A14F0-AC9D-4C0F-B2FD-5645A9CA3617}" dt="2026-06-29T10:49:06.558" v="498"/>
          <ac:spMkLst>
            <pc:docMk/>
            <pc:sldMk cId="4151671207" sldId="299"/>
            <ac:spMk id="137" creationId="{4344526E-5126-7F73-9E0D-27DB06398105}"/>
          </ac:spMkLst>
        </pc:spChg>
        <pc:spChg chg="mod ord topLvl">
          <ac:chgData name="Evyan Lyngshing [Chillibreeze]" userId="b5a92789-231b-4933-b5e3-9c4db485d6cf" providerId="ADAL" clId="{3C7A14F0-AC9D-4C0F-B2FD-5645A9CA3617}" dt="2026-06-29T10:49:06.558" v="500"/>
          <ac:spMkLst>
            <pc:docMk/>
            <pc:sldMk cId="4151671207" sldId="299"/>
            <ac:spMk id="138" creationId="{BEA7080B-6061-D87E-56AC-35415F7B043B}"/>
          </ac:spMkLst>
        </pc:spChg>
        <pc:spChg chg="mod ord topLvl">
          <ac:chgData name="Evyan Lyngshing [Chillibreeze]" userId="b5a92789-231b-4933-b5e3-9c4db485d6cf" providerId="ADAL" clId="{3C7A14F0-AC9D-4C0F-B2FD-5645A9CA3617}" dt="2026-06-29T10:49:06.559" v="502"/>
          <ac:spMkLst>
            <pc:docMk/>
            <pc:sldMk cId="4151671207" sldId="299"/>
            <ac:spMk id="139" creationId="{AC67F9FA-F062-A257-7FF4-BE3806188363}"/>
          </ac:spMkLst>
        </pc:spChg>
        <pc:spChg chg="mod ord topLvl">
          <ac:chgData name="Evyan Lyngshing [Chillibreeze]" userId="b5a92789-231b-4933-b5e3-9c4db485d6cf" providerId="ADAL" clId="{3C7A14F0-AC9D-4C0F-B2FD-5645A9CA3617}" dt="2026-06-29T10:49:06.559" v="504"/>
          <ac:spMkLst>
            <pc:docMk/>
            <pc:sldMk cId="4151671207" sldId="299"/>
            <ac:spMk id="140" creationId="{A5EA8306-BC17-D928-855B-329C855D81A5}"/>
          </ac:spMkLst>
        </pc:spChg>
        <pc:spChg chg="mod ord topLvl">
          <ac:chgData name="Evyan Lyngshing [Chillibreeze]" userId="b5a92789-231b-4933-b5e3-9c4db485d6cf" providerId="ADAL" clId="{3C7A14F0-AC9D-4C0F-B2FD-5645A9CA3617}" dt="2026-06-29T10:55:19.115" v="552" actId="1076"/>
          <ac:spMkLst>
            <pc:docMk/>
            <pc:sldMk cId="4151671207" sldId="299"/>
            <ac:spMk id="144" creationId="{06B82C3C-E4B2-1A5A-AFE9-430F286175B3}"/>
          </ac:spMkLst>
        </pc:spChg>
        <pc:spChg chg="mod ord topLvl">
          <ac:chgData name="Evyan Lyngshing [Chillibreeze]" userId="b5a92789-231b-4933-b5e3-9c4db485d6cf" providerId="ADAL" clId="{3C7A14F0-AC9D-4C0F-B2FD-5645A9CA3617}" dt="2026-06-29T10:55:19.115" v="552" actId="1076"/>
          <ac:spMkLst>
            <pc:docMk/>
            <pc:sldMk cId="4151671207" sldId="299"/>
            <ac:spMk id="145" creationId="{5F8E4220-1315-CCE1-1D7E-BB8D297EB1E5}"/>
          </ac:spMkLst>
        </pc:spChg>
        <pc:spChg chg="mod ord topLvl">
          <ac:chgData name="Evyan Lyngshing [Chillibreeze]" userId="b5a92789-231b-4933-b5e3-9c4db485d6cf" providerId="ADAL" clId="{3C7A14F0-AC9D-4C0F-B2FD-5645A9CA3617}" dt="2026-06-29T10:55:19.115" v="552" actId="1076"/>
          <ac:spMkLst>
            <pc:docMk/>
            <pc:sldMk cId="4151671207" sldId="299"/>
            <ac:spMk id="146" creationId="{88921DD6-BE68-00D5-EBAD-517005B35F02}"/>
          </ac:spMkLst>
        </pc:spChg>
        <pc:spChg chg="mod ord topLvl">
          <ac:chgData name="Evyan Lyngshing [Chillibreeze]" userId="b5a92789-231b-4933-b5e3-9c4db485d6cf" providerId="ADAL" clId="{3C7A14F0-AC9D-4C0F-B2FD-5645A9CA3617}" dt="2026-06-29T10:55:19.115" v="552" actId="1076"/>
          <ac:spMkLst>
            <pc:docMk/>
            <pc:sldMk cId="4151671207" sldId="299"/>
            <ac:spMk id="147" creationId="{AFD0BA20-05A2-EC39-A709-883641AE86C0}"/>
          </ac:spMkLst>
        </pc:spChg>
        <pc:spChg chg="add mod ord topLvl">
          <ac:chgData name="Evyan Lyngshing [Chillibreeze]" userId="b5a92789-231b-4933-b5e3-9c4db485d6cf" providerId="ADAL" clId="{3C7A14F0-AC9D-4C0F-B2FD-5645A9CA3617}" dt="2026-06-29T10:49:06.564" v="520"/>
          <ac:spMkLst>
            <pc:docMk/>
            <pc:sldMk cId="4151671207" sldId="299"/>
            <ac:spMk id="148" creationId="{E12099EB-F694-1FDD-DE21-D26089E13F8D}"/>
          </ac:spMkLst>
        </pc:spChg>
        <pc:spChg chg="add mod ord">
          <ac:chgData name="Evyan Lyngshing [Chillibreeze]" userId="b5a92789-231b-4933-b5e3-9c4db485d6cf" providerId="ADAL" clId="{3C7A14F0-AC9D-4C0F-B2FD-5645A9CA3617}" dt="2026-06-29T10:55:19.115" v="552" actId="1076"/>
          <ac:spMkLst>
            <pc:docMk/>
            <pc:sldMk cId="4151671207" sldId="299"/>
            <ac:spMk id="150" creationId="{6D65A08B-3F7C-3107-DB0D-8F2F89DF1B55}"/>
          </ac:spMkLst>
        </pc:spChg>
        <pc:spChg chg="add mod">
          <ac:chgData name="Evyan Lyngshing [Chillibreeze]" userId="b5a92789-231b-4933-b5e3-9c4db485d6cf" providerId="ADAL" clId="{3C7A14F0-AC9D-4C0F-B2FD-5645A9CA3617}" dt="2026-06-29T10:56:10.859" v="586" actId="1076"/>
          <ac:spMkLst>
            <pc:docMk/>
            <pc:sldMk cId="4151671207" sldId="299"/>
            <ac:spMk id="153" creationId="{0710144E-3BC8-F686-4916-12DBDDBF290B}"/>
          </ac:spMkLst>
        </pc:spChg>
        <pc:grpChg chg="add del mod">
          <ac:chgData name="Evyan Lyngshing [Chillibreeze]" userId="b5a92789-231b-4933-b5e3-9c4db485d6cf" providerId="ADAL" clId="{3C7A14F0-AC9D-4C0F-B2FD-5645A9CA3617}" dt="2026-06-29T10:02:21.165" v="175" actId="165"/>
          <ac:grpSpMkLst>
            <pc:docMk/>
            <pc:sldMk cId="4151671207" sldId="299"/>
            <ac:grpSpMk id="106" creationId="{F14ACD3A-5718-25A9-DBCD-63492BF2B361}"/>
          </ac:grpSpMkLst>
        </pc:grpChg>
        <pc:grpChg chg="add del mod">
          <ac:chgData name="Evyan Lyngshing [Chillibreeze]" userId="b5a92789-231b-4933-b5e3-9c4db485d6cf" providerId="ADAL" clId="{3C7A14F0-AC9D-4C0F-B2FD-5645A9CA3617}" dt="2026-06-29T10:05:12.240" v="179" actId="165"/>
          <ac:grpSpMkLst>
            <pc:docMk/>
            <pc:sldMk cId="4151671207" sldId="299"/>
            <ac:grpSpMk id="107" creationId="{7FF6FF33-2616-46C0-1133-CF2DE1D87F2C}"/>
          </ac:grpSpMkLst>
        </pc:grpChg>
        <pc:grpChg chg="add del mod">
          <ac:chgData name="Evyan Lyngshing [Chillibreeze]" userId="b5a92789-231b-4933-b5e3-9c4db485d6cf" providerId="ADAL" clId="{3C7A14F0-AC9D-4C0F-B2FD-5645A9CA3617}" dt="2026-06-29T10:29:47.559" v="327" actId="165"/>
          <ac:grpSpMkLst>
            <pc:docMk/>
            <pc:sldMk cId="4151671207" sldId="299"/>
            <ac:grpSpMk id="128" creationId="{64AD3CDF-48E4-F39D-4874-A386D71C09E5}"/>
          </ac:grpSpMkLst>
        </pc:grpChg>
        <pc:grpChg chg="add del mod">
          <ac:chgData name="Evyan Lyngshing [Chillibreeze]" userId="b5a92789-231b-4933-b5e3-9c4db485d6cf" providerId="ADAL" clId="{3C7A14F0-AC9D-4C0F-B2FD-5645A9CA3617}" dt="2026-06-29T10:30:29.598" v="350" actId="165"/>
          <ac:grpSpMkLst>
            <pc:docMk/>
            <pc:sldMk cId="4151671207" sldId="299"/>
            <ac:grpSpMk id="129" creationId="{E499E07C-776C-F50A-7BD1-0A6927FBD0BC}"/>
          </ac:grpSpMkLst>
        </pc:grpChg>
        <pc:grpChg chg="add del mod ord">
          <ac:chgData name="Evyan Lyngshing [Chillibreeze]" userId="b5a92789-231b-4933-b5e3-9c4db485d6cf" providerId="ADAL" clId="{3C7A14F0-AC9D-4C0F-B2FD-5645A9CA3617}" dt="2026-06-29T10:54:55.135" v="549" actId="165"/>
          <ac:grpSpMkLst>
            <pc:docMk/>
            <pc:sldMk cId="4151671207" sldId="299"/>
            <ac:grpSpMk id="135" creationId="{22C06B08-6E3B-2FD4-8D18-79ADD94C0C56}"/>
          </ac:grpSpMkLst>
        </pc:grpChg>
        <pc:grpChg chg="add del mod">
          <ac:chgData name="Evyan Lyngshing [Chillibreeze]" userId="b5a92789-231b-4933-b5e3-9c4db485d6cf" providerId="ADAL" clId="{3C7A14F0-AC9D-4C0F-B2FD-5645A9CA3617}" dt="2026-06-29T10:39:29.200" v="465" actId="165"/>
          <ac:grpSpMkLst>
            <pc:docMk/>
            <pc:sldMk cId="4151671207" sldId="299"/>
            <ac:grpSpMk id="136" creationId="{2ED82C90-5E3F-0657-8670-0AD56750C26F}"/>
          </ac:grpSpMkLst>
        </pc:grpChg>
        <pc:grpChg chg="add del mod">
          <ac:chgData name="Evyan Lyngshing [Chillibreeze]" userId="b5a92789-231b-4933-b5e3-9c4db485d6cf" providerId="ADAL" clId="{3C7A14F0-AC9D-4C0F-B2FD-5645A9CA3617}" dt="2026-06-29T10:55:40.145" v="556" actId="165"/>
          <ac:grpSpMkLst>
            <pc:docMk/>
            <pc:sldMk cId="4151671207" sldId="299"/>
            <ac:grpSpMk id="152" creationId="{614A285C-4EB6-2658-6850-B6022ABAE221}"/>
          </ac:grpSpMkLst>
        </pc:grpChg>
        <pc:graphicFrameChg chg="add mod ord modVis">
          <ac:chgData name="Evyan Lyngshing [Chillibreeze]" userId="b5a92789-231b-4933-b5e3-9c4db485d6cf" providerId="ADAL" clId="{3C7A14F0-AC9D-4C0F-B2FD-5645A9CA3617}" dt="2026-06-29T10:49:06.565" v="526"/>
          <ac:graphicFrameMkLst>
            <pc:docMk/>
            <pc:sldMk cId="4151671207" sldId="299"/>
            <ac:graphicFrameMk id="82" creationId="{ECC37EB6-465D-4A24-4CA5-6367512853AC}"/>
          </ac:graphicFrameMkLst>
        </pc:graphicFrameChg>
        <pc:picChg chg="add mod ord modCrop">
          <ac:chgData name="Evyan Lyngshing [Chillibreeze]" userId="b5a92789-231b-4933-b5e3-9c4db485d6cf" providerId="ADAL" clId="{3C7A14F0-AC9D-4C0F-B2FD-5645A9CA3617}" dt="2026-06-29T10:49:06.555" v="486"/>
          <ac:picMkLst>
            <pc:docMk/>
            <pc:sldMk cId="4151671207" sldId="299"/>
            <ac:picMk id="84" creationId="{B6EEB920-02F7-0CD6-5390-D9107DBDA683}"/>
          </ac:picMkLst>
        </pc:picChg>
        <pc:picChg chg="add del mod">
          <ac:chgData name="Evyan Lyngshing [Chillibreeze]" userId="b5a92789-231b-4933-b5e3-9c4db485d6cf" providerId="ADAL" clId="{3C7A14F0-AC9D-4C0F-B2FD-5645A9CA3617}" dt="2026-06-29T10:31:28.745" v="353" actId="21"/>
          <ac:picMkLst>
            <pc:docMk/>
            <pc:sldMk cId="4151671207" sldId="299"/>
            <ac:picMk id="130" creationId="{A377D6EF-4FE7-437E-82F5-2D953AD233D8}"/>
          </ac:picMkLst>
        </pc:picChg>
        <pc:picChg chg="add mod ord">
          <ac:chgData name="Evyan Lyngshing [Chillibreeze]" userId="b5a92789-231b-4933-b5e3-9c4db485d6cf" providerId="ADAL" clId="{3C7A14F0-AC9D-4C0F-B2FD-5645A9CA3617}" dt="2026-06-29T10:49:13.740" v="548" actId="207"/>
          <ac:picMkLst>
            <pc:docMk/>
            <pc:sldMk cId="4151671207" sldId="299"/>
            <ac:picMk id="151" creationId="{5F171160-41BD-5A52-65B5-B106B9B46DCA}"/>
          </ac:picMkLst>
        </pc:picChg>
        <pc:cxnChg chg="add mod topLvl">
          <ac:chgData name="Evyan Lyngshing [Chillibreeze]" userId="b5a92789-231b-4933-b5e3-9c4db485d6cf" providerId="ADAL" clId="{3C7A14F0-AC9D-4C0F-B2FD-5645A9CA3617}" dt="2026-06-29T10:30:29.598" v="350" actId="165"/>
          <ac:cxnSpMkLst>
            <pc:docMk/>
            <pc:sldMk cId="4151671207" sldId="299"/>
            <ac:cxnSpMk id="115" creationId="{49F440C5-EB5D-268C-F9F9-E44618EE620E}"/>
          </ac:cxnSpMkLst>
        </pc:cxnChg>
        <pc:cxnChg chg="add mod topLvl">
          <ac:chgData name="Evyan Lyngshing [Chillibreeze]" userId="b5a92789-231b-4933-b5e3-9c4db485d6cf" providerId="ADAL" clId="{3C7A14F0-AC9D-4C0F-B2FD-5645A9CA3617}" dt="2026-06-29T10:54:55.135" v="549" actId="165"/>
          <ac:cxnSpMkLst>
            <pc:docMk/>
            <pc:sldMk cId="4151671207" sldId="299"/>
            <ac:cxnSpMk id="124" creationId="{919A9D39-2264-A0D1-0EF2-5610C1FB0A83}"/>
          </ac:cxnSpMkLst>
        </pc:cxnChg>
        <pc:cxnChg chg="add mod topLvl">
          <ac:chgData name="Evyan Lyngshing [Chillibreeze]" userId="b5a92789-231b-4933-b5e3-9c4db485d6cf" providerId="ADAL" clId="{3C7A14F0-AC9D-4C0F-B2FD-5645A9CA3617}" dt="2026-06-29T10:30:29.598" v="350" actId="165"/>
          <ac:cxnSpMkLst>
            <pc:docMk/>
            <pc:sldMk cId="4151671207" sldId="299"/>
            <ac:cxnSpMk id="127" creationId="{067B3466-CC78-D447-5C20-E32646D2CE78}"/>
          </ac:cxnSpMkLst>
        </pc:cxnChg>
        <pc:cxnChg chg="mod ord topLvl">
          <ac:chgData name="Evyan Lyngshing [Chillibreeze]" userId="b5a92789-231b-4933-b5e3-9c4db485d6cf" providerId="ADAL" clId="{3C7A14F0-AC9D-4C0F-B2FD-5645A9CA3617}" dt="2026-06-29T10:55:40.145" v="556" actId="165"/>
          <ac:cxnSpMkLst>
            <pc:docMk/>
            <pc:sldMk cId="4151671207" sldId="299"/>
            <ac:cxnSpMk id="141" creationId="{9788657D-3AAB-3739-1DF6-80F254A314AA}"/>
          </ac:cxnSpMkLst>
        </pc:cxnChg>
        <pc:cxnChg chg="mod ord topLvl">
          <ac:chgData name="Evyan Lyngshing [Chillibreeze]" userId="b5a92789-231b-4933-b5e3-9c4db485d6cf" providerId="ADAL" clId="{3C7A14F0-AC9D-4C0F-B2FD-5645A9CA3617}" dt="2026-06-29T10:55:40.145" v="556" actId="165"/>
          <ac:cxnSpMkLst>
            <pc:docMk/>
            <pc:sldMk cId="4151671207" sldId="299"/>
            <ac:cxnSpMk id="142" creationId="{1BCC0571-9595-92CC-8B58-6BFEAB3FF763}"/>
          </ac:cxnSpMkLst>
        </pc:cxnChg>
        <pc:cxnChg chg="mod ord topLvl">
          <ac:chgData name="Evyan Lyngshing [Chillibreeze]" userId="b5a92789-231b-4933-b5e3-9c4db485d6cf" providerId="ADAL" clId="{3C7A14F0-AC9D-4C0F-B2FD-5645A9CA3617}" dt="2026-06-29T10:55:40.145" v="556" actId="165"/>
          <ac:cxnSpMkLst>
            <pc:docMk/>
            <pc:sldMk cId="4151671207" sldId="299"/>
            <ac:cxnSpMk id="143" creationId="{B2D7F29B-317C-6734-0179-6D0B2A5E98BF}"/>
          </ac:cxnSpMkLst>
        </pc:cxnChg>
        <pc:cxnChg chg="mod ord topLvl">
          <ac:chgData name="Evyan Lyngshing [Chillibreeze]" userId="b5a92789-231b-4933-b5e3-9c4db485d6cf" providerId="ADAL" clId="{3C7A14F0-AC9D-4C0F-B2FD-5645A9CA3617}" dt="2026-06-29T10:55:40.145" v="556" actId="165"/>
          <ac:cxnSpMkLst>
            <pc:docMk/>
            <pc:sldMk cId="4151671207" sldId="299"/>
            <ac:cxnSpMk id="149" creationId="{53C1941A-B076-F097-5799-5D5C6B49CDCC}"/>
          </ac:cxnSpMkLst>
        </pc:cxnChg>
      </pc:sldChg>
      <pc:sldChg chg="add del">
        <pc:chgData name="Evyan Lyngshing [Chillibreeze]" userId="b5a92789-231b-4933-b5e3-9c4db485d6cf" providerId="ADAL" clId="{3C7A14F0-AC9D-4C0F-B2FD-5645A9CA3617}" dt="2026-06-29T09:56:00.341" v="20" actId="47"/>
        <pc:sldMkLst>
          <pc:docMk/>
          <pc:sldMk cId="155322753" sldId="4169"/>
        </pc:sldMkLst>
      </pc:sldChg>
      <pc:sldChg chg="addSp delSp modSp mod modClrScheme chgLayout">
        <pc:chgData name="Evyan Lyngshing [Chillibreeze]" userId="b5a92789-231b-4933-b5e3-9c4db485d6cf" providerId="ADAL" clId="{3C7A14F0-AC9D-4C0F-B2FD-5645A9CA3617}" dt="2026-06-29T09:57:22.085" v="44" actId="299"/>
        <pc:sldMkLst>
          <pc:docMk/>
          <pc:sldMk cId="1949283552" sldId="2134807290"/>
        </pc:sldMkLst>
        <pc:spChg chg="add del mod ord">
          <ac:chgData name="Evyan Lyngshing [Chillibreeze]" userId="b5a92789-231b-4933-b5e3-9c4db485d6cf" providerId="ADAL" clId="{3C7A14F0-AC9D-4C0F-B2FD-5645A9CA3617}" dt="2026-06-29T09:55:44.107" v="2" actId="700"/>
          <ac:spMkLst>
            <pc:docMk/>
            <pc:sldMk cId="1949283552" sldId="2134807290"/>
            <ac:spMk id="2" creationId="{09561A32-1F48-C3DA-5A4B-AEA8E00E877B}"/>
          </ac:spMkLst>
        </pc:spChg>
        <pc:spChg chg="del mod">
          <ac:chgData name="Evyan Lyngshing [Chillibreeze]" userId="b5a92789-231b-4933-b5e3-9c4db485d6cf" providerId="ADAL" clId="{3C7A14F0-AC9D-4C0F-B2FD-5645A9CA3617}" dt="2026-06-29T09:56:41.689" v="36" actId="478"/>
          <ac:spMkLst>
            <pc:docMk/>
            <pc:sldMk cId="1949283552" sldId="2134807290"/>
            <ac:spMk id="3" creationId="{A8FB6AF6-E46F-EDFF-82F3-670B547DD6F9}"/>
          </ac:spMkLst>
        </pc:spChg>
        <pc:spChg chg="add del mod ord">
          <ac:chgData name="Evyan Lyngshing [Chillibreeze]" userId="b5a92789-231b-4933-b5e3-9c4db485d6cf" providerId="ADAL" clId="{3C7A14F0-AC9D-4C0F-B2FD-5645A9CA3617}" dt="2026-06-29T09:55:58.229" v="19" actId="700"/>
          <ac:spMkLst>
            <pc:docMk/>
            <pc:sldMk cId="1949283552" sldId="2134807290"/>
            <ac:spMk id="4" creationId="{D7BC9456-C26B-2029-5498-306E3E556210}"/>
          </ac:spMkLst>
        </pc:spChg>
        <pc:spChg chg="add del mod ord">
          <ac:chgData name="Evyan Lyngshing [Chillibreeze]" userId="b5a92789-231b-4933-b5e3-9c4db485d6cf" providerId="ADAL" clId="{3C7A14F0-AC9D-4C0F-B2FD-5645A9CA3617}" dt="2026-06-29T09:55:58.229" v="19" actId="700"/>
          <ac:spMkLst>
            <pc:docMk/>
            <pc:sldMk cId="1949283552" sldId="2134807290"/>
            <ac:spMk id="5" creationId="{5971AE8B-A4E5-EAAE-994E-D1FEA830A47E}"/>
          </ac:spMkLst>
        </pc:spChg>
        <pc:spChg chg="add mod ord">
          <ac:chgData name="Evyan Lyngshing [Chillibreeze]" userId="b5a92789-231b-4933-b5e3-9c4db485d6cf" providerId="ADAL" clId="{3C7A14F0-AC9D-4C0F-B2FD-5645A9CA3617}" dt="2026-06-29T09:57:22.085" v="44" actId="299"/>
          <ac:spMkLst>
            <pc:docMk/>
            <pc:sldMk cId="1949283552" sldId="2134807290"/>
            <ac:spMk id="7" creationId="{D1A6B5E5-B4FF-464F-4BD8-BD64614E1779}"/>
          </ac:spMkLst>
        </pc:spChg>
        <pc:spChg chg="add del mod ord">
          <ac:chgData name="Evyan Lyngshing [Chillibreeze]" userId="b5a92789-231b-4933-b5e3-9c4db485d6cf" providerId="ADAL" clId="{3C7A14F0-AC9D-4C0F-B2FD-5645A9CA3617}" dt="2026-06-29T09:56:33.340" v="30" actId="6264"/>
          <ac:spMkLst>
            <pc:docMk/>
            <pc:sldMk cId="1949283552" sldId="2134807290"/>
            <ac:spMk id="8" creationId="{093EE370-DB6B-311A-6D08-FE122E3E8E2F}"/>
          </ac:spMkLst>
        </pc:spChg>
        <pc:spChg chg="add del mod ord">
          <ac:chgData name="Evyan Lyngshing [Chillibreeze]" userId="b5a92789-231b-4933-b5e3-9c4db485d6cf" providerId="ADAL" clId="{3C7A14F0-AC9D-4C0F-B2FD-5645A9CA3617}" dt="2026-06-29T09:56:33.340" v="30" actId="6264"/>
          <ac:spMkLst>
            <pc:docMk/>
            <pc:sldMk cId="1949283552" sldId="2134807290"/>
            <ac:spMk id="9" creationId="{4F27F051-2605-75A6-6911-F982F65B907B}"/>
          </ac:spMkLst>
        </pc:spChg>
        <pc:spChg chg="add del mod">
          <ac:chgData name="Evyan Lyngshing [Chillibreeze]" userId="b5a92789-231b-4933-b5e3-9c4db485d6cf" providerId="ADAL" clId="{3C7A14F0-AC9D-4C0F-B2FD-5645A9CA3617}" dt="2026-06-29T09:56:33.340" v="30" actId="6264"/>
          <ac:spMkLst>
            <pc:docMk/>
            <pc:sldMk cId="1949283552" sldId="2134807290"/>
            <ac:spMk id="10" creationId="{8260028C-B5A2-3472-867E-C9973D1FF07F}"/>
          </ac:spMkLst>
        </pc:spChg>
        <pc:spChg chg="add mod ord">
          <ac:chgData name="Evyan Lyngshing [Chillibreeze]" userId="b5a92789-231b-4933-b5e3-9c4db485d6cf" providerId="ADAL" clId="{3C7A14F0-AC9D-4C0F-B2FD-5645A9CA3617}" dt="2026-06-29T09:57:21.060" v="41" actId="6264"/>
          <ac:spMkLst>
            <pc:docMk/>
            <pc:sldMk cId="1949283552" sldId="2134807290"/>
            <ac:spMk id="11" creationId="{97E9E2AC-5A79-4409-361A-EAA1F08B4B5F}"/>
          </ac:spMkLst>
        </pc:spChg>
        <pc:spChg chg="add del mod ord">
          <ac:chgData name="Evyan Lyngshing [Chillibreeze]" userId="b5a92789-231b-4933-b5e3-9c4db485d6cf" providerId="ADAL" clId="{3C7A14F0-AC9D-4C0F-B2FD-5645A9CA3617}" dt="2026-06-29T09:56:43.173" v="37" actId="6264"/>
          <ac:spMkLst>
            <pc:docMk/>
            <pc:sldMk cId="1949283552" sldId="2134807290"/>
            <ac:spMk id="12" creationId="{B6BCB183-FB3D-C3F5-38B7-F87357662976}"/>
          </ac:spMkLst>
        </pc:spChg>
        <pc:spChg chg="add del mod">
          <ac:chgData name="Evyan Lyngshing [Chillibreeze]" userId="b5a92789-231b-4933-b5e3-9c4db485d6cf" providerId="ADAL" clId="{3C7A14F0-AC9D-4C0F-B2FD-5645A9CA3617}" dt="2026-06-29T09:56:43.173" v="37" actId="6264"/>
          <ac:spMkLst>
            <pc:docMk/>
            <pc:sldMk cId="1949283552" sldId="2134807290"/>
            <ac:spMk id="13" creationId="{E3A91472-E8F5-EB0A-E286-522F65E70775}"/>
          </ac:spMkLst>
        </pc:spChg>
        <pc:spChg chg="add del mod">
          <ac:chgData name="Evyan Lyngshing [Chillibreeze]" userId="b5a92789-231b-4933-b5e3-9c4db485d6cf" providerId="ADAL" clId="{3C7A14F0-AC9D-4C0F-B2FD-5645A9CA3617}" dt="2026-06-29T09:56:43.173" v="37" actId="6264"/>
          <ac:spMkLst>
            <pc:docMk/>
            <pc:sldMk cId="1949283552" sldId="2134807290"/>
            <ac:spMk id="14" creationId="{5D71F6A7-8092-0B72-ED44-22A4DA8EA13E}"/>
          </ac:spMkLst>
        </pc:spChg>
        <pc:spChg chg="add del mod ord">
          <ac:chgData name="Evyan Lyngshing [Chillibreeze]" userId="b5a92789-231b-4933-b5e3-9c4db485d6cf" providerId="ADAL" clId="{3C7A14F0-AC9D-4C0F-B2FD-5645A9CA3617}" dt="2026-06-29T09:57:21.060" v="41" actId="6264"/>
          <ac:spMkLst>
            <pc:docMk/>
            <pc:sldMk cId="1949283552" sldId="2134807290"/>
            <ac:spMk id="15" creationId="{333A0502-6952-15CA-9A12-EFC92CBC8542}"/>
          </ac:spMkLst>
        </pc:spChg>
        <pc:spChg chg="add del mod">
          <ac:chgData name="Evyan Lyngshing [Chillibreeze]" userId="b5a92789-231b-4933-b5e3-9c4db485d6cf" providerId="ADAL" clId="{3C7A14F0-AC9D-4C0F-B2FD-5645A9CA3617}" dt="2026-06-29T09:57:21.060" v="41" actId="6264"/>
          <ac:spMkLst>
            <pc:docMk/>
            <pc:sldMk cId="1949283552" sldId="2134807290"/>
            <ac:spMk id="16" creationId="{2100DD2B-D7F0-A0A5-D274-D38E8ADA48EF}"/>
          </ac:spMkLst>
        </pc:spChg>
        <pc:spChg chg="add del mod">
          <ac:chgData name="Evyan Lyngshing [Chillibreeze]" userId="b5a92789-231b-4933-b5e3-9c4db485d6cf" providerId="ADAL" clId="{3C7A14F0-AC9D-4C0F-B2FD-5645A9CA3617}" dt="2026-06-29T09:57:21.060" v="41" actId="6264"/>
          <ac:spMkLst>
            <pc:docMk/>
            <pc:sldMk cId="1949283552" sldId="2134807290"/>
            <ac:spMk id="17" creationId="{E314740E-6FE4-466E-2FAF-F80AD830E3C4}"/>
          </ac:spMkLst>
        </pc:spChg>
        <pc:spChg chg="add mod ord">
          <ac:chgData name="Evyan Lyngshing [Chillibreeze]" userId="b5a92789-231b-4933-b5e3-9c4db485d6cf" providerId="ADAL" clId="{3C7A14F0-AC9D-4C0F-B2FD-5645A9CA3617}" dt="2026-06-29T09:57:21.060" v="41" actId="6264"/>
          <ac:spMkLst>
            <pc:docMk/>
            <pc:sldMk cId="1949283552" sldId="2134807290"/>
            <ac:spMk id="18" creationId="{E6ACC65E-B60A-0FC9-0371-2810F364C069}"/>
          </ac:spMkLst>
        </pc:spChg>
        <pc:graphicFrameChg chg="add mod ord modVis">
          <ac:chgData name="Evyan Lyngshing [Chillibreeze]" userId="b5a92789-231b-4933-b5e3-9c4db485d6cf" providerId="ADAL" clId="{3C7A14F0-AC9D-4C0F-B2FD-5645A9CA3617}" dt="2026-06-29T09:55:46.579" v="17"/>
          <ac:graphicFrameMkLst>
            <pc:docMk/>
            <pc:sldMk cId="1949283552" sldId="2134807290"/>
            <ac:graphicFrameMk id="6" creationId="{BE4FEB2C-C54D-1CCA-44F4-1618E65C3F58}"/>
          </ac:graphicFrameMkLst>
        </pc:graphicFrameChg>
      </pc:sldChg>
      <pc:sldChg chg="addSp delSp modSp add mod setBg">
        <pc:chgData name="Evyan Lyngshing [Chillibreeze]" userId="b5a92789-231b-4933-b5e3-9c4db485d6cf" providerId="ADAL" clId="{3C7A14F0-AC9D-4C0F-B2FD-5645A9CA3617}" dt="2026-06-29T13:21:28.880" v="3913" actId="164"/>
        <pc:sldMkLst>
          <pc:docMk/>
          <pc:sldMk cId="188141761" sldId="2134807291"/>
        </pc:sldMkLst>
        <pc:spChg chg="add mod ord">
          <ac:chgData name="Evyan Lyngshing [Chillibreeze]" userId="b5a92789-231b-4933-b5e3-9c4db485d6cf" providerId="ADAL" clId="{3C7A14F0-AC9D-4C0F-B2FD-5645A9CA3617}" dt="2026-06-29T13:20:09.463" v="3852"/>
          <ac:spMkLst>
            <pc:docMk/>
            <pc:sldMk cId="188141761" sldId="2134807291"/>
            <ac:spMk id="2" creationId="{5DD7DD56-B56F-D24B-7626-1DDB44059A50}"/>
          </ac:spMkLst>
        </pc:spChg>
        <pc:spChg chg="mod ord">
          <ac:chgData name="Evyan Lyngshing [Chillibreeze]" userId="b5a92789-231b-4933-b5e3-9c4db485d6cf" providerId="ADAL" clId="{3C7A14F0-AC9D-4C0F-B2FD-5645A9CA3617}" dt="2026-06-29T13:20:09.454" v="3814"/>
          <ac:spMkLst>
            <pc:docMk/>
            <pc:sldMk cId="188141761" sldId="2134807291"/>
            <ac:spMk id="4" creationId="{112D57DB-4D61-96B7-9C80-B8D29E38B54C}"/>
          </ac:spMkLst>
        </pc:spChg>
        <pc:spChg chg="del mod ord topLvl">
          <ac:chgData name="Evyan Lyngshing [Chillibreeze]" userId="b5a92789-231b-4933-b5e3-9c4db485d6cf" providerId="ADAL" clId="{3C7A14F0-AC9D-4C0F-B2FD-5645A9CA3617}" dt="2026-06-29T13:03:10.536" v="3384" actId="21"/>
          <ac:spMkLst>
            <pc:docMk/>
            <pc:sldMk cId="188141761" sldId="2134807291"/>
            <ac:spMk id="8" creationId="{C0BC3059-41AA-59BE-1698-DADC7ADF296A}"/>
          </ac:spMkLst>
        </pc:spChg>
        <pc:spChg chg="del mod ord topLvl">
          <ac:chgData name="Evyan Lyngshing [Chillibreeze]" userId="b5a92789-231b-4933-b5e3-9c4db485d6cf" providerId="ADAL" clId="{3C7A14F0-AC9D-4C0F-B2FD-5645A9CA3617}" dt="2026-06-29T13:03:10.536" v="3384" actId="21"/>
          <ac:spMkLst>
            <pc:docMk/>
            <pc:sldMk cId="188141761" sldId="2134807291"/>
            <ac:spMk id="9" creationId="{CBA8E924-BE36-2102-BC69-AB5B91632184}"/>
          </ac:spMkLst>
        </pc:spChg>
        <pc:spChg chg="del mod ord topLvl">
          <ac:chgData name="Evyan Lyngshing [Chillibreeze]" userId="b5a92789-231b-4933-b5e3-9c4db485d6cf" providerId="ADAL" clId="{3C7A14F0-AC9D-4C0F-B2FD-5645A9CA3617}" dt="2026-06-29T13:03:10.536" v="3384" actId="21"/>
          <ac:spMkLst>
            <pc:docMk/>
            <pc:sldMk cId="188141761" sldId="2134807291"/>
            <ac:spMk id="10" creationId="{9E3AAC47-7A85-6B72-E638-3D7A2D632A42}"/>
          </ac:spMkLst>
        </pc:spChg>
        <pc:spChg chg="del mod ord topLvl">
          <ac:chgData name="Evyan Lyngshing [Chillibreeze]" userId="b5a92789-231b-4933-b5e3-9c4db485d6cf" providerId="ADAL" clId="{3C7A14F0-AC9D-4C0F-B2FD-5645A9CA3617}" dt="2026-06-29T13:03:10.536" v="3384" actId="21"/>
          <ac:spMkLst>
            <pc:docMk/>
            <pc:sldMk cId="188141761" sldId="2134807291"/>
            <ac:spMk id="11" creationId="{08E6C6E1-FCCE-0952-EA05-E15CABEC713E}"/>
          </ac:spMkLst>
        </pc:spChg>
        <pc:spChg chg="del mod ord topLvl">
          <ac:chgData name="Evyan Lyngshing [Chillibreeze]" userId="b5a92789-231b-4933-b5e3-9c4db485d6cf" providerId="ADAL" clId="{3C7A14F0-AC9D-4C0F-B2FD-5645A9CA3617}" dt="2026-06-29T13:03:10.536" v="3384" actId="21"/>
          <ac:spMkLst>
            <pc:docMk/>
            <pc:sldMk cId="188141761" sldId="2134807291"/>
            <ac:spMk id="14" creationId="{B870B8AF-2F23-0C89-AD8C-A746D151367C}"/>
          </ac:spMkLst>
        </pc:spChg>
        <pc:spChg chg="del mod ord topLvl">
          <ac:chgData name="Evyan Lyngshing [Chillibreeze]" userId="b5a92789-231b-4933-b5e3-9c4db485d6cf" providerId="ADAL" clId="{3C7A14F0-AC9D-4C0F-B2FD-5645A9CA3617}" dt="2026-06-29T13:03:10.536" v="3384" actId="21"/>
          <ac:spMkLst>
            <pc:docMk/>
            <pc:sldMk cId="188141761" sldId="2134807291"/>
            <ac:spMk id="15" creationId="{04A6BEA7-80A6-15F2-D678-FEB8AF818B6A}"/>
          </ac:spMkLst>
        </pc:spChg>
        <pc:spChg chg="del mod ord topLvl">
          <ac:chgData name="Evyan Lyngshing [Chillibreeze]" userId="b5a92789-231b-4933-b5e3-9c4db485d6cf" providerId="ADAL" clId="{3C7A14F0-AC9D-4C0F-B2FD-5645A9CA3617}" dt="2026-06-29T13:03:10.536" v="3384" actId="21"/>
          <ac:spMkLst>
            <pc:docMk/>
            <pc:sldMk cId="188141761" sldId="2134807291"/>
            <ac:spMk id="16" creationId="{A57FB596-E4B8-E07B-9118-ACBE0B918E56}"/>
          </ac:spMkLst>
        </pc:spChg>
        <pc:spChg chg="mod topLvl">
          <ac:chgData name="Evyan Lyngshing [Chillibreeze]" userId="b5a92789-231b-4933-b5e3-9c4db485d6cf" providerId="ADAL" clId="{3C7A14F0-AC9D-4C0F-B2FD-5645A9CA3617}" dt="2026-06-29T13:02:59.263" v="3377"/>
          <ac:spMkLst>
            <pc:docMk/>
            <pc:sldMk cId="188141761" sldId="2134807291"/>
            <ac:spMk id="17" creationId="{D0A578F1-FB7F-7EF8-86DE-15E250D39CE3}"/>
          </ac:spMkLst>
        </pc:spChg>
        <pc:spChg chg="mod">
          <ac:chgData name="Evyan Lyngshing [Chillibreeze]" userId="b5a92789-231b-4933-b5e3-9c4db485d6cf" providerId="ADAL" clId="{3C7A14F0-AC9D-4C0F-B2FD-5645A9CA3617}" dt="2026-06-29T13:02:59.263" v="3377"/>
          <ac:spMkLst>
            <pc:docMk/>
            <pc:sldMk cId="188141761" sldId="2134807291"/>
            <ac:spMk id="19" creationId="{C0B6E760-36E5-9413-74A5-FA38D8AEB244}"/>
          </ac:spMkLst>
        </pc:spChg>
        <pc:spChg chg="mod">
          <ac:chgData name="Evyan Lyngshing [Chillibreeze]" userId="b5a92789-231b-4933-b5e3-9c4db485d6cf" providerId="ADAL" clId="{3C7A14F0-AC9D-4C0F-B2FD-5645A9CA3617}" dt="2026-06-29T13:02:59.263" v="3377"/>
          <ac:spMkLst>
            <pc:docMk/>
            <pc:sldMk cId="188141761" sldId="2134807291"/>
            <ac:spMk id="20" creationId="{C005EF0F-9EFD-E504-55FC-CE3E71B6D74D}"/>
          </ac:spMkLst>
        </pc:spChg>
        <pc:spChg chg="del mod">
          <ac:chgData name="Evyan Lyngshing [Chillibreeze]" userId="b5a92789-231b-4933-b5e3-9c4db485d6cf" providerId="ADAL" clId="{3C7A14F0-AC9D-4C0F-B2FD-5645A9CA3617}" dt="2026-06-29T13:03:10.536" v="3384" actId="21"/>
          <ac:spMkLst>
            <pc:docMk/>
            <pc:sldMk cId="188141761" sldId="2134807291"/>
            <ac:spMk id="23" creationId="{C5003376-E87E-19EF-3593-F665C0332085}"/>
          </ac:spMkLst>
        </pc:spChg>
        <pc:spChg chg="mod">
          <ac:chgData name="Evyan Lyngshing [Chillibreeze]" userId="b5a92789-231b-4933-b5e3-9c4db485d6cf" providerId="ADAL" clId="{3C7A14F0-AC9D-4C0F-B2FD-5645A9CA3617}" dt="2026-06-29T13:02:55.617" v="3372" actId="20577"/>
          <ac:spMkLst>
            <pc:docMk/>
            <pc:sldMk cId="188141761" sldId="2134807291"/>
            <ac:spMk id="25" creationId="{D08A93B2-F1D9-5338-430F-CE4E6F4D8A8C}"/>
          </ac:spMkLst>
        </pc:spChg>
        <pc:spChg chg="mod">
          <ac:chgData name="Evyan Lyngshing [Chillibreeze]" userId="b5a92789-231b-4933-b5e3-9c4db485d6cf" providerId="ADAL" clId="{3C7A14F0-AC9D-4C0F-B2FD-5645A9CA3617}" dt="2026-06-29T13:02:55.618" v="3373" actId="20577"/>
          <ac:spMkLst>
            <pc:docMk/>
            <pc:sldMk cId="188141761" sldId="2134807291"/>
            <ac:spMk id="26" creationId="{42EFA8EF-8808-146D-51B1-61AC43818043}"/>
          </ac:spMkLst>
        </pc:spChg>
        <pc:spChg chg="mod">
          <ac:chgData name="Evyan Lyngshing [Chillibreeze]" userId="b5a92789-231b-4933-b5e3-9c4db485d6cf" providerId="ADAL" clId="{3C7A14F0-AC9D-4C0F-B2FD-5645A9CA3617}" dt="2026-06-29T13:14:00.136" v="3657" actId="207"/>
          <ac:spMkLst>
            <pc:docMk/>
            <pc:sldMk cId="188141761" sldId="2134807291"/>
            <ac:spMk id="31" creationId="{B32C6577-F1BC-9E17-81C7-62EC71BDB988}"/>
          </ac:spMkLst>
        </pc:spChg>
        <pc:spChg chg="mod">
          <ac:chgData name="Evyan Lyngshing [Chillibreeze]" userId="b5a92789-231b-4933-b5e3-9c4db485d6cf" providerId="ADAL" clId="{3C7A14F0-AC9D-4C0F-B2FD-5645A9CA3617}" dt="2026-06-29T13:14:00.136" v="3657" actId="207"/>
          <ac:spMkLst>
            <pc:docMk/>
            <pc:sldMk cId="188141761" sldId="2134807291"/>
            <ac:spMk id="32" creationId="{B2C30295-AA16-B951-3D7F-10E5D911CE1A}"/>
          </ac:spMkLst>
        </pc:spChg>
        <pc:spChg chg="mod">
          <ac:chgData name="Evyan Lyngshing [Chillibreeze]" userId="b5a92789-231b-4933-b5e3-9c4db485d6cf" providerId="ADAL" clId="{3C7A14F0-AC9D-4C0F-B2FD-5645A9CA3617}" dt="2026-06-29T13:14:00.136" v="3657" actId="207"/>
          <ac:spMkLst>
            <pc:docMk/>
            <pc:sldMk cId="188141761" sldId="2134807291"/>
            <ac:spMk id="33" creationId="{CB09A3FE-D7C2-9A71-1A60-3A9574BEE99E}"/>
          </ac:spMkLst>
        </pc:spChg>
        <pc:spChg chg="mod">
          <ac:chgData name="Evyan Lyngshing [Chillibreeze]" userId="b5a92789-231b-4933-b5e3-9c4db485d6cf" providerId="ADAL" clId="{3C7A14F0-AC9D-4C0F-B2FD-5645A9CA3617}" dt="2026-06-29T13:14:00.136" v="3657" actId="207"/>
          <ac:spMkLst>
            <pc:docMk/>
            <pc:sldMk cId="188141761" sldId="2134807291"/>
            <ac:spMk id="34" creationId="{695534D5-E607-0FD8-FC14-85C559A07A72}"/>
          </ac:spMkLst>
        </pc:spChg>
        <pc:spChg chg="mod">
          <ac:chgData name="Evyan Lyngshing [Chillibreeze]" userId="b5a92789-231b-4933-b5e3-9c4db485d6cf" providerId="ADAL" clId="{3C7A14F0-AC9D-4C0F-B2FD-5645A9CA3617}" dt="2026-06-29T13:14:00.136" v="3657" actId="207"/>
          <ac:spMkLst>
            <pc:docMk/>
            <pc:sldMk cId="188141761" sldId="2134807291"/>
            <ac:spMk id="35" creationId="{6266D314-056E-371B-D179-68CDD86FBBC1}"/>
          </ac:spMkLst>
        </pc:spChg>
        <pc:spChg chg="mod">
          <ac:chgData name="Evyan Lyngshing [Chillibreeze]" userId="b5a92789-231b-4933-b5e3-9c4db485d6cf" providerId="ADAL" clId="{3C7A14F0-AC9D-4C0F-B2FD-5645A9CA3617}" dt="2026-06-29T13:14:49.895" v="3678" actId="164"/>
          <ac:spMkLst>
            <pc:docMk/>
            <pc:sldMk cId="188141761" sldId="2134807291"/>
            <ac:spMk id="39" creationId="{6C7CA646-5547-7597-4982-E09060A1F8D3}"/>
          </ac:spMkLst>
        </pc:spChg>
        <pc:spChg chg="mod">
          <ac:chgData name="Evyan Lyngshing [Chillibreeze]" userId="b5a92789-231b-4933-b5e3-9c4db485d6cf" providerId="ADAL" clId="{3C7A14F0-AC9D-4C0F-B2FD-5645A9CA3617}" dt="2026-06-29T13:16:12.441" v="3699" actId="207"/>
          <ac:spMkLst>
            <pc:docMk/>
            <pc:sldMk cId="188141761" sldId="2134807291"/>
            <ac:spMk id="44" creationId="{6AB64119-0007-51C7-6789-76C9CF7504F4}"/>
          </ac:spMkLst>
        </pc:spChg>
        <pc:spChg chg="mod">
          <ac:chgData name="Evyan Lyngshing [Chillibreeze]" userId="b5a92789-231b-4933-b5e3-9c4db485d6cf" providerId="ADAL" clId="{3C7A14F0-AC9D-4C0F-B2FD-5645A9CA3617}" dt="2026-06-29T13:16:12.441" v="3699" actId="207"/>
          <ac:spMkLst>
            <pc:docMk/>
            <pc:sldMk cId="188141761" sldId="2134807291"/>
            <ac:spMk id="45" creationId="{DA7342F3-7B91-80F3-CE4D-30686A6F4492}"/>
          </ac:spMkLst>
        </pc:spChg>
        <pc:spChg chg="mod">
          <ac:chgData name="Evyan Lyngshing [Chillibreeze]" userId="b5a92789-231b-4933-b5e3-9c4db485d6cf" providerId="ADAL" clId="{3C7A14F0-AC9D-4C0F-B2FD-5645A9CA3617}" dt="2026-06-29T13:16:12.441" v="3699" actId="207"/>
          <ac:spMkLst>
            <pc:docMk/>
            <pc:sldMk cId="188141761" sldId="2134807291"/>
            <ac:spMk id="46" creationId="{153AF77D-13D3-A1DB-6FA5-97A1745E166E}"/>
          </ac:spMkLst>
        </pc:spChg>
        <pc:spChg chg="mod">
          <ac:chgData name="Evyan Lyngshing [Chillibreeze]" userId="b5a92789-231b-4933-b5e3-9c4db485d6cf" providerId="ADAL" clId="{3C7A14F0-AC9D-4C0F-B2FD-5645A9CA3617}" dt="2026-06-29T13:16:12.441" v="3699" actId="207"/>
          <ac:spMkLst>
            <pc:docMk/>
            <pc:sldMk cId="188141761" sldId="2134807291"/>
            <ac:spMk id="47" creationId="{A4BDDE24-A20F-9191-2ED6-955E4A7891C7}"/>
          </ac:spMkLst>
        </pc:spChg>
        <pc:spChg chg="mod">
          <ac:chgData name="Evyan Lyngshing [Chillibreeze]" userId="b5a92789-231b-4933-b5e3-9c4db485d6cf" providerId="ADAL" clId="{3C7A14F0-AC9D-4C0F-B2FD-5645A9CA3617}" dt="2026-06-29T13:15:59.896" v="3686" actId="20577"/>
          <ac:spMkLst>
            <pc:docMk/>
            <pc:sldMk cId="188141761" sldId="2134807291"/>
            <ac:spMk id="48" creationId="{1012B7AA-3096-3FFC-6CBE-9B4422F755B3}"/>
          </ac:spMkLst>
        </pc:spChg>
        <pc:spChg chg="mod">
          <ac:chgData name="Evyan Lyngshing [Chillibreeze]" userId="b5a92789-231b-4933-b5e3-9c4db485d6cf" providerId="ADAL" clId="{3C7A14F0-AC9D-4C0F-B2FD-5645A9CA3617}" dt="2026-06-29T13:16:12.441" v="3699" actId="207"/>
          <ac:spMkLst>
            <pc:docMk/>
            <pc:sldMk cId="188141761" sldId="2134807291"/>
            <ac:spMk id="49" creationId="{E7CFE07E-BD9A-C18F-0B67-2692ABA40AE0}"/>
          </ac:spMkLst>
        </pc:spChg>
        <pc:spChg chg="mod">
          <ac:chgData name="Evyan Lyngshing [Chillibreeze]" userId="b5a92789-231b-4933-b5e3-9c4db485d6cf" providerId="ADAL" clId="{3C7A14F0-AC9D-4C0F-B2FD-5645A9CA3617}" dt="2026-06-29T13:16:12.441" v="3699" actId="207"/>
          <ac:spMkLst>
            <pc:docMk/>
            <pc:sldMk cId="188141761" sldId="2134807291"/>
            <ac:spMk id="50" creationId="{9756941A-8786-50E1-8A27-263CED85A7B6}"/>
          </ac:spMkLst>
        </pc:spChg>
        <pc:spChg chg="mod">
          <ac:chgData name="Evyan Lyngshing [Chillibreeze]" userId="b5a92789-231b-4933-b5e3-9c4db485d6cf" providerId="ADAL" clId="{3C7A14F0-AC9D-4C0F-B2FD-5645A9CA3617}" dt="2026-06-29T13:16:12.441" v="3699" actId="207"/>
          <ac:spMkLst>
            <pc:docMk/>
            <pc:sldMk cId="188141761" sldId="2134807291"/>
            <ac:spMk id="51" creationId="{613669CF-D0C3-7DB1-FAD8-AD54CC70399D}"/>
          </ac:spMkLst>
        </pc:spChg>
        <pc:spChg chg="mod">
          <ac:chgData name="Evyan Lyngshing [Chillibreeze]" userId="b5a92789-231b-4933-b5e3-9c4db485d6cf" providerId="ADAL" clId="{3C7A14F0-AC9D-4C0F-B2FD-5645A9CA3617}" dt="2026-06-29T13:15:59.899" v="3690" actId="20577"/>
          <ac:spMkLst>
            <pc:docMk/>
            <pc:sldMk cId="188141761" sldId="2134807291"/>
            <ac:spMk id="52" creationId="{B3CB0ECE-B9EB-4E73-1C0A-5B3B04F83A06}"/>
          </ac:spMkLst>
        </pc:spChg>
        <pc:spChg chg="mod">
          <ac:chgData name="Evyan Lyngshing [Chillibreeze]" userId="b5a92789-231b-4933-b5e3-9c4db485d6cf" providerId="ADAL" clId="{3C7A14F0-AC9D-4C0F-B2FD-5645A9CA3617}" dt="2026-06-29T13:16:12.441" v="3699" actId="207"/>
          <ac:spMkLst>
            <pc:docMk/>
            <pc:sldMk cId="188141761" sldId="2134807291"/>
            <ac:spMk id="53" creationId="{6F95B21B-787F-340F-9C6A-265C5AD31128}"/>
          </ac:spMkLst>
        </pc:spChg>
        <pc:spChg chg="mod">
          <ac:chgData name="Evyan Lyngshing [Chillibreeze]" userId="b5a92789-231b-4933-b5e3-9c4db485d6cf" providerId="ADAL" clId="{3C7A14F0-AC9D-4C0F-B2FD-5645A9CA3617}" dt="2026-06-29T13:16:12.441" v="3699" actId="207"/>
          <ac:spMkLst>
            <pc:docMk/>
            <pc:sldMk cId="188141761" sldId="2134807291"/>
            <ac:spMk id="54" creationId="{92653EBC-47F6-CDB1-8C1D-C54A5DCB0AA7}"/>
          </ac:spMkLst>
        </pc:spChg>
        <pc:spChg chg="mod">
          <ac:chgData name="Evyan Lyngshing [Chillibreeze]" userId="b5a92789-231b-4933-b5e3-9c4db485d6cf" providerId="ADAL" clId="{3C7A14F0-AC9D-4C0F-B2FD-5645A9CA3617}" dt="2026-06-29T13:16:12.441" v="3699" actId="207"/>
          <ac:spMkLst>
            <pc:docMk/>
            <pc:sldMk cId="188141761" sldId="2134807291"/>
            <ac:spMk id="55" creationId="{52C83A1B-EF2F-4E39-8EEE-C800BCA1C4A4}"/>
          </ac:spMkLst>
        </pc:spChg>
        <pc:spChg chg="mod">
          <ac:chgData name="Evyan Lyngshing [Chillibreeze]" userId="b5a92789-231b-4933-b5e3-9c4db485d6cf" providerId="ADAL" clId="{3C7A14F0-AC9D-4C0F-B2FD-5645A9CA3617}" dt="2026-06-29T13:17:25.522" v="3744" actId="207"/>
          <ac:spMkLst>
            <pc:docMk/>
            <pc:sldMk cId="188141761" sldId="2134807291"/>
            <ac:spMk id="61" creationId="{E5132F9E-EF3C-149E-60BE-EAF2BC1EC8DA}"/>
          </ac:spMkLst>
        </pc:spChg>
        <pc:spChg chg="mod">
          <ac:chgData name="Evyan Lyngshing [Chillibreeze]" userId="b5a92789-231b-4933-b5e3-9c4db485d6cf" providerId="ADAL" clId="{3C7A14F0-AC9D-4C0F-B2FD-5645A9CA3617}" dt="2026-06-29T13:17:11.921" v="3710" actId="20577"/>
          <ac:spMkLst>
            <pc:docMk/>
            <pc:sldMk cId="188141761" sldId="2134807291"/>
            <ac:spMk id="62" creationId="{64E5DD87-0956-697C-2308-DC18353635F6}"/>
          </ac:spMkLst>
        </pc:spChg>
        <pc:spChg chg="mod">
          <ac:chgData name="Evyan Lyngshing [Chillibreeze]" userId="b5a92789-231b-4933-b5e3-9c4db485d6cf" providerId="ADAL" clId="{3C7A14F0-AC9D-4C0F-B2FD-5645A9CA3617}" dt="2026-06-29T13:17:11.921" v="3711" actId="20577"/>
          <ac:spMkLst>
            <pc:docMk/>
            <pc:sldMk cId="188141761" sldId="2134807291"/>
            <ac:spMk id="63" creationId="{3A6DBAD5-E115-1BCF-4AC6-1E3B007BF475}"/>
          </ac:spMkLst>
        </pc:spChg>
        <pc:spChg chg="mod">
          <ac:chgData name="Evyan Lyngshing [Chillibreeze]" userId="b5a92789-231b-4933-b5e3-9c4db485d6cf" providerId="ADAL" clId="{3C7A14F0-AC9D-4C0F-B2FD-5645A9CA3617}" dt="2026-06-29T13:17:11.921" v="3712" actId="20577"/>
          <ac:spMkLst>
            <pc:docMk/>
            <pc:sldMk cId="188141761" sldId="2134807291"/>
            <ac:spMk id="64" creationId="{3CE398EB-1105-CE42-61A7-8FE4328B7B12}"/>
          </ac:spMkLst>
        </pc:spChg>
        <pc:spChg chg="mod">
          <ac:chgData name="Evyan Lyngshing [Chillibreeze]" userId="b5a92789-231b-4933-b5e3-9c4db485d6cf" providerId="ADAL" clId="{3C7A14F0-AC9D-4C0F-B2FD-5645A9CA3617}" dt="2026-06-29T13:17:11.927" v="3713" actId="20577"/>
          <ac:spMkLst>
            <pc:docMk/>
            <pc:sldMk cId="188141761" sldId="2134807291"/>
            <ac:spMk id="65" creationId="{A1D685AA-A6D2-698D-BE09-D2DB6A2BEF3B}"/>
          </ac:spMkLst>
        </pc:spChg>
        <pc:spChg chg="mod">
          <ac:chgData name="Evyan Lyngshing [Chillibreeze]" userId="b5a92789-231b-4933-b5e3-9c4db485d6cf" providerId="ADAL" clId="{3C7A14F0-AC9D-4C0F-B2FD-5645A9CA3617}" dt="2026-06-29T13:17:25.522" v="3744" actId="207"/>
          <ac:spMkLst>
            <pc:docMk/>
            <pc:sldMk cId="188141761" sldId="2134807291"/>
            <ac:spMk id="66" creationId="{EC31C338-BC09-979F-C204-A3726749D46F}"/>
          </ac:spMkLst>
        </pc:spChg>
        <pc:spChg chg="mod">
          <ac:chgData name="Evyan Lyngshing [Chillibreeze]" userId="b5a92789-231b-4933-b5e3-9c4db485d6cf" providerId="ADAL" clId="{3C7A14F0-AC9D-4C0F-B2FD-5645A9CA3617}" dt="2026-06-29T13:17:11.927" v="3715" actId="20577"/>
          <ac:spMkLst>
            <pc:docMk/>
            <pc:sldMk cId="188141761" sldId="2134807291"/>
            <ac:spMk id="67" creationId="{8AF6213C-BC71-1125-3A02-0B60871A4010}"/>
          </ac:spMkLst>
        </pc:spChg>
        <pc:spChg chg="mod">
          <ac:chgData name="Evyan Lyngshing [Chillibreeze]" userId="b5a92789-231b-4933-b5e3-9c4db485d6cf" providerId="ADAL" clId="{3C7A14F0-AC9D-4C0F-B2FD-5645A9CA3617}" dt="2026-06-29T13:17:25.522" v="3744" actId="207"/>
          <ac:spMkLst>
            <pc:docMk/>
            <pc:sldMk cId="188141761" sldId="2134807291"/>
            <ac:spMk id="68" creationId="{E1749AB6-AF15-A668-E735-6C4C2C08FF85}"/>
          </ac:spMkLst>
        </pc:spChg>
        <pc:spChg chg="mod">
          <ac:chgData name="Evyan Lyngshing [Chillibreeze]" userId="b5a92789-231b-4933-b5e3-9c4db485d6cf" providerId="ADAL" clId="{3C7A14F0-AC9D-4C0F-B2FD-5645A9CA3617}" dt="2026-06-29T13:17:11.931" v="3717" actId="20577"/>
          <ac:spMkLst>
            <pc:docMk/>
            <pc:sldMk cId="188141761" sldId="2134807291"/>
            <ac:spMk id="69" creationId="{DD3503CC-95CA-34F7-A145-C6C674AC9B8F}"/>
          </ac:spMkLst>
        </pc:spChg>
        <pc:spChg chg="mod">
          <ac:chgData name="Evyan Lyngshing [Chillibreeze]" userId="b5a92789-231b-4933-b5e3-9c4db485d6cf" providerId="ADAL" clId="{3C7A14F0-AC9D-4C0F-B2FD-5645A9CA3617}" dt="2026-06-29T13:17:25.522" v="3744" actId="207"/>
          <ac:spMkLst>
            <pc:docMk/>
            <pc:sldMk cId="188141761" sldId="2134807291"/>
            <ac:spMk id="70" creationId="{A26685EB-B7A6-6C6C-FF4B-7578894DA326}"/>
          </ac:spMkLst>
        </pc:spChg>
        <pc:spChg chg="mod">
          <ac:chgData name="Evyan Lyngshing [Chillibreeze]" userId="b5a92789-231b-4933-b5e3-9c4db485d6cf" providerId="ADAL" clId="{3C7A14F0-AC9D-4C0F-B2FD-5645A9CA3617}" dt="2026-06-29T13:17:25.522" v="3744" actId="207"/>
          <ac:spMkLst>
            <pc:docMk/>
            <pc:sldMk cId="188141761" sldId="2134807291"/>
            <ac:spMk id="71" creationId="{2EF17D21-C190-80CB-4913-09ACEF217EB1}"/>
          </ac:spMkLst>
        </pc:spChg>
        <pc:spChg chg="mod">
          <ac:chgData name="Evyan Lyngshing [Chillibreeze]" userId="b5a92789-231b-4933-b5e3-9c4db485d6cf" providerId="ADAL" clId="{3C7A14F0-AC9D-4C0F-B2FD-5645A9CA3617}" dt="2026-06-29T13:17:25.522" v="3744" actId="207"/>
          <ac:spMkLst>
            <pc:docMk/>
            <pc:sldMk cId="188141761" sldId="2134807291"/>
            <ac:spMk id="72" creationId="{587E7B3E-C030-A5D7-0611-9E2673F25391}"/>
          </ac:spMkLst>
        </pc:spChg>
        <pc:spChg chg="mod">
          <ac:chgData name="Evyan Lyngshing [Chillibreeze]" userId="b5a92789-231b-4933-b5e3-9c4db485d6cf" providerId="ADAL" clId="{3C7A14F0-AC9D-4C0F-B2FD-5645A9CA3617}" dt="2026-06-29T13:17:11.931" v="3721" actId="20577"/>
          <ac:spMkLst>
            <pc:docMk/>
            <pc:sldMk cId="188141761" sldId="2134807291"/>
            <ac:spMk id="73" creationId="{C19B0D42-4C1F-5CF6-9D7D-FD61629ABEF8}"/>
          </ac:spMkLst>
        </pc:spChg>
        <pc:spChg chg="mod">
          <ac:chgData name="Evyan Lyngshing [Chillibreeze]" userId="b5a92789-231b-4933-b5e3-9c4db485d6cf" providerId="ADAL" clId="{3C7A14F0-AC9D-4C0F-B2FD-5645A9CA3617}" dt="2026-06-29T13:17:11.931" v="3722" actId="20577"/>
          <ac:spMkLst>
            <pc:docMk/>
            <pc:sldMk cId="188141761" sldId="2134807291"/>
            <ac:spMk id="74" creationId="{36596241-24F1-AA74-0D2E-EA3B9BE073B9}"/>
          </ac:spMkLst>
        </pc:spChg>
        <pc:spChg chg="mod">
          <ac:chgData name="Evyan Lyngshing [Chillibreeze]" userId="b5a92789-231b-4933-b5e3-9c4db485d6cf" providerId="ADAL" clId="{3C7A14F0-AC9D-4C0F-B2FD-5645A9CA3617}" dt="2026-06-29T13:17:11.931" v="3723" actId="20577"/>
          <ac:spMkLst>
            <pc:docMk/>
            <pc:sldMk cId="188141761" sldId="2134807291"/>
            <ac:spMk id="75" creationId="{ACC9DEBB-CF31-B945-BCC2-5BC4FF282DB4}"/>
          </ac:spMkLst>
        </pc:spChg>
        <pc:spChg chg="mod">
          <ac:chgData name="Evyan Lyngshing [Chillibreeze]" userId="b5a92789-231b-4933-b5e3-9c4db485d6cf" providerId="ADAL" clId="{3C7A14F0-AC9D-4C0F-B2FD-5645A9CA3617}" dt="2026-06-29T13:17:11.931" v="3724" actId="20577"/>
          <ac:spMkLst>
            <pc:docMk/>
            <pc:sldMk cId="188141761" sldId="2134807291"/>
            <ac:spMk id="76" creationId="{E56639E6-B6A6-0CCB-D9BF-A0D1B760D3A0}"/>
          </ac:spMkLst>
        </pc:spChg>
        <pc:spChg chg="mod">
          <ac:chgData name="Evyan Lyngshing [Chillibreeze]" userId="b5a92789-231b-4933-b5e3-9c4db485d6cf" providerId="ADAL" clId="{3C7A14F0-AC9D-4C0F-B2FD-5645A9CA3617}" dt="2026-06-29T13:17:11.931" v="3725" actId="20577"/>
          <ac:spMkLst>
            <pc:docMk/>
            <pc:sldMk cId="188141761" sldId="2134807291"/>
            <ac:spMk id="77" creationId="{C0A9AF42-A23D-61FE-B79E-2D3B7376E477}"/>
          </ac:spMkLst>
        </pc:spChg>
        <pc:spChg chg="mod">
          <ac:chgData name="Evyan Lyngshing [Chillibreeze]" userId="b5a92789-231b-4933-b5e3-9c4db485d6cf" providerId="ADAL" clId="{3C7A14F0-AC9D-4C0F-B2FD-5645A9CA3617}" dt="2026-06-29T13:17:25.522" v="3744" actId="207"/>
          <ac:spMkLst>
            <pc:docMk/>
            <pc:sldMk cId="188141761" sldId="2134807291"/>
            <ac:spMk id="78" creationId="{FCA7F264-9394-B441-1441-E092CC0BEF0A}"/>
          </ac:spMkLst>
        </pc:spChg>
        <pc:spChg chg="mod">
          <ac:chgData name="Evyan Lyngshing [Chillibreeze]" userId="b5a92789-231b-4933-b5e3-9c4db485d6cf" providerId="ADAL" clId="{3C7A14F0-AC9D-4C0F-B2FD-5645A9CA3617}" dt="2026-06-29T13:17:11.931" v="3727" actId="20577"/>
          <ac:spMkLst>
            <pc:docMk/>
            <pc:sldMk cId="188141761" sldId="2134807291"/>
            <ac:spMk id="79" creationId="{292E5849-CB22-656D-8197-DFFDB44F1F88}"/>
          </ac:spMkLst>
        </pc:spChg>
        <pc:spChg chg="mod">
          <ac:chgData name="Evyan Lyngshing [Chillibreeze]" userId="b5a92789-231b-4933-b5e3-9c4db485d6cf" providerId="ADAL" clId="{3C7A14F0-AC9D-4C0F-B2FD-5645A9CA3617}" dt="2026-06-29T13:17:25.522" v="3744" actId="207"/>
          <ac:spMkLst>
            <pc:docMk/>
            <pc:sldMk cId="188141761" sldId="2134807291"/>
            <ac:spMk id="80" creationId="{1611770C-556A-1F1A-0B11-28A8BD4EA04D}"/>
          </ac:spMkLst>
        </pc:spChg>
        <pc:spChg chg="mod">
          <ac:chgData name="Evyan Lyngshing [Chillibreeze]" userId="b5a92789-231b-4933-b5e3-9c4db485d6cf" providerId="ADAL" clId="{3C7A14F0-AC9D-4C0F-B2FD-5645A9CA3617}" dt="2026-06-29T13:17:11.943" v="3729" actId="20577"/>
          <ac:spMkLst>
            <pc:docMk/>
            <pc:sldMk cId="188141761" sldId="2134807291"/>
            <ac:spMk id="81" creationId="{DD356776-B787-8BD2-3E93-BE9E17425355}"/>
          </ac:spMkLst>
        </pc:spChg>
        <pc:spChg chg="mod">
          <ac:chgData name="Evyan Lyngshing [Chillibreeze]" userId="b5a92789-231b-4933-b5e3-9c4db485d6cf" providerId="ADAL" clId="{3C7A14F0-AC9D-4C0F-B2FD-5645A9CA3617}" dt="2026-06-29T13:17:11.943" v="3730" actId="20577"/>
          <ac:spMkLst>
            <pc:docMk/>
            <pc:sldMk cId="188141761" sldId="2134807291"/>
            <ac:spMk id="83" creationId="{44065654-4414-FE09-39DA-D60D2DD2DBEC}"/>
          </ac:spMkLst>
        </pc:spChg>
        <pc:spChg chg="mod ord">
          <ac:chgData name="Evyan Lyngshing [Chillibreeze]" userId="b5a92789-231b-4933-b5e3-9c4db485d6cf" providerId="ADAL" clId="{3C7A14F0-AC9D-4C0F-B2FD-5645A9CA3617}" dt="2026-06-29T13:20:09.454" v="3812"/>
          <ac:spMkLst>
            <pc:docMk/>
            <pc:sldMk cId="188141761" sldId="2134807291"/>
            <ac:spMk id="85" creationId="{38A797F2-B296-8AF5-819C-7DDB1CB92BB6}"/>
          </ac:spMkLst>
        </pc:spChg>
        <pc:spChg chg="mod">
          <ac:chgData name="Evyan Lyngshing [Chillibreeze]" userId="b5a92789-231b-4933-b5e3-9c4db485d6cf" providerId="ADAL" clId="{3C7A14F0-AC9D-4C0F-B2FD-5645A9CA3617}" dt="2026-06-29T13:17:25.522" v="3744" actId="207"/>
          <ac:spMkLst>
            <pc:docMk/>
            <pc:sldMk cId="188141761" sldId="2134807291"/>
            <ac:spMk id="86" creationId="{C396DD6C-8953-5C98-DAB9-3AFA97175EB7}"/>
          </ac:spMkLst>
        </pc:spChg>
        <pc:spChg chg="mod">
          <ac:chgData name="Evyan Lyngshing [Chillibreeze]" userId="b5a92789-231b-4933-b5e3-9c4db485d6cf" providerId="ADAL" clId="{3C7A14F0-AC9D-4C0F-B2FD-5645A9CA3617}" dt="2026-06-29T13:17:11.943" v="3732" actId="20577"/>
          <ac:spMkLst>
            <pc:docMk/>
            <pc:sldMk cId="188141761" sldId="2134807291"/>
            <ac:spMk id="87" creationId="{BDE919E0-4EB3-2584-61F2-609A2F5092FF}"/>
          </ac:spMkLst>
        </pc:spChg>
        <pc:spChg chg="mod">
          <ac:chgData name="Evyan Lyngshing [Chillibreeze]" userId="b5a92789-231b-4933-b5e3-9c4db485d6cf" providerId="ADAL" clId="{3C7A14F0-AC9D-4C0F-B2FD-5645A9CA3617}" dt="2026-06-29T13:17:11.943" v="3733" actId="20577"/>
          <ac:spMkLst>
            <pc:docMk/>
            <pc:sldMk cId="188141761" sldId="2134807291"/>
            <ac:spMk id="88" creationId="{CC6BD35F-A688-75CD-E6B1-D3F121B46AF0}"/>
          </ac:spMkLst>
        </pc:spChg>
        <pc:spChg chg="mod">
          <ac:chgData name="Evyan Lyngshing [Chillibreeze]" userId="b5a92789-231b-4933-b5e3-9c4db485d6cf" providerId="ADAL" clId="{3C7A14F0-AC9D-4C0F-B2FD-5645A9CA3617}" dt="2026-06-29T13:17:11.943" v="3734" actId="20577"/>
          <ac:spMkLst>
            <pc:docMk/>
            <pc:sldMk cId="188141761" sldId="2134807291"/>
            <ac:spMk id="89" creationId="{6E6E23C8-478D-C215-D690-8A649DB4180F}"/>
          </ac:spMkLst>
        </pc:spChg>
        <pc:spChg chg="mod">
          <ac:chgData name="Evyan Lyngshing [Chillibreeze]" userId="b5a92789-231b-4933-b5e3-9c4db485d6cf" providerId="ADAL" clId="{3C7A14F0-AC9D-4C0F-B2FD-5645A9CA3617}" dt="2026-06-29T13:17:11.943" v="3735" actId="20577"/>
          <ac:spMkLst>
            <pc:docMk/>
            <pc:sldMk cId="188141761" sldId="2134807291"/>
            <ac:spMk id="90" creationId="{6E78D093-4C2F-5AB3-FA63-5984224FD2CD}"/>
          </ac:spMkLst>
        </pc:spChg>
        <pc:spChg chg="mod">
          <ac:chgData name="Evyan Lyngshing [Chillibreeze]" userId="b5a92789-231b-4933-b5e3-9c4db485d6cf" providerId="ADAL" clId="{3C7A14F0-AC9D-4C0F-B2FD-5645A9CA3617}" dt="2026-06-29T13:17:11.943" v="3736" actId="20577"/>
          <ac:spMkLst>
            <pc:docMk/>
            <pc:sldMk cId="188141761" sldId="2134807291"/>
            <ac:spMk id="91" creationId="{412FD5C2-99FE-9F09-44DF-CD0FA962536A}"/>
          </ac:spMkLst>
        </pc:spChg>
        <pc:spChg chg="mod">
          <ac:chgData name="Evyan Lyngshing [Chillibreeze]" userId="b5a92789-231b-4933-b5e3-9c4db485d6cf" providerId="ADAL" clId="{3C7A14F0-AC9D-4C0F-B2FD-5645A9CA3617}" dt="2026-06-29T13:17:25.522" v="3744" actId="207"/>
          <ac:spMkLst>
            <pc:docMk/>
            <pc:sldMk cId="188141761" sldId="2134807291"/>
            <ac:spMk id="92" creationId="{C0F027D3-FA06-85DB-7DF0-B3FA93D43F44}"/>
          </ac:spMkLst>
        </pc:spChg>
        <pc:spChg chg="mod">
          <ac:chgData name="Evyan Lyngshing [Chillibreeze]" userId="b5a92789-231b-4933-b5e3-9c4db485d6cf" providerId="ADAL" clId="{3C7A14F0-AC9D-4C0F-B2FD-5645A9CA3617}" dt="2026-06-29T13:17:11.951" v="3738" actId="20577"/>
          <ac:spMkLst>
            <pc:docMk/>
            <pc:sldMk cId="188141761" sldId="2134807291"/>
            <ac:spMk id="93" creationId="{21715B33-819A-9582-D8E5-CBC7F25BBF09}"/>
          </ac:spMkLst>
        </pc:spChg>
        <pc:spChg chg="mod">
          <ac:chgData name="Evyan Lyngshing [Chillibreeze]" userId="b5a92789-231b-4933-b5e3-9c4db485d6cf" providerId="ADAL" clId="{3C7A14F0-AC9D-4C0F-B2FD-5645A9CA3617}" dt="2026-06-29T13:17:11.951" v="3739" actId="20577"/>
          <ac:spMkLst>
            <pc:docMk/>
            <pc:sldMk cId="188141761" sldId="2134807291"/>
            <ac:spMk id="94" creationId="{47423FA9-268F-92B4-1D06-09389FD79DFD}"/>
          </ac:spMkLst>
        </pc:spChg>
        <pc:spChg chg="mod">
          <ac:chgData name="Evyan Lyngshing [Chillibreeze]" userId="b5a92789-231b-4933-b5e3-9c4db485d6cf" providerId="ADAL" clId="{3C7A14F0-AC9D-4C0F-B2FD-5645A9CA3617}" dt="2026-06-29T13:17:11.951" v="3740" actId="20577"/>
          <ac:spMkLst>
            <pc:docMk/>
            <pc:sldMk cId="188141761" sldId="2134807291"/>
            <ac:spMk id="95" creationId="{FD980073-0895-B25B-D754-AEA39DA386D1}"/>
          </ac:spMkLst>
        </pc:spChg>
        <pc:spChg chg="mod">
          <ac:chgData name="Evyan Lyngshing [Chillibreeze]" userId="b5a92789-231b-4933-b5e3-9c4db485d6cf" providerId="ADAL" clId="{3C7A14F0-AC9D-4C0F-B2FD-5645A9CA3617}" dt="2026-06-29T13:18:12.947" v="3764" actId="207"/>
          <ac:spMkLst>
            <pc:docMk/>
            <pc:sldMk cId="188141761" sldId="2134807291"/>
            <ac:spMk id="100" creationId="{8CAEA276-5421-ACB0-0F50-269FD7D67A3B}"/>
          </ac:spMkLst>
        </pc:spChg>
        <pc:spChg chg="mod">
          <ac:chgData name="Evyan Lyngshing [Chillibreeze]" userId="b5a92789-231b-4933-b5e3-9c4db485d6cf" providerId="ADAL" clId="{3C7A14F0-AC9D-4C0F-B2FD-5645A9CA3617}" dt="2026-06-29T13:18:12.947" v="3764" actId="207"/>
          <ac:spMkLst>
            <pc:docMk/>
            <pc:sldMk cId="188141761" sldId="2134807291"/>
            <ac:spMk id="101" creationId="{4FF380C2-2B23-50D6-AA5E-19B0B0FD553B}"/>
          </ac:spMkLst>
        </pc:spChg>
        <pc:spChg chg="mod">
          <ac:chgData name="Evyan Lyngshing [Chillibreeze]" userId="b5a92789-231b-4933-b5e3-9c4db485d6cf" providerId="ADAL" clId="{3C7A14F0-AC9D-4C0F-B2FD-5645A9CA3617}" dt="2026-06-29T13:18:12.947" v="3764" actId="207"/>
          <ac:spMkLst>
            <pc:docMk/>
            <pc:sldMk cId="188141761" sldId="2134807291"/>
            <ac:spMk id="102" creationId="{3B42A53A-6D04-4C5A-046B-9515EE99BAF1}"/>
          </ac:spMkLst>
        </pc:spChg>
        <pc:spChg chg="mod">
          <ac:chgData name="Evyan Lyngshing [Chillibreeze]" userId="b5a92789-231b-4933-b5e3-9c4db485d6cf" providerId="ADAL" clId="{3C7A14F0-AC9D-4C0F-B2FD-5645A9CA3617}" dt="2026-06-29T13:18:12.947" v="3764" actId="207"/>
          <ac:spMkLst>
            <pc:docMk/>
            <pc:sldMk cId="188141761" sldId="2134807291"/>
            <ac:spMk id="103" creationId="{C3769FB7-17D6-DD3C-EC98-79592C999461}"/>
          </ac:spMkLst>
        </pc:spChg>
        <pc:spChg chg="del mod ord">
          <ac:chgData name="Evyan Lyngshing [Chillibreeze]" userId="b5a92789-231b-4933-b5e3-9c4db485d6cf" providerId="ADAL" clId="{3C7A14F0-AC9D-4C0F-B2FD-5645A9CA3617}" dt="2026-06-29T13:19:59.858" v="3803" actId="21"/>
          <ac:spMkLst>
            <pc:docMk/>
            <pc:sldMk cId="188141761" sldId="2134807291"/>
            <ac:spMk id="104" creationId="{48A6E333-6184-320A-BD56-1A06C59E1F42}"/>
          </ac:spMkLst>
        </pc:spChg>
        <pc:spChg chg="del mod">
          <ac:chgData name="Evyan Lyngshing [Chillibreeze]" userId="b5a92789-231b-4933-b5e3-9c4db485d6cf" providerId="ADAL" clId="{3C7A14F0-AC9D-4C0F-B2FD-5645A9CA3617}" dt="2026-06-29T12:25:15.993" v="2976" actId="478"/>
          <ac:spMkLst>
            <pc:docMk/>
            <pc:sldMk cId="188141761" sldId="2134807291"/>
            <ac:spMk id="105" creationId="{9CA85FD7-607F-E0FE-0500-3BE60D9A1212}"/>
          </ac:spMkLst>
        </pc:spChg>
        <pc:spChg chg="mod">
          <ac:chgData name="Evyan Lyngshing [Chillibreeze]" userId="b5a92789-231b-4933-b5e3-9c4db485d6cf" providerId="ADAL" clId="{3C7A14F0-AC9D-4C0F-B2FD-5645A9CA3617}" dt="2026-06-29T13:18:12.947" v="3764" actId="207"/>
          <ac:spMkLst>
            <pc:docMk/>
            <pc:sldMk cId="188141761" sldId="2134807291"/>
            <ac:spMk id="106" creationId="{6AB28382-9EC3-31B7-C62A-B78CAB69A483}"/>
          </ac:spMkLst>
        </pc:spChg>
        <pc:spChg chg="mod">
          <ac:chgData name="Evyan Lyngshing [Chillibreeze]" userId="b5a92789-231b-4933-b5e3-9c4db485d6cf" providerId="ADAL" clId="{3C7A14F0-AC9D-4C0F-B2FD-5645A9CA3617}" dt="2026-06-29T13:18:12.947" v="3764" actId="207"/>
          <ac:spMkLst>
            <pc:docMk/>
            <pc:sldMk cId="188141761" sldId="2134807291"/>
            <ac:spMk id="107" creationId="{BB98142E-E73C-ECA4-F669-3FB3DA381D10}"/>
          </ac:spMkLst>
        </pc:spChg>
        <pc:spChg chg="mod">
          <ac:chgData name="Evyan Lyngshing [Chillibreeze]" userId="b5a92789-231b-4933-b5e3-9c4db485d6cf" providerId="ADAL" clId="{3C7A14F0-AC9D-4C0F-B2FD-5645A9CA3617}" dt="2026-06-29T13:18:12.947" v="3764" actId="207"/>
          <ac:spMkLst>
            <pc:docMk/>
            <pc:sldMk cId="188141761" sldId="2134807291"/>
            <ac:spMk id="108" creationId="{ACE5B54A-7B8B-6E83-3323-70FC4FC48204}"/>
          </ac:spMkLst>
        </pc:spChg>
        <pc:spChg chg="mod">
          <ac:chgData name="Evyan Lyngshing [Chillibreeze]" userId="b5a92789-231b-4933-b5e3-9c4db485d6cf" providerId="ADAL" clId="{3C7A14F0-AC9D-4C0F-B2FD-5645A9CA3617}" dt="2026-06-29T13:18:12.947" v="3764" actId="207"/>
          <ac:spMkLst>
            <pc:docMk/>
            <pc:sldMk cId="188141761" sldId="2134807291"/>
            <ac:spMk id="109" creationId="{EABDA84B-CB93-16EA-F9FA-D78C22CFFDE3}"/>
          </ac:spMkLst>
        </pc:spChg>
        <pc:spChg chg="mod ord">
          <ac:chgData name="Evyan Lyngshing [Chillibreeze]" userId="b5a92789-231b-4933-b5e3-9c4db485d6cf" providerId="ADAL" clId="{3C7A14F0-AC9D-4C0F-B2FD-5645A9CA3617}" dt="2026-06-29T13:20:09.454" v="3816"/>
          <ac:spMkLst>
            <pc:docMk/>
            <pc:sldMk cId="188141761" sldId="2134807291"/>
            <ac:spMk id="110" creationId="{6345210E-00CA-0574-ABEB-B9793B3384C3}"/>
          </ac:spMkLst>
        </pc:spChg>
        <pc:spChg chg="mod">
          <ac:chgData name="Evyan Lyngshing [Chillibreeze]" userId="b5a92789-231b-4933-b5e3-9c4db485d6cf" providerId="ADAL" clId="{3C7A14F0-AC9D-4C0F-B2FD-5645A9CA3617}" dt="2026-06-29T13:18:12.947" v="3764" actId="207"/>
          <ac:spMkLst>
            <pc:docMk/>
            <pc:sldMk cId="188141761" sldId="2134807291"/>
            <ac:spMk id="111" creationId="{DDF2B550-3FDC-D033-52D7-524673D2B805}"/>
          </ac:spMkLst>
        </pc:spChg>
        <pc:spChg chg="mod ord">
          <ac:chgData name="Evyan Lyngshing [Chillibreeze]" userId="b5a92789-231b-4933-b5e3-9c4db485d6cf" providerId="ADAL" clId="{3C7A14F0-AC9D-4C0F-B2FD-5645A9CA3617}" dt="2026-06-29T13:20:09.454" v="3818"/>
          <ac:spMkLst>
            <pc:docMk/>
            <pc:sldMk cId="188141761" sldId="2134807291"/>
            <ac:spMk id="112" creationId="{16E94C0D-EE34-54A1-FE1E-0BFAD456B1D3}"/>
          </ac:spMkLst>
        </pc:spChg>
        <pc:spChg chg="mod ord">
          <ac:chgData name="Evyan Lyngshing [Chillibreeze]" userId="b5a92789-231b-4933-b5e3-9c4db485d6cf" providerId="ADAL" clId="{3C7A14F0-AC9D-4C0F-B2FD-5645A9CA3617}" dt="2026-06-29T13:20:09.454" v="3820"/>
          <ac:spMkLst>
            <pc:docMk/>
            <pc:sldMk cId="188141761" sldId="2134807291"/>
            <ac:spMk id="113" creationId="{03627AD0-8883-9806-11FC-6E8A6B94BA6A}"/>
          </ac:spMkLst>
        </pc:spChg>
        <pc:spChg chg="mod ord">
          <ac:chgData name="Evyan Lyngshing [Chillibreeze]" userId="b5a92789-231b-4933-b5e3-9c4db485d6cf" providerId="ADAL" clId="{3C7A14F0-AC9D-4C0F-B2FD-5645A9CA3617}" dt="2026-06-29T13:20:09.457" v="3822"/>
          <ac:spMkLst>
            <pc:docMk/>
            <pc:sldMk cId="188141761" sldId="2134807291"/>
            <ac:spMk id="114" creationId="{FEEC9C8D-C774-EB34-AC45-D169D793F960}"/>
          </ac:spMkLst>
        </pc:spChg>
        <pc:spChg chg="mod">
          <ac:chgData name="Evyan Lyngshing [Chillibreeze]" userId="b5a92789-231b-4933-b5e3-9c4db485d6cf" providerId="ADAL" clId="{3C7A14F0-AC9D-4C0F-B2FD-5645A9CA3617}" dt="2026-06-29T13:18:12.947" v="3764" actId="207"/>
          <ac:spMkLst>
            <pc:docMk/>
            <pc:sldMk cId="188141761" sldId="2134807291"/>
            <ac:spMk id="116" creationId="{41345344-9121-D299-37DE-33AB2F715000}"/>
          </ac:spMkLst>
        </pc:spChg>
        <pc:spChg chg="mod">
          <ac:chgData name="Evyan Lyngshing [Chillibreeze]" userId="b5a92789-231b-4933-b5e3-9c4db485d6cf" providerId="ADAL" clId="{3C7A14F0-AC9D-4C0F-B2FD-5645A9CA3617}" dt="2026-06-29T13:19:01.027" v="3779" actId="207"/>
          <ac:spMkLst>
            <pc:docMk/>
            <pc:sldMk cId="188141761" sldId="2134807291"/>
            <ac:spMk id="122" creationId="{0D53416C-EEBC-102D-DD2D-A4CFC7FD0494}"/>
          </ac:spMkLst>
        </pc:spChg>
        <pc:spChg chg="mod">
          <ac:chgData name="Evyan Lyngshing [Chillibreeze]" userId="b5a92789-231b-4933-b5e3-9c4db485d6cf" providerId="ADAL" clId="{3C7A14F0-AC9D-4C0F-B2FD-5645A9CA3617}" dt="2026-06-29T13:19:01.027" v="3779" actId="207"/>
          <ac:spMkLst>
            <pc:docMk/>
            <pc:sldMk cId="188141761" sldId="2134807291"/>
            <ac:spMk id="123" creationId="{4380770F-A29D-F76C-1386-45605D5BD398}"/>
          </ac:spMkLst>
        </pc:spChg>
        <pc:spChg chg="mod">
          <ac:chgData name="Evyan Lyngshing [Chillibreeze]" userId="b5a92789-231b-4933-b5e3-9c4db485d6cf" providerId="ADAL" clId="{3C7A14F0-AC9D-4C0F-B2FD-5645A9CA3617}" dt="2026-06-29T13:19:01.027" v="3779" actId="207"/>
          <ac:spMkLst>
            <pc:docMk/>
            <pc:sldMk cId="188141761" sldId="2134807291"/>
            <ac:spMk id="125" creationId="{4E464703-8BD3-8F84-DA6C-228CEF092CC3}"/>
          </ac:spMkLst>
        </pc:spChg>
        <pc:spChg chg="mod">
          <ac:chgData name="Evyan Lyngshing [Chillibreeze]" userId="b5a92789-231b-4933-b5e3-9c4db485d6cf" providerId="ADAL" clId="{3C7A14F0-AC9D-4C0F-B2FD-5645A9CA3617}" dt="2026-06-29T13:19:48.346" v="3801" actId="164"/>
          <ac:spMkLst>
            <pc:docMk/>
            <pc:sldMk cId="188141761" sldId="2134807291"/>
            <ac:spMk id="130" creationId="{8B127F0F-F192-B910-5C50-40AE5D127DB5}"/>
          </ac:spMkLst>
        </pc:spChg>
        <pc:spChg chg="mod ord">
          <ac:chgData name="Evyan Lyngshing [Chillibreeze]" userId="b5a92789-231b-4933-b5e3-9c4db485d6cf" providerId="ADAL" clId="{3C7A14F0-AC9D-4C0F-B2FD-5645A9CA3617}" dt="2026-06-29T13:19:08.557" v="3784" actId="164"/>
          <ac:spMkLst>
            <pc:docMk/>
            <pc:sldMk cId="188141761" sldId="2134807291"/>
            <ac:spMk id="131" creationId="{B315ACA0-C894-61F7-4220-6B8B04348BBE}"/>
          </ac:spMkLst>
        </pc:spChg>
        <pc:spChg chg="mod ord">
          <ac:chgData name="Evyan Lyngshing [Chillibreeze]" userId="b5a92789-231b-4933-b5e3-9c4db485d6cf" providerId="ADAL" clId="{3C7A14F0-AC9D-4C0F-B2FD-5645A9CA3617}" dt="2026-06-29T13:19:48.346" v="3801" actId="164"/>
          <ac:spMkLst>
            <pc:docMk/>
            <pc:sldMk cId="188141761" sldId="2134807291"/>
            <ac:spMk id="132" creationId="{1F9665CC-06CC-DF21-17E0-C8B7595CD40E}"/>
          </ac:spMkLst>
        </pc:spChg>
        <pc:spChg chg="mod ord">
          <ac:chgData name="Evyan Lyngshing [Chillibreeze]" userId="b5a92789-231b-4933-b5e3-9c4db485d6cf" providerId="ADAL" clId="{3C7A14F0-AC9D-4C0F-B2FD-5645A9CA3617}" dt="2026-06-29T13:20:51.813" v="3899" actId="164"/>
          <ac:spMkLst>
            <pc:docMk/>
            <pc:sldMk cId="188141761" sldId="2134807291"/>
            <ac:spMk id="133" creationId="{58B70545-CE72-8945-DF77-51EE70CB960D}"/>
          </ac:spMkLst>
        </pc:spChg>
        <pc:spChg chg="mod ord">
          <ac:chgData name="Evyan Lyngshing [Chillibreeze]" userId="b5a92789-231b-4933-b5e3-9c4db485d6cf" providerId="ADAL" clId="{3C7A14F0-AC9D-4C0F-B2FD-5645A9CA3617}" dt="2026-06-29T13:21:28.880" v="3913" actId="164"/>
          <ac:spMkLst>
            <pc:docMk/>
            <pc:sldMk cId="188141761" sldId="2134807291"/>
            <ac:spMk id="134" creationId="{42DD9592-3D0B-740E-0241-9C8BD1C29307}"/>
          </ac:spMkLst>
        </pc:spChg>
        <pc:spChg chg="add mod ord">
          <ac:chgData name="Evyan Lyngshing [Chillibreeze]" userId="b5a92789-231b-4933-b5e3-9c4db485d6cf" providerId="ADAL" clId="{3C7A14F0-AC9D-4C0F-B2FD-5645A9CA3617}" dt="2026-06-29T13:20:09.447" v="3806"/>
          <ac:spMkLst>
            <pc:docMk/>
            <pc:sldMk cId="188141761" sldId="2134807291"/>
            <ac:spMk id="136" creationId="{6CC0E071-F6E4-44DD-426F-BB67D1C518D0}"/>
          </ac:spMkLst>
        </pc:spChg>
        <pc:spChg chg="mod ord">
          <ac:chgData name="Evyan Lyngshing [Chillibreeze]" userId="b5a92789-231b-4933-b5e3-9c4db485d6cf" providerId="ADAL" clId="{3C7A14F0-AC9D-4C0F-B2FD-5645A9CA3617}" dt="2026-06-29T13:20:09.457" v="3834"/>
          <ac:spMkLst>
            <pc:docMk/>
            <pc:sldMk cId="188141761" sldId="2134807291"/>
            <ac:spMk id="137" creationId="{EFF731C6-C5DA-BEB9-0709-5529862AA887}"/>
          </ac:spMkLst>
        </pc:spChg>
        <pc:spChg chg="mod ord">
          <ac:chgData name="Evyan Lyngshing [Chillibreeze]" userId="b5a92789-231b-4933-b5e3-9c4db485d6cf" providerId="ADAL" clId="{3C7A14F0-AC9D-4C0F-B2FD-5645A9CA3617}" dt="2026-06-29T13:20:09.457" v="3836"/>
          <ac:spMkLst>
            <pc:docMk/>
            <pc:sldMk cId="188141761" sldId="2134807291"/>
            <ac:spMk id="138" creationId="{2AE06324-4B77-C4F1-A56F-DE83874FF0CF}"/>
          </ac:spMkLst>
        </pc:spChg>
        <pc:spChg chg="mod ord">
          <ac:chgData name="Evyan Lyngshing [Chillibreeze]" userId="b5a92789-231b-4933-b5e3-9c4db485d6cf" providerId="ADAL" clId="{3C7A14F0-AC9D-4C0F-B2FD-5645A9CA3617}" dt="2026-06-29T13:20:09.457" v="3838"/>
          <ac:spMkLst>
            <pc:docMk/>
            <pc:sldMk cId="188141761" sldId="2134807291"/>
            <ac:spMk id="139" creationId="{408F51E6-A050-53AA-B43E-10CCD8B22DD5}"/>
          </ac:spMkLst>
        </pc:spChg>
        <pc:spChg chg="mod ord">
          <ac:chgData name="Evyan Lyngshing [Chillibreeze]" userId="b5a92789-231b-4933-b5e3-9c4db485d6cf" providerId="ADAL" clId="{3C7A14F0-AC9D-4C0F-B2FD-5645A9CA3617}" dt="2026-06-29T13:20:09.457" v="3840"/>
          <ac:spMkLst>
            <pc:docMk/>
            <pc:sldMk cId="188141761" sldId="2134807291"/>
            <ac:spMk id="140" creationId="{63F3C9AF-B9EE-CED7-E190-AB7EE29F8163}"/>
          </ac:spMkLst>
        </pc:spChg>
        <pc:spChg chg="mod ord">
          <ac:chgData name="Evyan Lyngshing [Chillibreeze]" userId="b5a92789-231b-4933-b5e3-9c4db485d6cf" providerId="ADAL" clId="{3C7A14F0-AC9D-4C0F-B2FD-5645A9CA3617}" dt="2026-06-29T13:14:09.666" v="3664" actId="164"/>
          <ac:spMkLst>
            <pc:docMk/>
            <pc:sldMk cId="188141761" sldId="2134807291"/>
            <ac:spMk id="144" creationId="{BF335BE2-05AC-EEA7-DD8B-A44DA56E3EBA}"/>
          </ac:spMkLst>
        </pc:spChg>
        <pc:spChg chg="mod ord">
          <ac:chgData name="Evyan Lyngshing [Chillibreeze]" userId="b5a92789-231b-4933-b5e3-9c4db485d6cf" providerId="ADAL" clId="{3C7A14F0-AC9D-4C0F-B2FD-5645A9CA3617}" dt="2026-06-29T13:14:49.895" v="3678" actId="164"/>
          <ac:spMkLst>
            <pc:docMk/>
            <pc:sldMk cId="188141761" sldId="2134807291"/>
            <ac:spMk id="145" creationId="{3A9C5F94-D12D-D746-9949-B16462B8FC45}"/>
          </ac:spMkLst>
        </pc:spChg>
        <pc:spChg chg="mod ord">
          <ac:chgData name="Evyan Lyngshing [Chillibreeze]" userId="b5a92789-231b-4933-b5e3-9c4db485d6cf" providerId="ADAL" clId="{3C7A14F0-AC9D-4C0F-B2FD-5645A9CA3617}" dt="2026-06-29T13:16:20.517" v="3705" actId="164"/>
          <ac:spMkLst>
            <pc:docMk/>
            <pc:sldMk cId="188141761" sldId="2134807291"/>
            <ac:spMk id="146" creationId="{7A6F7F3B-CB0D-477D-24D9-528F462B7968}"/>
          </ac:spMkLst>
        </pc:spChg>
        <pc:spChg chg="mod ord">
          <ac:chgData name="Evyan Lyngshing [Chillibreeze]" userId="b5a92789-231b-4933-b5e3-9c4db485d6cf" providerId="ADAL" clId="{3C7A14F0-AC9D-4C0F-B2FD-5645A9CA3617}" dt="2026-06-29T13:18:20.562" v="3770" actId="164"/>
          <ac:spMkLst>
            <pc:docMk/>
            <pc:sldMk cId="188141761" sldId="2134807291"/>
            <ac:spMk id="147" creationId="{870736B3-EB8F-63BA-F677-A91BC6A1B3F2}"/>
          </ac:spMkLst>
        </pc:spChg>
        <pc:spChg chg="mod ord">
          <ac:chgData name="Evyan Lyngshing [Chillibreeze]" userId="b5a92789-231b-4933-b5e3-9c4db485d6cf" providerId="ADAL" clId="{3C7A14F0-AC9D-4C0F-B2FD-5645A9CA3617}" dt="2026-06-29T13:20:09.457" v="3842"/>
          <ac:spMkLst>
            <pc:docMk/>
            <pc:sldMk cId="188141761" sldId="2134807291"/>
            <ac:spMk id="148" creationId="{D39B7BB8-3413-0310-EF4B-28399DAA6E16}"/>
          </ac:spMkLst>
        </pc:spChg>
        <pc:spChg chg="mod ord">
          <ac:chgData name="Evyan Lyngshing [Chillibreeze]" userId="b5a92789-231b-4933-b5e3-9c4db485d6cf" providerId="ADAL" clId="{3C7A14F0-AC9D-4C0F-B2FD-5645A9CA3617}" dt="2026-06-29T13:17:29.142" v="3748" actId="164"/>
          <ac:spMkLst>
            <pc:docMk/>
            <pc:sldMk cId="188141761" sldId="2134807291"/>
            <ac:spMk id="150" creationId="{C6623256-3875-4F87-10B3-0A91D12D1B4A}"/>
          </ac:spMkLst>
        </pc:spChg>
        <pc:spChg chg="mod ord">
          <ac:chgData name="Evyan Lyngshing [Chillibreeze]" userId="b5a92789-231b-4933-b5e3-9c4db485d6cf" providerId="ADAL" clId="{3C7A14F0-AC9D-4C0F-B2FD-5645A9CA3617}" dt="2026-06-29T13:03:06.663" v="3383" actId="164"/>
          <ac:spMkLst>
            <pc:docMk/>
            <pc:sldMk cId="188141761" sldId="2134807291"/>
            <ac:spMk id="153" creationId="{C0EB0FAF-D052-BCC2-240B-3F32649A225D}"/>
          </ac:spMkLst>
        </pc:spChg>
        <pc:spChg chg="mod">
          <ac:chgData name="Evyan Lyngshing [Chillibreeze]" userId="b5a92789-231b-4933-b5e3-9c4db485d6cf" providerId="ADAL" clId="{3C7A14F0-AC9D-4C0F-B2FD-5645A9CA3617}" dt="2026-06-29T13:20:47.512" v="3893" actId="207"/>
          <ac:spMkLst>
            <pc:docMk/>
            <pc:sldMk cId="188141761" sldId="2134807291"/>
            <ac:spMk id="156" creationId="{565F12B3-E348-E137-6297-4AE5A6503FEB}"/>
          </ac:spMkLst>
        </pc:spChg>
        <pc:spChg chg="mod">
          <ac:chgData name="Evyan Lyngshing [Chillibreeze]" userId="b5a92789-231b-4933-b5e3-9c4db485d6cf" providerId="ADAL" clId="{3C7A14F0-AC9D-4C0F-B2FD-5645A9CA3617}" dt="2026-06-29T13:20:33.600" v="3875" actId="20577"/>
          <ac:spMkLst>
            <pc:docMk/>
            <pc:sldMk cId="188141761" sldId="2134807291"/>
            <ac:spMk id="157" creationId="{24D28BFD-165C-8833-8690-DBA8239F54AF}"/>
          </ac:spMkLst>
        </pc:spChg>
        <pc:spChg chg="mod">
          <ac:chgData name="Evyan Lyngshing [Chillibreeze]" userId="b5a92789-231b-4933-b5e3-9c4db485d6cf" providerId="ADAL" clId="{3C7A14F0-AC9D-4C0F-B2FD-5645A9CA3617}" dt="2026-06-29T13:20:47.512" v="3893" actId="207"/>
          <ac:spMkLst>
            <pc:docMk/>
            <pc:sldMk cId="188141761" sldId="2134807291"/>
            <ac:spMk id="158" creationId="{A7808C65-68F1-D860-1728-EBD4D3F34CCA}"/>
          </ac:spMkLst>
        </pc:spChg>
        <pc:spChg chg="mod">
          <ac:chgData name="Evyan Lyngshing [Chillibreeze]" userId="b5a92789-231b-4933-b5e3-9c4db485d6cf" providerId="ADAL" clId="{3C7A14F0-AC9D-4C0F-B2FD-5645A9CA3617}" dt="2026-06-29T13:20:33.604" v="3877" actId="20577"/>
          <ac:spMkLst>
            <pc:docMk/>
            <pc:sldMk cId="188141761" sldId="2134807291"/>
            <ac:spMk id="159" creationId="{F5315945-C0A4-1080-804A-5E39E1C62F28}"/>
          </ac:spMkLst>
        </pc:spChg>
        <pc:spChg chg="mod">
          <ac:chgData name="Evyan Lyngshing [Chillibreeze]" userId="b5a92789-231b-4933-b5e3-9c4db485d6cf" providerId="ADAL" clId="{3C7A14F0-AC9D-4C0F-B2FD-5645A9CA3617}" dt="2026-06-29T13:20:47.512" v="3893" actId="207"/>
          <ac:spMkLst>
            <pc:docMk/>
            <pc:sldMk cId="188141761" sldId="2134807291"/>
            <ac:spMk id="160" creationId="{207826C5-8073-3D5F-91AD-39EDEBEC100B}"/>
          </ac:spMkLst>
        </pc:spChg>
        <pc:spChg chg="mod">
          <ac:chgData name="Evyan Lyngshing [Chillibreeze]" userId="b5a92789-231b-4933-b5e3-9c4db485d6cf" providerId="ADAL" clId="{3C7A14F0-AC9D-4C0F-B2FD-5645A9CA3617}" dt="2026-06-29T13:20:47.512" v="3893" actId="207"/>
          <ac:spMkLst>
            <pc:docMk/>
            <pc:sldMk cId="188141761" sldId="2134807291"/>
            <ac:spMk id="161" creationId="{2CC3758B-FFD4-E1C3-023B-557F3557BAF6}"/>
          </ac:spMkLst>
        </pc:spChg>
        <pc:spChg chg="mod">
          <ac:chgData name="Evyan Lyngshing [Chillibreeze]" userId="b5a92789-231b-4933-b5e3-9c4db485d6cf" providerId="ADAL" clId="{3C7A14F0-AC9D-4C0F-B2FD-5645A9CA3617}" dt="2026-06-29T13:20:47.512" v="3893" actId="207"/>
          <ac:spMkLst>
            <pc:docMk/>
            <pc:sldMk cId="188141761" sldId="2134807291"/>
            <ac:spMk id="162" creationId="{54CECF5F-49B1-98D1-8307-EF9CF6D68EEA}"/>
          </ac:spMkLst>
        </pc:spChg>
        <pc:spChg chg="mod">
          <ac:chgData name="Evyan Lyngshing [Chillibreeze]" userId="b5a92789-231b-4933-b5e3-9c4db485d6cf" providerId="ADAL" clId="{3C7A14F0-AC9D-4C0F-B2FD-5645A9CA3617}" dt="2026-06-29T13:20:47.512" v="3893" actId="207"/>
          <ac:spMkLst>
            <pc:docMk/>
            <pc:sldMk cId="188141761" sldId="2134807291"/>
            <ac:spMk id="163" creationId="{F84CB92A-761B-CF4D-D3C3-BC2EB569E202}"/>
          </ac:spMkLst>
        </pc:spChg>
        <pc:spChg chg="mod">
          <ac:chgData name="Evyan Lyngshing [Chillibreeze]" userId="b5a92789-231b-4933-b5e3-9c4db485d6cf" providerId="ADAL" clId="{3C7A14F0-AC9D-4C0F-B2FD-5645A9CA3617}" dt="2026-06-29T13:20:33.610" v="3882" actId="20577"/>
          <ac:spMkLst>
            <pc:docMk/>
            <pc:sldMk cId="188141761" sldId="2134807291"/>
            <ac:spMk id="164" creationId="{07BC7941-16BE-2522-01F7-A327D25BB1E2}"/>
          </ac:spMkLst>
        </pc:spChg>
        <pc:spChg chg="mod">
          <ac:chgData name="Evyan Lyngshing [Chillibreeze]" userId="b5a92789-231b-4933-b5e3-9c4db485d6cf" providerId="ADAL" clId="{3C7A14F0-AC9D-4C0F-B2FD-5645A9CA3617}" dt="2026-06-29T13:20:47.512" v="3893" actId="207"/>
          <ac:spMkLst>
            <pc:docMk/>
            <pc:sldMk cId="188141761" sldId="2134807291"/>
            <ac:spMk id="165" creationId="{07BDD61E-4DB0-5BDB-8174-19B15340B0B7}"/>
          </ac:spMkLst>
        </pc:spChg>
        <pc:spChg chg="mod">
          <ac:chgData name="Evyan Lyngshing [Chillibreeze]" userId="b5a92789-231b-4933-b5e3-9c4db485d6cf" providerId="ADAL" clId="{3C7A14F0-AC9D-4C0F-B2FD-5645A9CA3617}" dt="2026-06-29T13:20:47.512" v="3893" actId="207"/>
          <ac:spMkLst>
            <pc:docMk/>
            <pc:sldMk cId="188141761" sldId="2134807291"/>
            <ac:spMk id="166" creationId="{B4C34DA6-9D3C-936E-BD6F-F65B792B8A4E}"/>
          </ac:spMkLst>
        </pc:spChg>
        <pc:spChg chg="mod">
          <ac:chgData name="Evyan Lyngshing [Chillibreeze]" userId="b5a92789-231b-4933-b5e3-9c4db485d6cf" providerId="ADAL" clId="{3C7A14F0-AC9D-4C0F-B2FD-5645A9CA3617}" dt="2026-06-29T13:20:47.512" v="3893" actId="207"/>
          <ac:spMkLst>
            <pc:docMk/>
            <pc:sldMk cId="188141761" sldId="2134807291"/>
            <ac:spMk id="167" creationId="{6FEE23DF-2AE5-CF23-42CA-8D907C3A435C}"/>
          </ac:spMkLst>
        </pc:spChg>
        <pc:spChg chg="mod">
          <ac:chgData name="Evyan Lyngshing [Chillibreeze]" userId="b5a92789-231b-4933-b5e3-9c4db485d6cf" providerId="ADAL" clId="{3C7A14F0-AC9D-4C0F-B2FD-5645A9CA3617}" dt="2026-06-29T13:20:47.512" v="3893" actId="207"/>
          <ac:spMkLst>
            <pc:docMk/>
            <pc:sldMk cId="188141761" sldId="2134807291"/>
            <ac:spMk id="168" creationId="{0BE3DE68-AE80-7880-E8FB-4D84282B598D}"/>
          </ac:spMkLst>
        </pc:spChg>
        <pc:spChg chg="mod">
          <ac:chgData name="Evyan Lyngshing [Chillibreeze]" userId="b5a92789-231b-4933-b5e3-9c4db485d6cf" providerId="ADAL" clId="{3C7A14F0-AC9D-4C0F-B2FD-5645A9CA3617}" dt="2026-06-29T13:20:33.615" v="3887" actId="20577"/>
          <ac:spMkLst>
            <pc:docMk/>
            <pc:sldMk cId="188141761" sldId="2134807291"/>
            <ac:spMk id="169" creationId="{613235ED-0127-ED9B-5504-A1A7BB5DC60A}"/>
          </ac:spMkLst>
        </pc:spChg>
        <pc:spChg chg="mod">
          <ac:chgData name="Evyan Lyngshing [Chillibreeze]" userId="b5a92789-231b-4933-b5e3-9c4db485d6cf" providerId="ADAL" clId="{3C7A14F0-AC9D-4C0F-B2FD-5645A9CA3617}" dt="2026-06-29T13:21:28.880" v="3913" actId="164"/>
          <ac:spMkLst>
            <pc:docMk/>
            <pc:sldMk cId="188141761" sldId="2134807291"/>
            <ac:spMk id="173" creationId="{CB9951EA-1DC3-F784-8594-829A12A155FB}"/>
          </ac:spMkLst>
        </pc:spChg>
        <pc:grpChg chg="add del mod">
          <ac:chgData name="Evyan Lyngshing [Chillibreeze]" userId="b5a92789-231b-4933-b5e3-9c4db485d6cf" providerId="ADAL" clId="{3C7A14F0-AC9D-4C0F-B2FD-5645A9CA3617}" dt="2026-06-29T13:02:21.425" v="3265" actId="165"/>
          <ac:grpSpMkLst>
            <pc:docMk/>
            <pc:sldMk cId="188141761" sldId="2134807291"/>
            <ac:grpSpMk id="3" creationId="{8EA2AC98-8085-7DA4-AE78-04E2A54266F7}"/>
          </ac:grpSpMkLst>
        </pc:grpChg>
        <pc:grpChg chg="del mod topLvl">
          <ac:chgData name="Evyan Lyngshing [Chillibreeze]" userId="b5a92789-231b-4933-b5e3-9c4db485d6cf" providerId="ADAL" clId="{3C7A14F0-AC9D-4C0F-B2FD-5645A9CA3617}" dt="2026-06-29T13:02:21.830" v="3266" actId="165"/>
          <ac:grpSpMkLst>
            <pc:docMk/>
            <pc:sldMk cId="188141761" sldId="2134807291"/>
            <ac:grpSpMk id="5" creationId="{FB832268-B4BC-34B5-F0FB-3811F6FC682F}"/>
          </ac:grpSpMkLst>
        </pc:grpChg>
        <pc:grpChg chg="del mod topLvl">
          <ac:chgData name="Evyan Lyngshing [Chillibreeze]" userId="b5a92789-231b-4933-b5e3-9c4db485d6cf" providerId="ADAL" clId="{3C7A14F0-AC9D-4C0F-B2FD-5645A9CA3617}" dt="2026-06-29T13:02:21.830" v="3266" actId="165"/>
          <ac:grpSpMkLst>
            <pc:docMk/>
            <pc:sldMk cId="188141761" sldId="2134807291"/>
            <ac:grpSpMk id="6" creationId="{808321A9-A5EC-7B60-4AA4-994EBAAF6EA5}"/>
          </ac:grpSpMkLst>
        </pc:grpChg>
        <pc:grpChg chg="del mod">
          <ac:chgData name="Evyan Lyngshing [Chillibreeze]" userId="b5a92789-231b-4933-b5e3-9c4db485d6cf" providerId="ADAL" clId="{3C7A14F0-AC9D-4C0F-B2FD-5645A9CA3617}" dt="2026-06-29T13:02:28.371" v="3275" actId="165"/>
          <ac:grpSpMkLst>
            <pc:docMk/>
            <pc:sldMk cId="188141761" sldId="2134807291"/>
            <ac:grpSpMk id="13" creationId="{562C07F6-EDC7-FC65-828C-40408F3B00CA}"/>
          </ac:grpSpMkLst>
        </pc:grpChg>
        <pc:grpChg chg="mod topLvl">
          <ac:chgData name="Evyan Lyngshing [Chillibreeze]" userId="b5a92789-231b-4933-b5e3-9c4db485d6cf" providerId="ADAL" clId="{3C7A14F0-AC9D-4C0F-B2FD-5645A9CA3617}" dt="2026-06-29T13:02:59.263" v="3377"/>
          <ac:grpSpMkLst>
            <pc:docMk/>
            <pc:sldMk cId="188141761" sldId="2134807291"/>
            <ac:grpSpMk id="18" creationId="{9CA08653-3AF4-F4FD-0122-F2AA85CAEB2A}"/>
          </ac:grpSpMkLst>
        </pc:grpChg>
        <pc:grpChg chg="add mod ord">
          <ac:chgData name="Evyan Lyngshing [Chillibreeze]" userId="b5a92789-231b-4933-b5e3-9c4db485d6cf" providerId="ADAL" clId="{3C7A14F0-AC9D-4C0F-B2FD-5645A9CA3617}" dt="2026-06-29T13:03:06.663" v="3383" actId="164"/>
          <ac:grpSpMkLst>
            <pc:docMk/>
            <pc:sldMk cId="188141761" sldId="2134807291"/>
            <ac:grpSpMk id="21" creationId="{4078656C-6D40-76A9-58EF-E33C6D590C6E}"/>
          </ac:grpSpMkLst>
        </pc:grpChg>
        <pc:grpChg chg="del mod">
          <ac:chgData name="Evyan Lyngshing [Chillibreeze]" userId="b5a92789-231b-4933-b5e3-9c4db485d6cf" providerId="ADAL" clId="{3C7A14F0-AC9D-4C0F-B2FD-5645A9CA3617}" dt="2026-06-29T13:02:55.560" v="3370" actId="27803"/>
          <ac:grpSpMkLst>
            <pc:docMk/>
            <pc:sldMk cId="188141761" sldId="2134807291"/>
            <ac:grpSpMk id="22" creationId="{F24F48D9-766B-DAD3-E8D8-FC8A04D6C38E}"/>
          </ac:grpSpMkLst>
        </pc:grpChg>
        <pc:grpChg chg="del mod">
          <ac:chgData name="Evyan Lyngshing [Chillibreeze]" userId="b5a92789-231b-4933-b5e3-9c4db485d6cf" providerId="ADAL" clId="{3C7A14F0-AC9D-4C0F-B2FD-5645A9CA3617}" dt="2026-06-29T13:03:10.536" v="3384" actId="21"/>
          <ac:grpSpMkLst>
            <pc:docMk/>
            <pc:sldMk cId="188141761" sldId="2134807291"/>
            <ac:grpSpMk id="24" creationId="{925FFAA5-70D2-54C3-E557-AD30B59E0E8D}"/>
          </ac:grpSpMkLst>
        </pc:grpChg>
        <pc:grpChg chg="add mod ord">
          <ac:chgData name="Evyan Lyngshing [Chillibreeze]" userId="b5a92789-231b-4933-b5e3-9c4db485d6cf" providerId="ADAL" clId="{3C7A14F0-AC9D-4C0F-B2FD-5645A9CA3617}" dt="2026-06-29T13:20:09.463" v="3854"/>
          <ac:grpSpMkLst>
            <pc:docMk/>
            <pc:sldMk cId="188141761" sldId="2134807291"/>
            <ac:grpSpMk id="27" creationId="{5898C400-39AA-55F7-5E8E-33EC0006E570}"/>
          </ac:grpSpMkLst>
        </pc:grpChg>
        <pc:grpChg chg="mod">
          <ac:chgData name="Evyan Lyngshing [Chillibreeze]" userId="b5a92789-231b-4933-b5e3-9c4db485d6cf" providerId="ADAL" clId="{3C7A14F0-AC9D-4C0F-B2FD-5645A9CA3617}" dt="2026-06-29T13:14:09.666" v="3664" actId="164"/>
          <ac:grpSpMkLst>
            <pc:docMk/>
            <pc:sldMk cId="188141761" sldId="2134807291"/>
            <ac:grpSpMk id="30" creationId="{07AC5E8C-6A77-1B27-590E-C714472B2A0F}"/>
          </ac:grpSpMkLst>
        </pc:grpChg>
        <pc:grpChg chg="add mod ord">
          <ac:chgData name="Evyan Lyngshing [Chillibreeze]" userId="b5a92789-231b-4933-b5e3-9c4db485d6cf" providerId="ADAL" clId="{3C7A14F0-AC9D-4C0F-B2FD-5645A9CA3617}" dt="2026-06-29T13:20:09.463" v="3856"/>
          <ac:grpSpMkLst>
            <pc:docMk/>
            <pc:sldMk cId="188141761" sldId="2134807291"/>
            <ac:grpSpMk id="36" creationId="{C78BB056-7377-C33C-0E3C-3C247B33FBF7}"/>
          </ac:grpSpMkLst>
        </pc:grpChg>
        <pc:grpChg chg="add mod ord">
          <ac:chgData name="Evyan Lyngshing [Chillibreeze]" userId="b5a92789-231b-4933-b5e3-9c4db485d6cf" providerId="ADAL" clId="{3C7A14F0-AC9D-4C0F-B2FD-5645A9CA3617}" dt="2026-06-29T13:20:09.463" v="3858"/>
          <ac:grpSpMkLst>
            <pc:docMk/>
            <pc:sldMk cId="188141761" sldId="2134807291"/>
            <ac:grpSpMk id="40" creationId="{8CB57643-DEA2-8A15-8F7C-98DEF5C14B76}"/>
          </ac:grpSpMkLst>
        </pc:grpChg>
        <pc:grpChg chg="mod">
          <ac:chgData name="Evyan Lyngshing [Chillibreeze]" userId="b5a92789-231b-4933-b5e3-9c4db485d6cf" providerId="ADAL" clId="{3C7A14F0-AC9D-4C0F-B2FD-5645A9CA3617}" dt="2026-06-29T13:16:20.517" v="3705" actId="164"/>
          <ac:grpSpMkLst>
            <pc:docMk/>
            <pc:sldMk cId="188141761" sldId="2134807291"/>
            <ac:grpSpMk id="56" creationId="{3EEC9912-0D87-9830-F403-BC0A7669DB62}"/>
          </ac:grpSpMkLst>
        </pc:grpChg>
        <pc:grpChg chg="add mod ord">
          <ac:chgData name="Evyan Lyngshing [Chillibreeze]" userId="b5a92789-231b-4933-b5e3-9c4db485d6cf" providerId="ADAL" clId="{3C7A14F0-AC9D-4C0F-B2FD-5645A9CA3617}" dt="2026-06-29T13:20:09.463" v="3860"/>
          <ac:grpSpMkLst>
            <pc:docMk/>
            <pc:sldMk cId="188141761" sldId="2134807291"/>
            <ac:grpSpMk id="57" creationId="{E73E74D9-B2D4-08BA-A587-B4A1295ED9A6}"/>
          </ac:grpSpMkLst>
        </pc:grpChg>
        <pc:grpChg chg="mod">
          <ac:chgData name="Evyan Lyngshing [Chillibreeze]" userId="b5a92789-231b-4933-b5e3-9c4db485d6cf" providerId="ADAL" clId="{3C7A14F0-AC9D-4C0F-B2FD-5645A9CA3617}" dt="2026-06-29T13:17:29.142" v="3748" actId="164"/>
          <ac:grpSpMkLst>
            <pc:docMk/>
            <pc:sldMk cId="188141761" sldId="2134807291"/>
            <ac:grpSpMk id="60" creationId="{350202B0-17EB-F41C-4532-180D264DFA98}"/>
          </ac:grpSpMkLst>
        </pc:grpChg>
        <pc:grpChg chg="add mod ord">
          <ac:chgData name="Evyan Lyngshing [Chillibreeze]" userId="b5a92789-231b-4933-b5e3-9c4db485d6cf" providerId="ADAL" clId="{3C7A14F0-AC9D-4C0F-B2FD-5645A9CA3617}" dt="2026-06-29T13:20:09.466" v="3862"/>
          <ac:grpSpMkLst>
            <pc:docMk/>
            <pc:sldMk cId="188141761" sldId="2134807291"/>
            <ac:grpSpMk id="96" creationId="{F80A5084-54F4-0B8C-087B-810BFF70F7A9}"/>
          </ac:grpSpMkLst>
        </pc:grpChg>
        <pc:grpChg chg="mod">
          <ac:chgData name="Evyan Lyngshing [Chillibreeze]" userId="b5a92789-231b-4933-b5e3-9c4db485d6cf" providerId="ADAL" clId="{3C7A14F0-AC9D-4C0F-B2FD-5645A9CA3617}" dt="2026-06-29T13:18:20.562" v="3770" actId="164"/>
          <ac:grpSpMkLst>
            <pc:docMk/>
            <pc:sldMk cId="188141761" sldId="2134807291"/>
            <ac:grpSpMk id="117" creationId="{6A0C07B6-D144-D0BB-795A-BAB9C92F7957}"/>
          </ac:grpSpMkLst>
        </pc:grpChg>
        <pc:grpChg chg="add mod ord">
          <ac:chgData name="Evyan Lyngshing [Chillibreeze]" userId="b5a92789-231b-4933-b5e3-9c4db485d6cf" providerId="ADAL" clId="{3C7A14F0-AC9D-4C0F-B2FD-5645A9CA3617}" dt="2026-06-29T13:20:09.466" v="3864"/>
          <ac:grpSpMkLst>
            <pc:docMk/>
            <pc:sldMk cId="188141761" sldId="2134807291"/>
            <ac:grpSpMk id="118" creationId="{E252446B-9626-B8FC-DFEC-63A780BC6D14}"/>
          </ac:grpSpMkLst>
        </pc:grpChg>
        <pc:grpChg chg="mod">
          <ac:chgData name="Evyan Lyngshing [Chillibreeze]" userId="b5a92789-231b-4933-b5e3-9c4db485d6cf" providerId="ADAL" clId="{3C7A14F0-AC9D-4C0F-B2FD-5645A9CA3617}" dt="2026-06-29T13:19:08.557" v="3784" actId="164"/>
          <ac:grpSpMkLst>
            <pc:docMk/>
            <pc:sldMk cId="188141761" sldId="2134807291"/>
            <ac:grpSpMk id="121" creationId="{6CE0AB03-E6D9-B4C2-4743-0640830705B3}"/>
          </ac:grpSpMkLst>
        </pc:grpChg>
        <pc:grpChg chg="add mod ord">
          <ac:chgData name="Evyan Lyngshing [Chillibreeze]" userId="b5a92789-231b-4933-b5e3-9c4db485d6cf" providerId="ADAL" clId="{3C7A14F0-AC9D-4C0F-B2FD-5645A9CA3617}" dt="2026-06-29T13:20:09.466" v="3866"/>
          <ac:grpSpMkLst>
            <pc:docMk/>
            <pc:sldMk cId="188141761" sldId="2134807291"/>
            <ac:grpSpMk id="126" creationId="{1DBB87BC-5F48-E03A-7C4F-69BB654B6CA6}"/>
          </ac:grpSpMkLst>
        </pc:grpChg>
        <pc:grpChg chg="add mod ord">
          <ac:chgData name="Evyan Lyngshing [Chillibreeze]" userId="b5a92789-231b-4933-b5e3-9c4db485d6cf" providerId="ADAL" clId="{3C7A14F0-AC9D-4C0F-B2FD-5645A9CA3617}" dt="2026-06-29T13:20:09.466" v="3868"/>
          <ac:grpSpMkLst>
            <pc:docMk/>
            <pc:sldMk cId="188141761" sldId="2134807291"/>
            <ac:grpSpMk id="135" creationId="{A4AB9180-C774-7985-4BF1-DC898CB25C97}"/>
          </ac:grpSpMkLst>
        </pc:grpChg>
        <pc:grpChg chg="mod">
          <ac:chgData name="Evyan Lyngshing [Chillibreeze]" userId="b5a92789-231b-4933-b5e3-9c4db485d6cf" providerId="ADAL" clId="{3C7A14F0-AC9D-4C0F-B2FD-5645A9CA3617}" dt="2026-06-29T13:20:51.813" v="3899" actId="164"/>
          <ac:grpSpMkLst>
            <pc:docMk/>
            <pc:sldMk cId="188141761" sldId="2134807291"/>
            <ac:grpSpMk id="155" creationId="{C7455E0F-E30B-C6FD-A672-7BD1C5052DA6}"/>
          </ac:grpSpMkLst>
        </pc:grpChg>
        <pc:grpChg chg="add mod">
          <ac:chgData name="Evyan Lyngshing [Chillibreeze]" userId="b5a92789-231b-4933-b5e3-9c4db485d6cf" providerId="ADAL" clId="{3C7A14F0-AC9D-4C0F-B2FD-5645A9CA3617}" dt="2026-06-29T13:20:51.813" v="3899" actId="164"/>
          <ac:grpSpMkLst>
            <pc:docMk/>
            <pc:sldMk cId="188141761" sldId="2134807291"/>
            <ac:grpSpMk id="170" creationId="{26C46279-124D-98DF-4D82-23F186FD11D8}"/>
          </ac:grpSpMkLst>
        </pc:grpChg>
        <pc:grpChg chg="add mod">
          <ac:chgData name="Evyan Lyngshing [Chillibreeze]" userId="b5a92789-231b-4933-b5e3-9c4db485d6cf" providerId="ADAL" clId="{3C7A14F0-AC9D-4C0F-B2FD-5645A9CA3617}" dt="2026-06-29T13:21:28.880" v="3913" actId="164"/>
          <ac:grpSpMkLst>
            <pc:docMk/>
            <pc:sldMk cId="188141761" sldId="2134807291"/>
            <ac:grpSpMk id="174" creationId="{04F631F6-460D-EBA1-D221-82D3CA6E326D}"/>
          </ac:grpSpMkLst>
        </pc:grpChg>
        <pc:graphicFrameChg chg="mod">
          <ac:chgData name="Evyan Lyngshing [Chillibreeze]" userId="b5a92789-231b-4933-b5e3-9c4db485d6cf" providerId="ADAL" clId="{3C7A14F0-AC9D-4C0F-B2FD-5645A9CA3617}" dt="2026-06-29T13:20:09.466" v="3870"/>
          <ac:graphicFrameMkLst>
            <pc:docMk/>
            <pc:sldMk cId="188141761" sldId="2134807291"/>
            <ac:graphicFrameMk id="82" creationId="{CCADC661-36B0-6F64-DA3E-9060E68E38B2}"/>
          </ac:graphicFrameMkLst>
        </pc:graphicFrameChg>
        <pc:picChg chg="del mod topLvl">
          <ac:chgData name="Evyan Lyngshing [Chillibreeze]" userId="b5a92789-231b-4933-b5e3-9c4db485d6cf" providerId="ADAL" clId="{3C7A14F0-AC9D-4C0F-B2FD-5645A9CA3617}" dt="2026-06-29T13:02:27.310" v="3268" actId="27803"/>
          <ac:picMkLst>
            <pc:docMk/>
            <pc:sldMk cId="188141761" sldId="2134807291"/>
            <ac:picMk id="7" creationId="{752A0614-CBA3-0AAF-A7DA-14386C4353A7}"/>
          </ac:picMkLst>
        </pc:picChg>
        <pc:picChg chg="add del mod ord">
          <ac:chgData name="Evyan Lyngshing [Chillibreeze]" userId="b5a92789-231b-4933-b5e3-9c4db485d6cf" providerId="ADAL" clId="{3C7A14F0-AC9D-4C0F-B2FD-5645A9CA3617}" dt="2026-06-29T13:02:55.560" v="3370" actId="27803"/>
          <ac:picMkLst>
            <pc:docMk/>
            <pc:sldMk cId="188141761" sldId="2134807291"/>
            <ac:picMk id="12" creationId="{EFE8E863-E030-733F-B33C-E65C06E75741}"/>
          </ac:picMkLst>
        </pc:picChg>
        <pc:picChg chg="add del mod">
          <ac:chgData name="Evyan Lyngshing [Chillibreeze]" userId="b5a92789-231b-4933-b5e3-9c4db485d6cf" providerId="ADAL" clId="{3C7A14F0-AC9D-4C0F-B2FD-5645A9CA3617}" dt="2026-06-29T13:13:48.941" v="3648" actId="27803"/>
          <ac:picMkLst>
            <pc:docMk/>
            <pc:sldMk cId="188141761" sldId="2134807291"/>
            <ac:picMk id="29" creationId="{8817C60C-B95B-3209-1D5A-FF9F42AC0D0B}"/>
          </ac:picMkLst>
        </pc:picChg>
        <pc:picChg chg="add del mod">
          <ac:chgData name="Evyan Lyngshing [Chillibreeze]" userId="b5a92789-231b-4933-b5e3-9c4db485d6cf" providerId="ADAL" clId="{3C7A14F0-AC9D-4C0F-B2FD-5645A9CA3617}" dt="2026-06-29T13:14:31.296" v="3667" actId="27803"/>
          <ac:picMkLst>
            <pc:docMk/>
            <pc:sldMk cId="188141761" sldId="2134807291"/>
            <ac:picMk id="38" creationId="{6C7CA646-5547-7597-4982-E09060A1F8D3}"/>
          </ac:picMkLst>
        </pc:picChg>
        <pc:picChg chg="add mod">
          <ac:chgData name="Evyan Lyngshing [Chillibreeze]" userId="b5a92789-231b-4933-b5e3-9c4db485d6cf" providerId="ADAL" clId="{3C7A14F0-AC9D-4C0F-B2FD-5645A9CA3617}" dt="2026-06-29T13:15:57.720" v="3680"/>
          <ac:picMkLst>
            <pc:docMk/>
            <pc:sldMk cId="188141761" sldId="2134807291"/>
            <ac:picMk id="42" creationId="{307BB91B-2CBD-0FAB-D870-FE50750C6E7D}"/>
          </ac:picMkLst>
        </pc:picChg>
        <pc:picChg chg="add mod">
          <ac:chgData name="Evyan Lyngshing [Chillibreeze]" userId="b5a92789-231b-4933-b5e3-9c4db485d6cf" providerId="ADAL" clId="{3C7A14F0-AC9D-4C0F-B2FD-5645A9CA3617}" dt="2026-06-29T13:17:05.551" v="3707"/>
          <ac:picMkLst>
            <pc:docMk/>
            <pc:sldMk cId="188141761" sldId="2134807291"/>
            <ac:picMk id="59" creationId="{2F656A44-30A2-999A-79F8-E2F89D1CF797}"/>
          </ac:picMkLst>
        </pc:picChg>
        <pc:picChg chg="mod ord">
          <ac:chgData name="Evyan Lyngshing [Chillibreeze]" userId="b5a92789-231b-4933-b5e3-9c4db485d6cf" providerId="ADAL" clId="{3C7A14F0-AC9D-4C0F-B2FD-5645A9CA3617}" dt="2026-06-29T13:20:09.452" v="3810"/>
          <ac:picMkLst>
            <pc:docMk/>
            <pc:sldMk cId="188141761" sldId="2134807291"/>
            <ac:picMk id="84" creationId="{F886E855-59C2-A9DD-0625-A485FB701015}"/>
          </ac:picMkLst>
        </pc:picChg>
        <pc:picChg chg="add mod">
          <ac:chgData name="Evyan Lyngshing [Chillibreeze]" userId="b5a92789-231b-4933-b5e3-9c4db485d6cf" providerId="ADAL" clId="{3C7A14F0-AC9D-4C0F-B2FD-5645A9CA3617}" dt="2026-06-29T13:18:00.118" v="3750"/>
          <ac:picMkLst>
            <pc:docMk/>
            <pc:sldMk cId="188141761" sldId="2134807291"/>
            <ac:picMk id="98" creationId="{6CFF88EA-30E9-52ED-FEC5-523E695FA65D}"/>
          </ac:picMkLst>
        </pc:picChg>
        <pc:picChg chg="add del mod">
          <ac:chgData name="Evyan Lyngshing [Chillibreeze]" userId="b5a92789-231b-4933-b5e3-9c4db485d6cf" providerId="ADAL" clId="{3C7A14F0-AC9D-4C0F-B2FD-5645A9CA3617}" dt="2026-06-29T13:18:55.294" v="3773" actId="27803"/>
          <ac:picMkLst>
            <pc:docMk/>
            <pc:sldMk cId="188141761" sldId="2134807291"/>
            <ac:picMk id="120" creationId="{5579B53E-D379-477F-AE4C-D154F0775BA8}"/>
          </ac:picMkLst>
        </pc:picChg>
        <pc:picChg chg="add del mod">
          <ac:chgData name="Evyan Lyngshing [Chillibreeze]" userId="b5a92789-231b-4933-b5e3-9c4db485d6cf" providerId="ADAL" clId="{3C7A14F0-AC9D-4C0F-B2FD-5645A9CA3617}" dt="2026-06-29T13:19:26.875" v="3787" actId="27803"/>
          <ac:picMkLst>
            <pc:docMk/>
            <pc:sldMk cId="188141761" sldId="2134807291"/>
            <ac:picMk id="129" creationId="{8B127F0F-F192-B910-5C50-40AE5D127DB5}"/>
          </ac:picMkLst>
        </pc:picChg>
        <pc:picChg chg="mod ord">
          <ac:chgData name="Evyan Lyngshing [Chillibreeze]" userId="b5a92789-231b-4933-b5e3-9c4db485d6cf" providerId="ADAL" clId="{3C7A14F0-AC9D-4C0F-B2FD-5645A9CA3617}" dt="2026-06-29T13:20:09.452" v="3808"/>
          <ac:picMkLst>
            <pc:docMk/>
            <pc:sldMk cId="188141761" sldId="2134807291"/>
            <ac:picMk id="151" creationId="{96BFFD83-7F70-ECA6-375E-9BC6A2FCBEBA}"/>
          </ac:picMkLst>
        </pc:picChg>
        <pc:picChg chg="add mod">
          <ac:chgData name="Evyan Lyngshing [Chillibreeze]" userId="b5a92789-231b-4933-b5e3-9c4db485d6cf" providerId="ADAL" clId="{3C7A14F0-AC9D-4C0F-B2FD-5645A9CA3617}" dt="2026-06-29T13:20:31.701" v="3872"/>
          <ac:picMkLst>
            <pc:docMk/>
            <pc:sldMk cId="188141761" sldId="2134807291"/>
            <ac:picMk id="154" creationId="{D8D477EC-12F3-09D5-60DF-5FF49FAA3998}"/>
          </ac:picMkLst>
        </pc:picChg>
        <pc:picChg chg="add del mod">
          <ac:chgData name="Evyan Lyngshing [Chillibreeze]" userId="b5a92789-231b-4933-b5e3-9c4db485d6cf" providerId="ADAL" clId="{3C7A14F0-AC9D-4C0F-B2FD-5645A9CA3617}" dt="2026-06-29T13:21:14.547" v="3902" actId="27803"/>
          <ac:picMkLst>
            <pc:docMk/>
            <pc:sldMk cId="188141761" sldId="2134807291"/>
            <ac:picMk id="172" creationId="{CB9951EA-1DC3-F784-8594-829A12A155FB}"/>
          </ac:picMkLst>
        </pc:picChg>
        <pc:cxnChg chg="mod ord">
          <ac:chgData name="Evyan Lyngshing [Chillibreeze]" userId="b5a92789-231b-4933-b5e3-9c4db485d6cf" providerId="ADAL" clId="{3C7A14F0-AC9D-4C0F-B2FD-5645A9CA3617}" dt="2026-06-29T13:20:09.457" v="3824"/>
          <ac:cxnSpMkLst>
            <pc:docMk/>
            <pc:sldMk cId="188141761" sldId="2134807291"/>
            <ac:cxnSpMk id="115" creationId="{F9528F7C-F400-1E04-DB55-FCE245736892}"/>
          </ac:cxnSpMkLst>
        </pc:cxnChg>
        <pc:cxnChg chg="mod ord">
          <ac:chgData name="Evyan Lyngshing [Chillibreeze]" userId="b5a92789-231b-4933-b5e3-9c4db485d6cf" providerId="ADAL" clId="{3C7A14F0-AC9D-4C0F-B2FD-5645A9CA3617}" dt="2026-06-29T13:20:09.457" v="3826"/>
          <ac:cxnSpMkLst>
            <pc:docMk/>
            <pc:sldMk cId="188141761" sldId="2134807291"/>
            <ac:cxnSpMk id="124" creationId="{2079884D-85B3-8535-680E-D676AA3D6E69}"/>
          </ac:cxnSpMkLst>
        </pc:cxnChg>
        <pc:cxnChg chg="mod ord">
          <ac:chgData name="Evyan Lyngshing [Chillibreeze]" userId="b5a92789-231b-4933-b5e3-9c4db485d6cf" providerId="ADAL" clId="{3C7A14F0-AC9D-4C0F-B2FD-5645A9CA3617}" dt="2026-06-29T13:20:09.457" v="3828"/>
          <ac:cxnSpMkLst>
            <pc:docMk/>
            <pc:sldMk cId="188141761" sldId="2134807291"/>
            <ac:cxnSpMk id="127" creationId="{07C1E70D-9B7C-F391-A05F-A8914E2B7F80}"/>
          </ac:cxnSpMkLst>
        </pc:cxnChg>
        <pc:cxnChg chg="mod ord">
          <ac:chgData name="Evyan Lyngshing [Chillibreeze]" userId="b5a92789-231b-4933-b5e3-9c4db485d6cf" providerId="ADAL" clId="{3C7A14F0-AC9D-4C0F-B2FD-5645A9CA3617}" dt="2026-06-29T13:20:09.462" v="3844"/>
          <ac:cxnSpMkLst>
            <pc:docMk/>
            <pc:sldMk cId="188141761" sldId="2134807291"/>
            <ac:cxnSpMk id="141" creationId="{82E49710-20D1-CF66-9953-0851F53C5706}"/>
          </ac:cxnSpMkLst>
        </pc:cxnChg>
        <pc:cxnChg chg="mod ord">
          <ac:chgData name="Evyan Lyngshing [Chillibreeze]" userId="b5a92789-231b-4933-b5e3-9c4db485d6cf" providerId="ADAL" clId="{3C7A14F0-AC9D-4C0F-B2FD-5645A9CA3617}" dt="2026-06-29T13:20:09.462" v="3846"/>
          <ac:cxnSpMkLst>
            <pc:docMk/>
            <pc:sldMk cId="188141761" sldId="2134807291"/>
            <ac:cxnSpMk id="142" creationId="{0384FB82-3D3D-A12A-2D99-B31F2009BB46}"/>
          </ac:cxnSpMkLst>
        </pc:cxnChg>
        <pc:cxnChg chg="mod ord">
          <ac:chgData name="Evyan Lyngshing [Chillibreeze]" userId="b5a92789-231b-4933-b5e3-9c4db485d6cf" providerId="ADAL" clId="{3C7A14F0-AC9D-4C0F-B2FD-5645A9CA3617}" dt="2026-06-29T13:20:09.462" v="3848"/>
          <ac:cxnSpMkLst>
            <pc:docMk/>
            <pc:sldMk cId="188141761" sldId="2134807291"/>
            <ac:cxnSpMk id="143" creationId="{B86FF709-2CDF-141D-1D65-FB0C7368D641}"/>
          </ac:cxnSpMkLst>
        </pc:cxnChg>
        <pc:cxnChg chg="mod ord">
          <ac:chgData name="Evyan Lyngshing [Chillibreeze]" userId="b5a92789-231b-4933-b5e3-9c4db485d6cf" providerId="ADAL" clId="{3C7A14F0-AC9D-4C0F-B2FD-5645A9CA3617}" dt="2026-06-29T13:20:09.463" v="3850"/>
          <ac:cxnSpMkLst>
            <pc:docMk/>
            <pc:sldMk cId="188141761" sldId="2134807291"/>
            <ac:cxnSpMk id="149" creationId="{39AAE158-AEE8-74D6-D38D-E5BA23B6A9A0}"/>
          </ac:cxnSpMkLst>
        </pc:cxnChg>
      </pc:sldChg>
      <pc:sldChg chg="add del">
        <pc:chgData name="Evyan Lyngshing [Chillibreeze]" userId="b5a92789-231b-4933-b5e3-9c4db485d6cf" providerId="ADAL" clId="{3C7A14F0-AC9D-4C0F-B2FD-5645A9CA3617}" dt="2026-06-29T12:23:40.962" v="2939" actId="2890"/>
        <pc:sldMkLst>
          <pc:docMk/>
          <pc:sldMk cId="1532482554" sldId="2134807291"/>
        </pc:sldMkLst>
      </pc:sldChg>
      <pc:sldChg chg="add del">
        <pc:chgData name="Evyan Lyngshing [Chillibreeze]" userId="b5a92789-231b-4933-b5e3-9c4db485d6cf" providerId="ADAL" clId="{3C7A14F0-AC9D-4C0F-B2FD-5645A9CA3617}" dt="2026-06-29T09:55:46.041" v="3" actId="47"/>
        <pc:sldMkLst>
          <pc:docMk/>
          <pc:sldMk cId="1726932132" sldId="2134807291"/>
        </pc:sldMkLst>
      </pc:sldChg>
      <pc:sldMasterChg chg="del delSldLayout">
        <pc:chgData name="Evyan Lyngshing [Chillibreeze]" userId="b5a92789-231b-4933-b5e3-9c4db485d6cf" providerId="ADAL" clId="{3C7A14F0-AC9D-4C0F-B2FD-5645A9CA3617}" dt="2026-06-29T12:15:40.011" v="2516" actId="700"/>
        <pc:sldMasterMkLst>
          <pc:docMk/>
          <pc:sldMasterMk cId="2924236362" sldId="2147483753"/>
        </pc:sldMasterMkLst>
        <pc:sldLayoutChg chg="del">
          <pc:chgData name="Evyan Lyngshing [Chillibreeze]" userId="b5a92789-231b-4933-b5e3-9c4db485d6cf" providerId="ADAL" clId="{3C7A14F0-AC9D-4C0F-B2FD-5645A9CA3617}" dt="2026-06-29T12:15:40.011" v="2516" actId="700"/>
          <pc:sldLayoutMkLst>
            <pc:docMk/>
            <pc:sldMasterMk cId="2924236362" sldId="2147483753"/>
            <pc:sldLayoutMk cId="3133817130" sldId="2147483754"/>
          </pc:sldLayoutMkLst>
        </pc:sldLayoutChg>
        <pc:sldLayoutChg chg="del">
          <pc:chgData name="Evyan Lyngshing [Chillibreeze]" userId="b5a92789-231b-4933-b5e3-9c4db485d6cf" providerId="ADAL" clId="{3C7A14F0-AC9D-4C0F-B2FD-5645A9CA3617}" dt="2026-06-29T12:15:40.011" v="2516" actId="700"/>
          <pc:sldLayoutMkLst>
            <pc:docMk/>
            <pc:sldMasterMk cId="2924236362" sldId="2147483753"/>
            <pc:sldLayoutMk cId="467969350" sldId="2147483757"/>
          </pc:sldLayoutMkLst>
        </pc:sldLayoutChg>
        <pc:sldLayoutChg chg="del">
          <pc:chgData name="Evyan Lyngshing [Chillibreeze]" userId="b5a92789-231b-4933-b5e3-9c4db485d6cf" providerId="ADAL" clId="{3C7A14F0-AC9D-4C0F-B2FD-5645A9CA3617}" dt="2026-06-29T12:15:40.011" v="2516" actId="700"/>
          <pc:sldLayoutMkLst>
            <pc:docMk/>
            <pc:sldMasterMk cId="2924236362" sldId="2147483753"/>
            <pc:sldLayoutMk cId="3025476211" sldId="2147483759"/>
          </pc:sldLayoutMkLst>
        </pc:sldLayoutChg>
        <pc:sldLayoutChg chg="del">
          <pc:chgData name="Evyan Lyngshing [Chillibreeze]" userId="b5a92789-231b-4933-b5e3-9c4db485d6cf" providerId="ADAL" clId="{3C7A14F0-AC9D-4C0F-B2FD-5645A9CA3617}" dt="2026-06-29T12:15:40.011" v="2516" actId="700"/>
          <pc:sldLayoutMkLst>
            <pc:docMk/>
            <pc:sldMasterMk cId="2924236362" sldId="2147483753"/>
            <pc:sldLayoutMk cId="3901346502" sldId="2147483760"/>
          </pc:sldLayoutMkLst>
        </pc:sldLayoutChg>
        <pc:sldLayoutChg chg="del">
          <pc:chgData name="Evyan Lyngshing [Chillibreeze]" userId="b5a92789-231b-4933-b5e3-9c4db485d6cf" providerId="ADAL" clId="{3C7A14F0-AC9D-4C0F-B2FD-5645A9CA3617}" dt="2026-06-29T12:15:40.011" v="2516" actId="700"/>
          <pc:sldLayoutMkLst>
            <pc:docMk/>
            <pc:sldMasterMk cId="2924236362" sldId="2147483753"/>
            <pc:sldLayoutMk cId="1682209485" sldId="2147483780"/>
          </pc:sldLayoutMkLst>
        </pc:sldLayoutChg>
        <pc:sldLayoutChg chg="del">
          <pc:chgData name="Evyan Lyngshing [Chillibreeze]" userId="b5a92789-231b-4933-b5e3-9c4db485d6cf" providerId="ADAL" clId="{3C7A14F0-AC9D-4C0F-B2FD-5645A9CA3617}" dt="2026-06-29T12:15:40.011" v="2516" actId="700"/>
          <pc:sldLayoutMkLst>
            <pc:docMk/>
            <pc:sldMasterMk cId="2924236362" sldId="2147483753"/>
            <pc:sldLayoutMk cId="1717164410" sldId="2147483783"/>
          </pc:sldLayoutMkLst>
        </pc:sldLayoutChg>
        <pc:sldLayoutChg chg="del">
          <pc:chgData name="Evyan Lyngshing [Chillibreeze]" userId="b5a92789-231b-4933-b5e3-9c4db485d6cf" providerId="ADAL" clId="{3C7A14F0-AC9D-4C0F-B2FD-5645A9CA3617}" dt="2026-06-29T12:15:40.011" v="2516" actId="700"/>
          <pc:sldLayoutMkLst>
            <pc:docMk/>
            <pc:sldMasterMk cId="2924236362" sldId="2147483753"/>
            <pc:sldLayoutMk cId="2821900807" sldId="2147483784"/>
          </pc:sldLayoutMkLst>
        </pc:sldLayoutChg>
        <pc:sldLayoutChg chg="del">
          <pc:chgData name="Evyan Lyngshing [Chillibreeze]" userId="b5a92789-231b-4933-b5e3-9c4db485d6cf" providerId="ADAL" clId="{3C7A14F0-AC9D-4C0F-B2FD-5645A9CA3617}" dt="2026-06-29T12:15:40.011" v="2516" actId="700"/>
          <pc:sldLayoutMkLst>
            <pc:docMk/>
            <pc:sldMasterMk cId="2924236362" sldId="2147483753"/>
            <pc:sldLayoutMk cId="1216351381" sldId="2147483785"/>
          </pc:sldLayoutMkLst>
        </pc:sldLayoutChg>
        <pc:sldLayoutChg chg="del">
          <pc:chgData name="Evyan Lyngshing [Chillibreeze]" userId="b5a92789-231b-4933-b5e3-9c4db485d6cf" providerId="ADAL" clId="{3C7A14F0-AC9D-4C0F-B2FD-5645A9CA3617}" dt="2026-06-29T12:15:40.011" v="2516" actId="700"/>
          <pc:sldLayoutMkLst>
            <pc:docMk/>
            <pc:sldMasterMk cId="2924236362" sldId="2147483753"/>
            <pc:sldLayoutMk cId="430433832" sldId="2147483786"/>
          </pc:sldLayoutMkLst>
        </pc:sldLayoutChg>
        <pc:sldLayoutChg chg="del">
          <pc:chgData name="Evyan Lyngshing [Chillibreeze]" userId="b5a92789-231b-4933-b5e3-9c4db485d6cf" providerId="ADAL" clId="{3C7A14F0-AC9D-4C0F-B2FD-5645A9CA3617}" dt="2026-06-29T12:15:40.011" v="2516" actId="700"/>
          <pc:sldLayoutMkLst>
            <pc:docMk/>
            <pc:sldMasterMk cId="2924236362" sldId="2147483753"/>
            <pc:sldLayoutMk cId="945480853" sldId="2147483787"/>
          </pc:sldLayoutMkLst>
        </pc:sldLayoutChg>
        <pc:sldLayoutChg chg="del">
          <pc:chgData name="Evyan Lyngshing [Chillibreeze]" userId="b5a92789-231b-4933-b5e3-9c4db485d6cf" providerId="ADAL" clId="{3C7A14F0-AC9D-4C0F-B2FD-5645A9CA3617}" dt="2026-06-29T12:15:40.011" v="2516" actId="700"/>
          <pc:sldLayoutMkLst>
            <pc:docMk/>
            <pc:sldMasterMk cId="2924236362" sldId="2147483753"/>
            <pc:sldLayoutMk cId="1470840512" sldId="2147483788"/>
          </pc:sldLayoutMkLst>
        </pc:sldLayoutChg>
      </pc:sldMasterChg>
      <pc:sldMasterChg chg="del delSldLayout">
        <pc:chgData name="Evyan Lyngshing [Chillibreeze]" userId="b5a92789-231b-4933-b5e3-9c4db485d6cf" providerId="ADAL" clId="{3C7A14F0-AC9D-4C0F-B2FD-5645A9CA3617}" dt="2026-06-29T09:55:46.041" v="3" actId="47"/>
        <pc:sldMasterMkLst>
          <pc:docMk/>
          <pc:sldMasterMk cId="2483656827" sldId="2147483789"/>
        </pc:sldMasterMkLst>
        <pc:sldLayoutChg chg="del">
          <pc:chgData name="Evyan Lyngshing [Chillibreeze]" userId="b5a92789-231b-4933-b5e3-9c4db485d6cf" providerId="ADAL" clId="{3C7A14F0-AC9D-4C0F-B2FD-5645A9CA3617}" dt="2026-06-29T09:55:46.041" v="3" actId="47"/>
          <pc:sldLayoutMkLst>
            <pc:docMk/>
            <pc:sldMasterMk cId="2483656827" sldId="2147483789"/>
            <pc:sldLayoutMk cId="515369563" sldId="2147483790"/>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456166607" sldId="2147483791"/>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200659254" sldId="2147483792"/>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268675043" sldId="2147483793"/>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898801860" sldId="2147483794"/>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61563806" sldId="2147483795"/>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979394531" sldId="2147483796"/>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095047272" sldId="2147483797"/>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152861211" sldId="2147483798"/>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475063893" sldId="2147483799"/>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764582185" sldId="2147483800"/>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72701393" sldId="2147483801"/>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70114841" sldId="2147483802"/>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641339259" sldId="2147483803"/>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779315343" sldId="2147483804"/>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783144942" sldId="2147483805"/>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2925939" sldId="2147483806"/>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215127435" sldId="2147483807"/>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248655465" sldId="2147483808"/>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412628735" sldId="2147483809"/>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597480861" sldId="2147483810"/>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601180377" sldId="2147483811"/>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121427869" sldId="2147483812"/>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206810771" sldId="2147483813"/>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759341054" sldId="2147483814"/>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174532456" sldId="2147483815"/>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528721589" sldId="2147483816"/>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131789001" sldId="2147483817"/>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262574248" sldId="2147483818"/>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568799708" sldId="2147483819"/>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23294691" sldId="2147483820"/>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321399804" sldId="2147483821"/>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486361422" sldId="2147483822"/>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062233978" sldId="2147483823"/>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4182118512" sldId="2147483824"/>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148166904" sldId="2147483825"/>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500559676" sldId="2147483826"/>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4007504770" sldId="2147483827"/>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692769463" sldId="2147483828"/>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1327316" sldId="2147483829"/>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557000800" sldId="2147483830"/>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392952494" sldId="2147483831"/>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649641397" sldId="2147483832"/>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008863954" sldId="2147483833"/>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4098416574" sldId="2147483834"/>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441024617" sldId="2147483835"/>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656514425" sldId="2147483836"/>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696704468" sldId="2147483837"/>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789136426" sldId="2147483838"/>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700727733" sldId="2147483839"/>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602602138" sldId="2147483840"/>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358492610" sldId="2147483841"/>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976993842" sldId="2147483842"/>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757707397" sldId="2147483843"/>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4004272557" sldId="2147483844"/>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152238486" sldId="2147483845"/>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997654688" sldId="2147483846"/>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76573768" sldId="2147483847"/>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993351364" sldId="2147483848"/>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2522607043" sldId="2147483849"/>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3568411410" sldId="2147483850"/>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906481857" sldId="2147483851"/>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129357083" sldId="2147483852"/>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80155258" sldId="2147483853"/>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868375471" sldId="2147483854"/>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803753726" sldId="2147483855"/>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429367195" sldId="2147483856"/>
          </pc:sldLayoutMkLst>
        </pc:sldLayoutChg>
        <pc:sldLayoutChg chg="del">
          <pc:chgData name="Evyan Lyngshing [Chillibreeze]" userId="b5a92789-231b-4933-b5e3-9c4db485d6cf" providerId="ADAL" clId="{3C7A14F0-AC9D-4C0F-B2FD-5645A9CA3617}" dt="2026-06-29T09:55:46.041" v="3" actId="47"/>
          <pc:sldLayoutMkLst>
            <pc:docMk/>
            <pc:sldMasterMk cId="2483656827" sldId="2147483789"/>
            <pc:sldLayoutMk cId="1342770180" sldId="214748385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BE21223-66CE-4215-A63F-27079EE36F6F}" type="datetimeFigureOut">
              <a:rPr lang="en-US" smtClean="0"/>
              <a:t>7/1/202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2A7104-55CD-419E-B506-583C6A786296}" type="slidenum">
              <a:rPr lang="en-US" smtClean="0"/>
              <a:t>‹#›</a:t>
            </a:fld>
            <a:endParaRPr lang="en-US"/>
          </a:p>
        </p:txBody>
      </p:sp>
    </p:spTree>
    <p:extLst>
      <p:ext uri="{BB962C8B-B14F-4D97-AF65-F5344CB8AC3E}">
        <p14:creationId xmlns:p14="http://schemas.microsoft.com/office/powerpoint/2010/main" val="16607209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574492-103F-B34E-BE3B-6122011F1595}" type="datetimeFigureOut">
              <a:rPr lang="en-US" smtClean="0"/>
              <a:t>7/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2622A2-3E00-2A4D-8E5C-1BC3C6BDB7A5}" type="slidenum">
              <a:rPr lang="en-US" smtClean="0"/>
              <a:t>‹#›</a:t>
            </a:fld>
            <a:endParaRPr lang="en-US"/>
          </a:p>
        </p:txBody>
      </p:sp>
    </p:spTree>
    <p:extLst>
      <p:ext uri="{BB962C8B-B14F-4D97-AF65-F5344CB8AC3E}">
        <p14:creationId xmlns:p14="http://schemas.microsoft.com/office/powerpoint/2010/main" val="19240978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B341AFA8-0F40-4934-85FE-F5380329DBC1}" type="slidenum">
              <a:rPr lang="en-US" smtClean="0"/>
              <a:t>1</a:t>
            </a:fld>
            <a:endParaRPr lang="en-US"/>
          </a:p>
        </p:txBody>
      </p:sp>
    </p:spTree>
    <p:extLst>
      <p:ext uri="{BB962C8B-B14F-4D97-AF65-F5344CB8AC3E}">
        <p14:creationId xmlns:p14="http://schemas.microsoft.com/office/powerpoint/2010/main" val="8304697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35934853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523428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Tree>
    <p:extLst>
      <p:ext uri="{BB962C8B-B14F-4D97-AF65-F5344CB8AC3E}">
        <p14:creationId xmlns:p14="http://schemas.microsoft.com/office/powerpoint/2010/main" val="4753421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8410689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solidFill>
                  <a:srgbClr val="2B660F"/>
                </a:solidFill>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796409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8DBE28"/>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6945374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21349892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D910D"/>
              </a:solidFill>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315031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41805100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962730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rgbClr val="5D910D"/>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rgbClr val="ED9F0A"/>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rgbClr val="EE6C26"/>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rgbClr val="2B660F"/>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rgbClr val="3476C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045441"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920897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592901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EE6D26"/>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3477C2"/>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ED9F0A"/>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5D910D"/>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ED9F0A"/>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3476C2"/>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EE6C26"/>
                </a:solidFill>
                <a:latin typeface="+mj-lt"/>
                <a:ea typeface="+mn-ea"/>
                <a:cs typeface="+mn-cs"/>
              </a:defRPr>
            </a:lvl1pPr>
          </a:lstStyle>
          <a:p>
            <a:pPr lvl="0"/>
            <a:r>
              <a:rPr lang="en-US"/>
              <a:t>Click to edit Master text styles</a:t>
            </a:r>
          </a:p>
        </p:txBody>
      </p:sp>
      <p:sp>
        <p:nvSpPr>
          <p:cNvPr id="4" name="TextBox 3">
            <a:extLst>
              <a:ext uri="{FF2B5EF4-FFF2-40B4-BE49-F238E27FC236}">
                <a16:creationId xmlns:a16="http://schemas.microsoft.com/office/drawing/2014/main" id="{39C5FE2C-6563-2395-ECAC-48A9F9F30DCE}"/>
              </a:ext>
            </a:extLst>
          </p:cNvPr>
          <p:cNvSpPr txBox="1"/>
          <p:nvPr userDrawn="1"/>
        </p:nvSpPr>
        <p:spPr>
          <a:xfrm>
            <a:off x="766119"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8182628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rgbClr val="2B660F"/>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rgbClr val="2B660F"/>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rgbClr val="2B660F"/>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3487692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61515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31147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0189725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25447152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8BBB28"/>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rgbClr val="2B660F"/>
                </a:solidFill>
                <a:latin typeface="+mn-lt"/>
              </a:defRPr>
            </a:lvl1pPr>
            <a:lvl2pPr>
              <a:buClr>
                <a:srgbClr val="2B660F"/>
              </a:buClr>
              <a:defRPr>
                <a:solidFill>
                  <a:srgbClr val="2B660F"/>
                </a:solidFill>
                <a:latin typeface="+mn-lt"/>
              </a:defRPr>
            </a:lvl2pPr>
            <a:lvl3pPr>
              <a:buClr>
                <a:schemeClr val="tx2"/>
              </a:buClr>
              <a:defRPr>
                <a:solidFill>
                  <a:srgbClr val="2B660F"/>
                </a:solidFill>
                <a:latin typeface="+mn-lt"/>
              </a:defRPr>
            </a:lvl3pPr>
            <a:lvl4pPr>
              <a:buClr>
                <a:schemeClr val="tx2"/>
              </a:buClr>
              <a:defRPr>
                <a:solidFill>
                  <a:srgbClr val="2B660F"/>
                </a:solidFill>
                <a:latin typeface="+mn-lt"/>
              </a:defRPr>
            </a:lvl4pPr>
            <a:lvl5pPr>
              <a:buClr>
                <a:schemeClr val="tx2"/>
              </a:buClr>
              <a:defRPr>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Tree>
    <p:extLst>
      <p:ext uri="{BB962C8B-B14F-4D97-AF65-F5344CB8AC3E}">
        <p14:creationId xmlns:p14="http://schemas.microsoft.com/office/powerpoint/2010/main" val="4147178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30498274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2B660F"/>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buClr>
                <a:srgbClr val="2B660F"/>
              </a:buClr>
              <a:defRPr sz="1400">
                <a:solidFill>
                  <a:srgbClr val="2B660F"/>
                </a:solidFill>
                <a:latin typeface="+mn-lt"/>
              </a:defRPr>
            </a:lvl1pPr>
            <a:lvl2pPr>
              <a:buClr>
                <a:srgbClr val="2B660F"/>
              </a:buClr>
              <a:defRPr>
                <a:solidFill>
                  <a:srgbClr val="2B660F"/>
                </a:solidFill>
                <a:latin typeface="+mn-lt"/>
              </a:defRPr>
            </a:lvl2pPr>
            <a:lvl3pPr>
              <a:buClr>
                <a:srgbClr val="2B660F"/>
              </a:buClr>
              <a:defRPr>
                <a:solidFill>
                  <a:srgbClr val="2B660F"/>
                </a:solidFill>
                <a:latin typeface="+mn-lt"/>
              </a:defRPr>
            </a:lvl3pPr>
            <a:lvl4pPr>
              <a:buClr>
                <a:srgbClr val="2B660F"/>
              </a:buClr>
              <a:defRPr>
                <a:solidFill>
                  <a:srgbClr val="2B660F"/>
                </a:solidFill>
                <a:latin typeface="+mn-lt"/>
              </a:defRPr>
            </a:lvl4pPr>
            <a:lvl5pPr>
              <a:buClr>
                <a:srgbClr val="2B660F"/>
              </a:buClr>
              <a:defRPr>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5D910D"/>
                </a:solidFill>
              </a:defRPr>
            </a:lvl1pPr>
          </a:lstStyle>
          <a:p>
            <a:r>
              <a:rPr lang="en-US"/>
              <a:t>Click to edit title</a:t>
            </a:r>
          </a:p>
        </p:txBody>
      </p:sp>
    </p:spTree>
    <p:extLst>
      <p:ext uri="{BB962C8B-B14F-4D97-AF65-F5344CB8AC3E}">
        <p14:creationId xmlns:p14="http://schemas.microsoft.com/office/powerpoint/2010/main" val="9121750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31980548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a:t>
            </a:r>
          </a:p>
        </p:txBody>
      </p:sp>
    </p:spTree>
    <p:extLst>
      <p:ext uri="{BB962C8B-B14F-4D97-AF65-F5344CB8AC3E}">
        <p14:creationId xmlns:p14="http://schemas.microsoft.com/office/powerpoint/2010/main" val="13569180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16783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772AA78E-5B79-F7E2-9960-5B1CF56F07B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36037736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B660F"/>
              </a:solidFill>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8BB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rgbClr val="2B660F"/>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6431705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2688312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rgbClr val="2B660F"/>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5208665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7550306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4918316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5642757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7489135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25523083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lor Divider - Sustainability">
    <p:bg>
      <p:bgPr>
        <a:solidFill>
          <a:srgbClr val="8DBE28"/>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7659742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7" name="TextBox 6">
            <a:extLst>
              <a:ext uri="{FF2B5EF4-FFF2-40B4-BE49-F238E27FC236}">
                <a16:creationId xmlns:a16="http://schemas.microsoft.com/office/drawing/2014/main" id="{540209D7-6DFF-EA72-22D5-4A6A9B48CED9}"/>
              </a:ext>
            </a:extLst>
          </p:cNvPr>
          <p:cNvSpPr txBox="1"/>
          <p:nvPr userDrawn="1"/>
        </p:nvSpPr>
        <p:spPr>
          <a:xfrm>
            <a:off x="11738919" y="654908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12811402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rgbClr val="5D910D"/>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2B660F"/>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BFDE7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31675112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37481135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3A484860-B7C8-63CB-6C1D-22A50F99ACF6}"/>
              </a:ext>
            </a:extLst>
          </p:cNvPr>
          <p:cNvSpPr txBox="1"/>
          <p:nvPr userDrawn="1"/>
        </p:nvSpPr>
        <p:spPr>
          <a:xfrm>
            <a:off x="963827" y="6561438"/>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5308055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41165616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6896362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38260091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38699789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33228695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7985394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solidFill>
                  <a:srgbClr val="2B660F"/>
                </a:solidFill>
                <a:latin typeface="+mn-lt"/>
              </a:defRPr>
            </a:lvl1pPr>
            <a:lvl2pPr>
              <a:defRPr>
                <a:solidFill>
                  <a:srgbClr val="2B660F"/>
                </a:solidFill>
                <a:latin typeface="+mn-lt"/>
              </a:defRPr>
            </a:lvl2pPr>
            <a:lvl3pPr>
              <a:defRPr sz="1400">
                <a:solidFill>
                  <a:srgbClr val="2B660F"/>
                </a:solidFill>
                <a:latin typeface="+mn-lt"/>
              </a:defRPr>
            </a:lvl3pPr>
            <a:lvl4pPr>
              <a:defRPr sz="1400">
                <a:solidFill>
                  <a:srgbClr val="2B660F"/>
                </a:solidFill>
                <a:latin typeface="+mn-lt"/>
              </a:defRPr>
            </a:lvl4pPr>
            <a:lvl5pPr>
              <a:defRPr sz="140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
        <p:nvSpPr>
          <p:cNvPr id="6" name="TextBox 5">
            <a:extLst>
              <a:ext uri="{FF2B5EF4-FFF2-40B4-BE49-F238E27FC236}">
                <a16:creationId xmlns:a16="http://schemas.microsoft.com/office/drawing/2014/main" id="{D90E1989-DA1C-8B6E-AF70-60EC5F03F119}"/>
              </a:ext>
            </a:extLst>
          </p:cNvPr>
          <p:cNvSpPr txBox="1"/>
          <p:nvPr userDrawn="1"/>
        </p:nvSpPr>
        <p:spPr>
          <a:xfrm>
            <a:off x="1013254" y="6573795"/>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7" name="TextBox 6">
            <a:extLst>
              <a:ext uri="{FF2B5EF4-FFF2-40B4-BE49-F238E27FC236}">
                <a16:creationId xmlns:a16="http://schemas.microsoft.com/office/drawing/2014/main" id="{DB636BFF-E815-D157-BC2F-F84CD7E08D02}"/>
              </a:ext>
            </a:extLst>
          </p:cNvPr>
          <p:cNvSpPr txBox="1"/>
          <p:nvPr userDrawn="1"/>
        </p:nvSpPr>
        <p:spPr>
          <a:xfrm>
            <a:off x="630195" y="6536724"/>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3281507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9485447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192816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5908560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Statement-Sustainability">
    <p:bg>
      <p:bgPr>
        <a:solidFill>
          <a:srgbClr val="CA4A0C"/>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22F11"/>
                </a:solidFill>
                <a:latin typeface="Gilroy Medium" panose="00000600000000000000" pitchFamily="50" charset="0"/>
              </a:rPr>
              <a:pPr algn="r"/>
              <a:t>‹#›</a:t>
            </a:fld>
            <a:endParaRPr lang="en-US" sz="1350">
              <a:solidFill>
                <a:srgbClr val="922F11"/>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spTree>
    <p:extLst>
      <p:ext uri="{BB962C8B-B14F-4D97-AF65-F5344CB8AC3E}">
        <p14:creationId xmlns:p14="http://schemas.microsoft.com/office/powerpoint/2010/main" val="33794956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14858437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280082" y="301308"/>
            <a:ext cx="4094480" cy="1852055"/>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19014771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rgbClr val="2B660F"/>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rgbClr val="2B660F"/>
                </a:solidFill>
                <a:latin typeface="+mn-lt"/>
              </a:defRPr>
            </a:lvl1pPr>
            <a:lvl2pPr>
              <a:defRPr sz="1400">
                <a:solidFill>
                  <a:srgbClr val="2B660F"/>
                </a:solidFill>
                <a:latin typeface="+mn-lt"/>
              </a:defRPr>
            </a:lvl2pPr>
            <a:lvl3pPr>
              <a:defRPr sz="1200">
                <a:solidFill>
                  <a:srgbClr val="2B660F"/>
                </a:solidFill>
                <a:latin typeface="+mn-lt"/>
              </a:defRPr>
            </a:lvl3pPr>
            <a:lvl4pPr>
              <a:defRPr sz="1100">
                <a:solidFill>
                  <a:srgbClr val="2B660F"/>
                </a:solidFill>
                <a:latin typeface="+mn-lt"/>
              </a:defRPr>
            </a:lvl4pPr>
            <a:lvl5pPr>
              <a:defRPr sz="105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1633505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a:stretch>
            <a:fillRect/>
          </a:stretch>
        </p:blipFill>
        <p:spPr>
          <a:xfrm>
            <a:off x="304795" y="362758"/>
            <a:ext cx="896203" cy="896203"/>
          </a:xfrm>
          <a:prstGeom prst="rect">
            <a:avLst/>
          </a:prstGeom>
        </p:spPr>
      </p:pic>
    </p:spTree>
    <p:extLst>
      <p:ext uri="{BB962C8B-B14F-4D97-AF65-F5344CB8AC3E}">
        <p14:creationId xmlns:p14="http://schemas.microsoft.com/office/powerpoint/2010/main" val="30386921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a:stretch>
            <a:fillRect/>
          </a:stretch>
        </p:blipFill>
        <p:spPr>
          <a:xfrm>
            <a:off x="304796" y="362758"/>
            <a:ext cx="896203" cy="896203"/>
          </a:xfrm>
          <a:prstGeom prst="rect">
            <a:avLst/>
          </a:prstGeom>
        </p:spPr>
      </p:pic>
    </p:spTree>
    <p:extLst>
      <p:ext uri="{BB962C8B-B14F-4D97-AF65-F5344CB8AC3E}">
        <p14:creationId xmlns:p14="http://schemas.microsoft.com/office/powerpoint/2010/main" val="12295621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a:srcRect b="28537"/>
          <a:stretch>
            <a:fillRect/>
          </a:stretch>
        </p:blipFill>
        <p:spPr>
          <a:xfrm>
            <a:off x="92332" y="362758"/>
            <a:ext cx="1612900" cy="979966"/>
          </a:xfrm>
          <a:prstGeom prst="rect">
            <a:avLst/>
          </a:prstGeom>
        </p:spPr>
      </p:pic>
    </p:spTree>
    <p:extLst>
      <p:ext uri="{BB962C8B-B14F-4D97-AF65-F5344CB8AC3E}">
        <p14:creationId xmlns:p14="http://schemas.microsoft.com/office/powerpoint/2010/main" val="26773527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3037483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15449474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302654899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37057645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34562241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36724682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32692384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23422944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BFDE7E"/>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2B660F"/>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a:t>
            </a:r>
          </a:p>
        </p:txBody>
      </p:sp>
    </p:spTree>
    <p:extLst>
      <p:ext uri="{BB962C8B-B14F-4D97-AF65-F5344CB8AC3E}">
        <p14:creationId xmlns:p14="http://schemas.microsoft.com/office/powerpoint/2010/main" val="16230823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solidFill>
                  <a:srgbClr val="2B660F"/>
                </a:solidFill>
                <a:latin typeface="Gilroy Medium" panose="00000600000000000000" pitchFamily="50" charset="0"/>
              </a:defRPr>
            </a:lvl1pPr>
          </a:lstStyle>
          <a:p>
            <a:endParaRPr lang="en-US" dirty="0"/>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Box 3">
            <a:extLst>
              <a:ext uri="{FF2B5EF4-FFF2-40B4-BE49-F238E27FC236}">
                <a16:creationId xmlns:a16="http://schemas.microsoft.com/office/drawing/2014/main" id="{9FF4DBA1-6EDF-D600-AEEA-B9C7AE18EE1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376660915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4916947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2886795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1139191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7F5F3"/>
        </a:solidFill>
        <a:effectLst/>
      </p:bgPr>
    </p:bg>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CAAED6BF-3356-C755-2C95-60DA3FEE0753}"/>
              </a:ext>
            </a:extLst>
          </p:cNvPr>
          <p:cNvGraphicFramePr>
            <a:graphicFrameLocks/>
          </p:cNvGraphicFramePr>
          <p:nvPr userDrawn="1">
            <p:custDataLst>
              <p:tags r:id="rId70"/>
            </p:custDataLst>
            <p:extLst>
              <p:ext uri="{D42A27DB-BD31-4B8C-83A1-F6EECF244321}">
                <p14:modId xmlns:p14="http://schemas.microsoft.com/office/powerpoint/2010/main" val="696843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532" imgH="530" progId="TCLayout.ActiveDocument.1">
                  <p:embed/>
                </p:oleObj>
              </mc:Choice>
              <mc:Fallback>
                <p:oleObj name="think-cell Slide" r:id="rId71" imgW="532" imgH="530" progId="TCLayout.ActiveDocument.1">
                  <p:embed/>
                  <p:pic>
                    <p:nvPicPr>
                      <p:cNvPr id="26" name="think-cell data - do not delete" hidden="1">
                        <a:extLst>
                          <a:ext uri="{FF2B5EF4-FFF2-40B4-BE49-F238E27FC236}">
                            <a16:creationId xmlns:a16="http://schemas.microsoft.com/office/drawing/2014/main" id="{CAAED6BF-3356-C755-2C95-60DA3FEE0753}"/>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23464847"/>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 id="2147483816" r:id="rId27"/>
    <p:sldLayoutId id="2147483817" r:id="rId28"/>
    <p:sldLayoutId id="2147483818" r:id="rId29"/>
    <p:sldLayoutId id="2147483819" r:id="rId30"/>
    <p:sldLayoutId id="2147483820" r:id="rId31"/>
    <p:sldLayoutId id="2147483821" r:id="rId32"/>
    <p:sldLayoutId id="2147483822" r:id="rId33"/>
    <p:sldLayoutId id="2147483823" r:id="rId34"/>
    <p:sldLayoutId id="2147483824"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33" r:id="rId44"/>
    <p:sldLayoutId id="2147483834" r:id="rId45"/>
    <p:sldLayoutId id="2147483835" r:id="rId46"/>
    <p:sldLayoutId id="2147483836" r:id="rId47"/>
    <p:sldLayoutId id="2147483837" r:id="rId48"/>
    <p:sldLayoutId id="2147483838" r:id="rId49"/>
    <p:sldLayoutId id="2147483839" r:id="rId50"/>
    <p:sldLayoutId id="2147483840" r:id="rId51"/>
    <p:sldLayoutId id="2147483841" r:id="rId52"/>
    <p:sldLayoutId id="2147483842" r:id="rId53"/>
    <p:sldLayoutId id="2147483843" r:id="rId54"/>
    <p:sldLayoutId id="2147483844" r:id="rId55"/>
    <p:sldLayoutId id="2147483845" r:id="rId56"/>
    <p:sldLayoutId id="2147483846" r:id="rId57"/>
    <p:sldLayoutId id="2147483847" r:id="rId58"/>
    <p:sldLayoutId id="2147483848" r:id="rId59"/>
    <p:sldLayoutId id="2147483849" r:id="rId60"/>
    <p:sldLayoutId id="2147483850" r:id="rId61"/>
    <p:sldLayoutId id="2147483851" r:id="rId62"/>
    <p:sldLayoutId id="2147483852" r:id="rId63"/>
    <p:sldLayoutId id="2147483853" r:id="rId64"/>
    <p:sldLayoutId id="2147483854" r:id="rId65"/>
    <p:sldLayoutId id="2147483855" r:id="rId66"/>
    <p:sldLayoutId id="2147483856" r:id="rId67"/>
    <p:sldLayoutId id="2147483857" r:id="rId68"/>
  </p:sldLayoutIdLst>
  <p:hf sldNum="0" hdr="0" ftr="0" dt="0"/>
  <p:txStyles>
    <p:title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11.bin"/><Relationship Id="rId7" Type="http://schemas.openxmlformats.org/officeDocument/2006/relationships/image" Target="../media/image24.png"/><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 Id="rId9" Type="http://schemas.openxmlformats.org/officeDocument/2006/relationships/image" Target="../media/image30.svg"/></Relationships>
</file>

<file path=ppt/slides/_rels/slide1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12.bin"/><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13.xml"/><Relationship Id="rId6" Type="http://schemas.microsoft.com/office/2007/relationships/hdphoto" Target="../media/hdphoto1.wdp"/><Relationship Id="rId5" Type="http://schemas.openxmlformats.org/officeDocument/2006/relationships/image" Target="../media/image20.png"/><Relationship Id="rId10" Type="http://schemas.openxmlformats.org/officeDocument/2006/relationships/image" Target="../media/image32.svg"/><Relationship Id="rId4" Type="http://schemas.openxmlformats.org/officeDocument/2006/relationships/image" Target="../media/image1.emf"/><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oleObject" Target="../embeddings/oleObject13.bin"/><Relationship Id="rId7" Type="http://schemas.openxmlformats.org/officeDocument/2006/relationships/image" Target="../media/image24.pn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 Id="rId9" Type="http://schemas.openxmlformats.org/officeDocument/2006/relationships/image" Target="../media/image32.svg"/></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14.bin"/><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20.png"/><Relationship Id="rId10" Type="http://schemas.openxmlformats.org/officeDocument/2006/relationships/image" Target="../media/image34.svg"/><Relationship Id="rId4" Type="http://schemas.openxmlformats.org/officeDocument/2006/relationships/image" Target="../media/image1.emf"/><Relationship Id="rId9"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oleObject" Target="../embeddings/oleObject15.bin"/><Relationship Id="rId7" Type="http://schemas.openxmlformats.org/officeDocument/2006/relationships/image" Target="../media/image24.png"/><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 Id="rId9" Type="http://schemas.openxmlformats.org/officeDocument/2006/relationships/image" Target="../media/image34.svg"/></Relationships>
</file>

<file path=ppt/slides/_rels/slide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3.bin"/><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4.xml"/><Relationship Id="rId6" Type="http://schemas.microsoft.com/office/2007/relationships/hdphoto" Target="../media/hdphoto1.wdp"/><Relationship Id="rId5" Type="http://schemas.openxmlformats.org/officeDocument/2006/relationships/image" Target="../media/image20.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4.pn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5.bin"/><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6.xml"/><Relationship Id="rId6" Type="http://schemas.microsoft.com/office/2007/relationships/hdphoto" Target="../media/hdphoto1.wdp"/><Relationship Id="rId5" Type="http://schemas.openxmlformats.org/officeDocument/2006/relationships/image" Target="../media/image20.png"/><Relationship Id="rId10" Type="http://schemas.openxmlformats.org/officeDocument/2006/relationships/image" Target="../media/image26.svg"/><Relationship Id="rId4" Type="http://schemas.openxmlformats.org/officeDocument/2006/relationships/image" Target="../media/image1.emf"/><Relationship Id="rId9"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6.bin"/><Relationship Id="rId7" Type="http://schemas.openxmlformats.org/officeDocument/2006/relationships/image" Target="../media/image24.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 Id="rId9" Type="http://schemas.openxmlformats.org/officeDocument/2006/relationships/image" Target="../media/image26.sv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7.bin"/><Relationship Id="rId7" Type="http://schemas.openxmlformats.org/officeDocument/2006/relationships/image" Target="../media/image24.pn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 Id="rId9" Type="http://schemas.openxmlformats.org/officeDocument/2006/relationships/image" Target="../media/image26.svg"/></Relationships>
</file>

<file path=ppt/slides/_rels/slide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8.bin"/><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20.png"/><Relationship Id="rId10" Type="http://schemas.openxmlformats.org/officeDocument/2006/relationships/image" Target="../media/image28.svg"/><Relationship Id="rId4" Type="http://schemas.openxmlformats.org/officeDocument/2006/relationships/image" Target="../media/image1.emf"/><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9.bin"/><Relationship Id="rId7" Type="http://schemas.openxmlformats.org/officeDocument/2006/relationships/image" Target="../media/image24.png"/><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 Id="rId9" Type="http://schemas.openxmlformats.org/officeDocument/2006/relationships/image" Target="../media/image28.svg"/></Relationships>
</file>

<file path=ppt/slides/_rels/slide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10.bin"/><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20.png"/><Relationship Id="rId10" Type="http://schemas.openxmlformats.org/officeDocument/2006/relationships/image" Target="../media/image30.svg"/><Relationship Id="rId4" Type="http://schemas.openxmlformats.org/officeDocument/2006/relationships/image" Target="../media/image1.emf"/><Relationship Id="rId9"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E4FEB2C-C54D-1CCA-44F4-1618E65C3F58}"/>
              </a:ext>
            </a:extLst>
          </p:cNvPr>
          <p:cNvGraphicFramePr>
            <a:graphicFrameLocks/>
          </p:cNvGraphicFramePr>
          <p:nvPr>
            <p:custDataLst>
              <p:tags r:id="rId1"/>
            </p:custDataLst>
            <p:extLst>
              <p:ext uri="{D42A27DB-BD31-4B8C-83A1-F6EECF244321}">
                <p14:modId xmlns:p14="http://schemas.microsoft.com/office/powerpoint/2010/main" val="811415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6" name="think-cell data - do not delete" hidden="1">
                        <a:extLst>
                          <a:ext uri="{FF2B5EF4-FFF2-40B4-BE49-F238E27FC236}">
                            <a16:creationId xmlns:a16="http://schemas.microsoft.com/office/drawing/2014/main" id="{BE4FEB2C-C54D-1CCA-44F4-1618E65C3F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D1A6B5E5-B4FF-464F-4BD8-BD64614E1779}"/>
              </a:ext>
            </a:extLst>
          </p:cNvPr>
          <p:cNvSpPr>
            <a:spLocks noGrp="1"/>
          </p:cNvSpPr>
          <p:nvPr>
            <p:ph type="ctrTitle"/>
          </p:nvPr>
        </p:nvSpPr>
        <p:spPr>
          <a:xfrm>
            <a:off x="240254" y="248594"/>
            <a:ext cx="11646946" cy="3212951"/>
          </a:xfrm>
        </p:spPr>
        <p:txBody>
          <a:bodyPr vert="horz" rIns="0"/>
          <a:lstStyle/>
          <a:p>
            <a:r>
              <a:rPr lang="en-US"/>
              <a:t>SUSTAINABILITY GLOSSARY </a:t>
            </a:r>
          </a:p>
        </p:txBody>
      </p:sp>
      <p:sp>
        <p:nvSpPr>
          <p:cNvPr id="11" name="Subtitle 10">
            <a:extLst>
              <a:ext uri="{FF2B5EF4-FFF2-40B4-BE49-F238E27FC236}">
                <a16:creationId xmlns:a16="http://schemas.microsoft.com/office/drawing/2014/main" id="{97E9E2AC-5A79-4409-361A-EAA1F08B4B5F}"/>
              </a:ext>
            </a:extLst>
          </p:cNvPr>
          <p:cNvSpPr>
            <a:spLocks noGrp="1"/>
          </p:cNvSpPr>
          <p:nvPr>
            <p:ph type="subTitle" idx="1"/>
          </p:nvPr>
        </p:nvSpPr>
        <p:spPr>
          <a:xfrm>
            <a:off x="303937" y="5847179"/>
            <a:ext cx="9144000" cy="290483"/>
          </a:xfrm>
        </p:spPr>
        <p:txBody>
          <a:bodyPr/>
          <a:lstStyle/>
          <a:p>
            <a:r>
              <a:rPr lang="en-US"/>
              <a:t>A helpful reference for terms and phrases</a:t>
            </a:r>
          </a:p>
        </p:txBody>
      </p:sp>
    </p:spTree>
    <p:extLst>
      <p:ext uri="{BB962C8B-B14F-4D97-AF65-F5344CB8AC3E}">
        <p14:creationId xmlns:p14="http://schemas.microsoft.com/office/powerpoint/2010/main" val="1949283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5D910A"/>
        </a:solidFill>
        <a:effectLst/>
      </p:bgPr>
    </p:bg>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D7F6D2C-2E43-7B75-ECF5-236A667866BB}"/>
              </a:ext>
            </a:extLst>
          </p:cNvPr>
          <p:cNvGraphicFramePr>
            <a:graphicFrameLocks/>
          </p:cNvGraphicFramePr>
          <p:nvPr>
            <p:custDataLst>
              <p:tags r:id="rId1"/>
            </p:custDataLst>
            <p:extLst>
              <p:ext uri="{D42A27DB-BD31-4B8C-83A1-F6EECF244321}">
                <p14:modId xmlns:p14="http://schemas.microsoft.com/office/powerpoint/2010/main" val="265318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29" name="think-cell data - do not delete" hidden="1">
                        <a:extLst>
                          <a:ext uri="{FF2B5EF4-FFF2-40B4-BE49-F238E27FC236}">
                            <a16:creationId xmlns:a16="http://schemas.microsoft.com/office/drawing/2014/main" id="{8D7F6D2C-2E43-7B75-ECF5-236A667866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Rectangle: Rounded Corners 56">
            <a:extLst>
              <a:ext uri="{FF2B5EF4-FFF2-40B4-BE49-F238E27FC236}">
                <a16:creationId xmlns:a16="http://schemas.microsoft.com/office/drawing/2014/main" id="{F6BBF802-4415-635F-DF6B-82D78E48E3ED}"/>
              </a:ext>
            </a:extLst>
          </p:cNvPr>
          <p:cNvSpPr/>
          <p:nvPr/>
        </p:nvSpPr>
        <p:spPr>
          <a:xfrm>
            <a:off x="304800" y="1371601"/>
            <a:ext cx="11582400" cy="4762500"/>
          </a:xfrm>
          <a:prstGeom prst="roundRect">
            <a:avLst>
              <a:gd name="adj" fmla="val 4065"/>
            </a:avLst>
          </a:prstGeom>
          <a:solidFill>
            <a:srgbClr val="2B660F"/>
          </a:solidFill>
          <a:ln w="6350">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14151" tIns="214151" rIns="214151" bIns="214151" numCol="1" spcCol="1270" anchor="ctr" anchorCtr="0">
            <a:noAutofit/>
          </a:bodyPr>
          <a:lstStyle/>
          <a:p>
            <a:pPr defTabSz="1911350">
              <a:lnSpc>
                <a:spcPct val="90000"/>
              </a:lnSpc>
              <a:spcBef>
                <a:spcPct val="0"/>
              </a:spcBef>
              <a:spcAft>
                <a:spcPct val="35000"/>
              </a:spcAft>
            </a:pPr>
            <a:endParaRPr lang="en-US" sz="2000">
              <a:solidFill>
                <a:schemeClr val="bg1"/>
              </a:solidFill>
            </a:endParaRPr>
          </a:p>
        </p:txBody>
      </p:sp>
      <p:sp>
        <p:nvSpPr>
          <p:cNvPr id="58" name="Rectangle: Rounded Corners 57">
            <a:extLst>
              <a:ext uri="{FF2B5EF4-FFF2-40B4-BE49-F238E27FC236}">
                <a16:creationId xmlns:a16="http://schemas.microsoft.com/office/drawing/2014/main" id="{530F325D-B03C-7868-60DA-26FDDFE68389}"/>
              </a:ext>
            </a:extLst>
          </p:cNvPr>
          <p:cNvSpPr/>
          <p:nvPr/>
        </p:nvSpPr>
        <p:spPr>
          <a:xfrm>
            <a:off x="6073140" y="1421131"/>
            <a:ext cx="45720" cy="4663440"/>
          </a:xfrm>
          <a:prstGeom prst="roundRect">
            <a:avLst>
              <a:gd name="adj" fmla="val 50000"/>
            </a:avLst>
          </a:prstGeom>
          <a:solidFill>
            <a:srgbClr val="5D91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a:extLst>
              <a:ext uri="{FF2B5EF4-FFF2-40B4-BE49-F238E27FC236}">
                <a16:creationId xmlns:a16="http://schemas.microsoft.com/office/drawing/2014/main" id="{721E9265-8AD9-A1F4-2B65-329F6B0933B8}"/>
              </a:ext>
            </a:extLst>
          </p:cNvPr>
          <p:cNvPicPr/>
          <p:nvPr/>
        </p:nvPicPr>
        <p:blipFill>
          <a:blip r:embed="rId5">
            <a:extLst>
              <a:ext uri="{96DAC541-7B7A-43D3-8B79-37D633B846F1}">
                <asvg:svgBlip xmlns:asvg="http://schemas.microsoft.com/office/drawing/2016/SVG/main" r:embed="rId6"/>
              </a:ext>
            </a:extLst>
          </a:blip>
          <a:srcRect l="8611" t="11392" r="56210" b="6663"/>
          <a:stretch>
            <a:fillRect/>
          </a:stretch>
        </p:blipFill>
        <p:spPr>
          <a:xfrm flipH="1">
            <a:off x="10833100" y="5245492"/>
            <a:ext cx="1357471" cy="1610737"/>
          </a:xfrm>
          <a:prstGeom prst="rect">
            <a:avLst/>
          </a:prstGeom>
        </p:spPr>
      </p:pic>
      <p:pic>
        <p:nvPicPr>
          <p:cNvPr id="31" name="Picture 30">
            <a:extLst>
              <a:ext uri="{FF2B5EF4-FFF2-40B4-BE49-F238E27FC236}">
                <a16:creationId xmlns:a16="http://schemas.microsoft.com/office/drawing/2014/main" id="{DA15042F-83CD-479F-AA78-0DFF968583FF}"/>
              </a:ext>
            </a:extLst>
          </p:cNvPr>
          <p:cNvPicPr>
            <a:picLocks noChangeAspect="1"/>
          </p:cNvPicPr>
          <p:nvPr/>
        </p:nvPicPr>
        <p:blipFill rotWithShape="1">
          <a:blip r:embed="rId7"/>
          <a:srcRect t="7964" b="74305"/>
          <a:stretch>
            <a:fillRect/>
          </a:stretch>
        </p:blipFill>
        <p:spPr>
          <a:xfrm>
            <a:off x="0" y="0"/>
            <a:ext cx="12192000" cy="1216025"/>
          </a:xfrm>
          <a:prstGeom prst="rect">
            <a:avLst/>
          </a:prstGeom>
        </p:spPr>
      </p:pic>
      <p:sp>
        <p:nvSpPr>
          <p:cNvPr id="32" name="Rectangle 31">
            <a:extLst>
              <a:ext uri="{FF2B5EF4-FFF2-40B4-BE49-F238E27FC236}">
                <a16:creationId xmlns:a16="http://schemas.microsoft.com/office/drawing/2014/main" id="{AAD0C1DE-F843-ECA3-4C03-08F6BD747801}"/>
              </a:ext>
            </a:extLst>
          </p:cNvPr>
          <p:cNvSpPr/>
          <p:nvPr/>
        </p:nvSpPr>
        <p:spPr>
          <a:xfrm>
            <a:off x="0" y="0"/>
            <a:ext cx="12192000" cy="1219200"/>
          </a:xfrm>
          <a:prstGeom prst="rect">
            <a:avLst/>
          </a:prstGeom>
          <a:solidFill>
            <a:schemeClr val="accent3">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Graphic 55">
            <a:extLst>
              <a:ext uri="{FF2B5EF4-FFF2-40B4-BE49-F238E27FC236}">
                <a16:creationId xmlns:a16="http://schemas.microsoft.com/office/drawing/2014/main" id="{98C46726-A95A-E977-0C31-DD90C4765AD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4800" y="140391"/>
            <a:ext cx="618170" cy="618170"/>
          </a:xfrm>
          <a:prstGeom prst="rect">
            <a:avLst/>
          </a:prstGeom>
        </p:spPr>
      </p:pic>
      <p:sp>
        <p:nvSpPr>
          <p:cNvPr id="36" name="TextBox 35">
            <a:extLst>
              <a:ext uri="{FF2B5EF4-FFF2-40B4-BE49-F238E27FC236}">
                <a16:creationId xmlns:a16="http://schemas.microsoft.com/office/drawing/2014/main" id="{CB0C4126-2CD9-91AC-A4E9-075255AFC341}"/>
              </a:ext>
            </a:extLst>
          </p:cNvPr>
          <p:cNvSpPr txBox="1"/>
          <p:nvPr/>
        </p:nvSpPr>
        <p:spPr>
          <a:xfrm>
            <a:off x="6610350" y="1463675"/>
            <a:ext cx="5191124" cy="1741559"/>
          </a:xfrm>
          <a:prstGeom prst="rect">
            <a:avLst/>
          </a:prstGeom>
          <a:noFill/>
        </p:spPr>
        <p:txBody>
          <a:bodyPr wrap="square" rtlCol="0">
            <a:noAutofit/>
          </a:bodyPr>
          <a:lstStyle/>
          <a:p>
            <a:pPr>
              <a:spcBef>
                <a:spcPts val="400"/>
              </a:spcBef>
            </a:pPr>
            <a:r>
              <a:rPr lang="en-US" sz="1200" b="1">
                <a:solidFill>
                  <a:schemeClr val="accent4"/>
                </a:solidFill>
                <a:latin typeface="+mj-lt"/>
              </a:rPr>
              <a:t>WATERSHED HEALTH</a:t>
            </a:r>
          </a:p>
          <a:p>
            <a:pPr>
              <a:spcBef>
                <a:spcPts val="400"/>
              </a:spcBef>
            </a:pPr>
            <a:r>
              <a:rPr lang="en-US" sz="1100">
                <a:solidFill>
                  <a:schemeClr val="bg1"/>
                </a:solidFill>
                <a:ea typeface="Calibri" panose="020F0502020204030204" pitchFamily="34" charset="0"/>
                <a:cs typeface="Times New Roman" panose="02020603050405020304" pitchFamily="18" charset="0"/>
              </a:rPr>
              <a:t>Watershed health means the continued capacity of a surface and groundwater ecosystem to function as a vital living ecosystem that is resilient to drought, storm and other extreme weather events and that sustains all biological kingdoms; healthy watersheds provide public and private benefits including but not limited to improved water cycle and hydrology, water quality, drinking water security, recreation and tourism, stormwater management, flood mitigation, habitat resilience and environmentally sound control of invasive species, and lower crop risk.</a:t>
            </a:r>
          </a:p>
        </p:txBody>
      </p:sp>
      <p:sp>
        <p:nvSpPr>
          <p:cNvPr id="37" name="TextBox 36">
            <a:extLst>
              <a:ext uri="{FF2B5EF4-FFF2-40B4-BE49-F238E27FC236}">
                <a16:creationId xmlns:a16="http://schemas.microsoft.com/office/drawing/2014/main" id="{7681EDE2-698A-D5E6-55D1-6ACE8141125B}"/>
              </a:ext>
            </a:extLst>
          </p:cNvPr>
          <p:cNvSpPr txBox="1"/>
          <p:nvPr/>
        </p:nvSpPr>
        <p:spPr>
          <a:xfrm>
            <a:off x="6610350" y="3395316"/>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HIGH RISK AREA / BASIN / WATERSHED</a:t>
            </a:r>
          </a:p>
          <a:p>
            <a:pPr>
              <a:spcBef>
                <a:spcPts val="400"/>
              </a:spcBef>
            </a:pPr>
            <a:r>
              <a:rPr lang="en-US" sz="1100">
                <a:solidFill>
                  <a:schemeClr val="bg1"/>
                </a:solidFill>
                <a:ea typeface="Calibri" panose="020F0502020204030204" pitchFamily="34" charset="0"/>
                <a:cs typeface="Times New Roman" panose="02020603050405020304" pitchFamily="18" charset="0"/>
              </a:rPr>
              <a:t>A location likely to experience a water-related challenge, such as a flood or drought, that could have detrimental impact to our business.</a:t>
            </a:r>
          </a:p>
        </p:txBody>
      </p:sp>
      <p:cxnSp>
        <p:nvCxnSpPr>
          <p:cNvPr id="38" name="Straight Connector 37">
            <a:extLst>
              <a:ext uri="{FF2B5EF4-FFF2-40B4-BE49-F238E27FC236}">
                <a16:creationId xmlns:a16="http://schemas.microsoft.com/office/drawing/2014/main" id="{6FE11E7A-568C-7C49-5678-4F5E86ECE604}"/>
              </a:ext>
            </a:extLst>
          </p:cNvPr>
          <p:cNvCxnSpPr>
            <a:cxnSpLocks/>
          </p:cNvCxnSpPr>
          <p:nvPr/>
        </p:nvCxnSpPr>
        <p:spPr>
          <a:xfrm>
            <a:off x="6610350" y="3300275"/>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4B0EB88-75B8-589E-DC62-A0A336E415F3}"/>
              </a:ext>
            </a:extLst>
          </p:cNvPr>
          <p:cNvSpPr txBox="1"/>
          <p:nvPr/>
        </p:nvSpPr>
        <p:spPr>
          <a:xfrm>
            <a:off x="731996" y="1463675"/>
            <a:ext cx="5191124" cy="836126"/>
          </a:xfrm>
          <a:prstGeom prst="rect">
            <a:avLst/>
          </a:prstGeom>
          <a:noFill/>
        </p:spPr>
        <p:txBody>
          <a:bodyPr wrap="square" rtlCol="0">
            <a:noAutofit/>
          </a:bodyPr>
          <a:lstStyle/>
          <a:p>
            <a:pPr>
              <a:spcBef>
                <a:spcPts val="400"/>
              </a:spcBef>
            </a:pPr>
            <a:r>
              <a:rPr lang="en-US" sz="1200" b="1">
                <a:solidFill>
                  <a:schemeClr val="accent4"/>
                </a:solidFill>
                <a:latin typeface="+mj-lt"/>
              </a:rPr>
              <a:t>NET WATER POSITIVE</a:t>
            </a:r>
          </a:p>
          <a:p>
            <a:pPr>
              <a:spcBef>
                <a:spcPts val="400"/>
              </a:spcBef>
            </a:pPr>
            <a:r>
              <a:rPr lang="en-US" sz="1100">
                <a:solidFill>
                  <a:schemeClr val="bg1"/>
                </a:solidFill>
                <a:ea typeface="Calibri" panose="020F0502020204030204" pitchFamily="34" charset="0"/>
                <a:cs typeface="Times New Roman" panose="02020603050405020304" pitchFamily="18" charset="0"/>
              </a:rPr>
              <a:t>Replenishing back into the local watershed (which are land areas that channel rainfall to larger bodies of water) more than 100% of the water used at company-owned and third-party sites in high-water-risk areas.</a:t>
            </a:r>
          </a:p>
        </p:txBody>
      </p:sp>
      <p:sp>
        <p:nvSpPr>
          <p:cNvPr id="44" name="TextBox 43">
            <a:extLst>
              <a:ext uri="{FF2B5EF4-FFF2-40B4-BE49-F238E27FC236}">
                <a16:creationId xmlns:a16="http://schemas.microsoft.com/office/drawing/2014/main" id="{A37205C0-37A1-B3C8-6162-9982E1F27CFE}"/>
              </a:ext>
            </a:extLst>
          </p:cNvPr>
          <p:cNvSpPr txBox="1"/>
          <p:nvPr/>
        </p:nvSpPr>
        <p:spPr>
          <a:xfrm>
            <a:off x="731996" y="2596855"/>
            <a:ext cx="5191124" cy="836126"/>
          </a:xfrm>
          <a:prstGeom prst="rect">
            <a:avLst/>
          </a:prstGeom>
          <a:noFill/>
        </p:spPr>
        <p:txBody>
          <a:bodyPr wrap="square" rtlCol="0">
            <a:noAutofit/>
          </a:bodyPr>
          <a:lstStyle/>
          <a:p>
            <a:pPr>
              <a:spcBef>
                <a:spcPts val="400"/>
              </a:spcBef>
            </a:pPr>
            <a:r>
              <a:rPr lang="en-US" sz="1200" b="1">
                <a:solidFill>
                  <a:schemeClr val="accent4"/>
                </a:solidFill>
                <a:latin typeface="+mj-lt"/>
              </a:rPr>
              <a:t>WATER REPLENISHMENT</a:t>
            </a:r>
          </a:p>
          <a:p>
            <a:pPr>
              <a:spcBef>
                <a:spcPts val="400"/>
              </a:spcBef>
            </a:pPr>
            <a:r>
              <a:rPr lang="en-US" sz="1100">
                <a:solidFill>
                  <a:schemeClr val="bg1"/>
                </a:solidFill>
                <a:ea typeface="Calibri" panose="020F0502020204030204" pitchFamily="34" charset="0"/>
                <a:cs typeface="Times New Roman" panose="02020603050405020304" pitchFamily="18" charset="0"/>
              </a:rPr>
              <a:t>Replenishment activities seek to return water to ecosystems and communities so that the water used by industrial and agricultural operations is “balanced” or “offset.”</a:t>
            </a:r>
          </a:p>
        </p:txBody>
      </p:sp>
      <p:cxnSp>
        <p:nvCxnSpPr>
          <p:cNvPr id="47" name="Straight Connector 46">
            <a:extLst>
              <a:ext uri="{FF2B5EF4-FFF2-40B4-BE49-F238E27FC236}">
                <a16:creationId xmlns:a16="http://schemas.microsoft.com/office/drawing/2014/main" id="{886619E9-3F64-2A56-40EA-A432F6D0AE6D}"/>
              </a:ext>
            </a:extLst>
          </p:cNvPr>
          <p:cNvCxnSpPr>
            <a:cxnSpLocks/>
          </p:cNvCxnSpPr>
          <p:nvPr/>
        </p:nvCxnSpPr>
        <p:spPr>
          <a:xfrm>
            <a:off x="731996" y="2448328"/>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B15D0B8F-4376-9D46-9B62-21EEFCE8C7CD}"/>
              </a:ext>
            </a:extLst>
          </p:cNvPr>
          <p:cNvSpPr>
            <a:spLocks noGrp="1"/>
          </p:cNvSpPr>
          <p:nvPr>
            <p:ph type="title"/>
          </p:nvPr>
        </p:nvSpPr>
        <p:spPr>
          <a:xfrm>
            <a:off x="304798" y="246888"/>
            <a:ext cx="11585448" cy="969264"/>
          </a:xfrm>
        </p:spPr>
        <p:txBody>
          <a:bodyPr vert="horz" lIns="822960" rIns="91440"/>
          <a:lstStyle/>
          <a:p>
            <a:r>
              <a:rPr lang="en-US" b="1" cap="none">
                <a:solidFill>
                  <a:srgbClr val="8DBD29"/>
                </a:solidFill>
              </a:rPr>
              <a:t>WATER</a:t>
            </a:r>
            <a:endParaRPr lang="en-MX" b="1" cap="none">
              <a:solidFill>
                <a:srgbClr val="8DBD29"/>
              </a:solidFill>
            </a:endParaRPr>
          </a:p>
        </p:txBody>
      </p:sp>
      <p:sp>
        <p:nvSpPr>
          <p:cNvPr id="48" name="TextBox 47">
            <a:extLst>
              <a:ext uri="{FF2B5EF4-FFF2-40B4-BE49-F238E27FC236}">
                <a16:creationId xmlns:a16="http://schemas.microsoft.com/office/drawing/2014/main" id="{1B2F5042-4745-F090-1585-C92859BEF9E6}"/>
              </a:ext>
            </a:extLst>
          </p:cNvPr>
          <p:cNvSpPr txBox="1"/>
          <p:nvPr/>
        </p:nvSpPr>
        <p:spPr>
          <a:xfrm>
            <a:off x="731996" y="3730036"/>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WATER CONSERVATION</a:t>
            </a:r>
          </a:p>
          <a:p>
            <a:pPr>
              <a:spcBef>
                <a:spcPts val="400"/>
              </a:spcBef>
            </a:pPr>
            <a:r>
              <a:rPr lang="en-US" sz="1100">
                <a:solidFill>
                  <a:schemeClr val="bg1"/>
                </a:solidFill>
                <a:ea typeface="Calibri" panose="020F0502020204030204" pitchFamily="34" charset="0"/>
                <a:cs typeface="Times New Roman" panose="02020603050405020304" pitchFamily="18" charset="0"/>
              </a:rPr>
              <a:t>Water conservation is the practice of using water efficiently to reduce unnecessary water usage.</a:t>
            </a:r>
          </a:p>
        </p:txBody>
      </p:sp>
      <p:cxnSp>
        <p:nvCxnSpPr>
          <p:cNvPr id="50" name="Straight Connector 49">
            <a:extLst>
              <a:ext uri="{FF2B5EF4-FFF2-40B4-BE49-F238E27FC236}">
                <a16:creationId xmlns:a16="http://schemas.microsoft.com/office/drawing/2014/main" id="{472B4797-0C18-9559-BC22-1C291D2B6506}"/>
              </a:ext>
            </a:extLst>
          </p:cNvPr>
          <p:cNvCxnSpPr>
            <a:cxnSpLocks/>
          </p:cNvCxnSpPr>
          <p:nvPr/>
        </p:nvCxnSpPr>
        <p:spPr>
          <a:xfrm>
            <a:off x="731996" y="3581508"/>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5C2B0F00-C355-ECC5-15A3-6782EB2049E4}"/>
              </a:ext>
            </a:extLst>
          </p:cNvPr>
          <p:cNvSpPr txBox="1"/>
          <p:nvPr/>
        </p:nvSpPr>
        <p:spPr>
          <a:xfrm>
            <a:off x="6610350" y="4252249"/>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WATER EFFICIENCY</a:t>
            </a:r>
          </a:p>
          <a:p>
            <a:pPr>
              <a:spcBef>
                <a:spcPts val="400"/>
              </a:spcBef>
            </a:pPr>
            <a:r>
              <a:rPr lang="en-US" sz="1100">
                <a:solidFill>
                  <a:schemeClr val="bg1"/>
                </a:solidFill>
                <a:ea typeface="Calibri" panose="020F0502020204030204" pitchFamily="34" charset="0"/>
                <a:cs typeface="Times New Roman" panose="02020603050405020304" pitchFamily="18" charset="0"/>
              </a:rPr>
              <a:t>Water efficiency means using improved technologies and practices to deliver equal or better service with less water.</a:t>
            </a:r>
          </a:p>
        </p:txBody>
      </p:sp>
      <p:cxnSp>
        <p:nvCxnSpPr>
          <p:cNvPr id="52" name="Straight Connector 51">
            <a:extLst>
              <a:ext uri="{FF2B5EF4-FFF2-40B4-BE49-F238E27FC236}">
                <a16:creationId xmlns:a16="http://schemas.microsoft.com/office/drawing/2014/main" id="{8F69E6B0-6641-CD5E-6615-AC194D995D08}"/>
              </a:ext>
            </a:extLst>
          </p:cNvPr>
          <p:cNvCxnSpPr>
            <a:cxnSpLocks/>
          </p:cNvCxnSpPr>
          <p:nvPr/>
        </p:nvCxnSpPr>
        <p:spPr>
          <a:xfrm>
            <a:off x="6610350" y="4157206"/>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C0F62255-379C-7B21-7261-AF14543C0D7E}"/>
              </a:ext>
            </a:extLst>
          </p:cNvPr>
          <p:cNvGrpSpPr/>
          <p:nvPr/>
        </p:nvGrpSpPr>
        <p:grpSpPr>
          <a:xfrm>
            <a:off x="372424" y="1440815"/>
            <a:ext cx="354334" cy="354334"/>
            <a:chOff x="372424" y="1440815"/>
            <a:chExt cx="354334" cy="354334"/>
          </a:xfrm>
        </p:grpSpPr>
        <p:sp>
          <p:nvSpPr>
            <p:cNvPr id="45" name="Oval 44">
              <a:extLst>
                <a:ext uri="{FF2B5EF4-FFF2-40B4-BE49-F238E27FC236}">
                  <a16:creationId xmlns:a16="http://schemas.microsoft.com/office/drawing/2014/main" id="{3D483148-ACD6-87CD-CAE1-505C795FCF08}"/>
                </a:ext>
              </a:extLst>
            </p:cNvPr>
            <p:cNvSpPr/>
            <p:nvPr/>
          </p:nvSpPr>
          <p:spPr>
            <a:xfrm>
              <a:off x="372424"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1" name="Group 80">
              <a:extLst>
                <a:ext uri="{FF2B5EF4-FFF2-40B4-BE49-F238E27FC236}">
                  <a16:creationId xmlns:a16="http://schemas.microsoft.com/office/drawing/2014/main" id="{4A115466-A319-49A1-AC81-19BE82A0C289}"/>
                </a:ext>
              </a:extLst>
            </p:cNvPr>
            <p:cNvGrpSpPr/>
            <p:nvPr/>
          </p:nvGrpSpPr>
          <p:grpSpPr>
            <a:xfrm>
              <a:off x="446079" y="1515493"/>
              <a:ext cx="207025" cy="204978"/>
              <a:chOff x="3657600" y="990600"/>
              <a:chExt cx="4876799" cy="4828579"/>
            </a:xfrm>
            <a:solidFill>
              <a:srgbClr val="2B660F"/>
            </a:solidFill>
          </p:grpSpPr>
          <p:sp>
            <p:nvSpPr>
              <p:cNvPr id="62" name="Freeform: Shape 61">
                <a:extLst>
                  <a:ext uri="{FF2B5EF4-FFF2-40B4-BE49-F238E27FC236}">
                    <a16:creationId xmlns:a16="http://schemas.microsoft.com/office/drawing/2014/main" id="{3751F3B8-0DBB-717B-30D2-4A8C74BD1C4B}"/>
                  </a:ext>
                </a:extLst>
              </p:cNvPr>
              <p:cNvSpPr/>
              <p:nvPr/>
            </p:nvSpPr>
            <p:spPr>
              <a:xfrm>
                <a:off x="6124537" y="993353"/>
                <a:ext cx="1095375" cy="1220874"/>
              </a:xfrm>
              <a:custGeom>
                <a:avLst/>
                <a:gdLst>
                  <a:gd name="csX0" fmla="*/ 468660 w 1095375"/>
                  <a:gd name="csY0" fmla="*/ 578607 h 1220874"/>
                  <a:gd name="csX1" fmla="*/ 714933 w 1095375"/>
                  <a:gd name="csY1" fmla="*/ 1220874 h 1220874"/>
                  <a:gd name="csX2" fmla="*/ 788045 w 1095375"/>
                  <a:gd name="csY2" fmla="*/ 1220874 h 1220874"/>
                  <a:gd name="csX3" fmla="*/ 874923 w 1095375"/>
                  <a:gd name="csY3" fmla="*/ 1060773 h 1220874"/>
                  <a:gd name="csX4" fmla="*/ 1095375 w 1095375"/>
                  <a:gd name="csY4" fmla="*/ 662508 h 1220874"/>
                  <a:gd name="csX5" fmla="*/ 0 w 1095375"/>
                  <a:gd name="csY5" fmla="*/ 0 h 1220874"/>
                  <a:gd name="csX6" fmla="*/ 468660 w 1095375"/>
                  <a:gd name="csY6" fmla="*/ 578607 h 12208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095375" h="1220874">
                    <a:moveTo>
                      <a:pt x="468660" y="578607"/>
                    </a:moveTo>
                    <a:cubicBezTo>
                      <a:pt x="575965" y="773497"/>
                      <a:pt x="658713" y="990377"/>
                      <a:pt x="714933" y="1220874"/>
                    </a:cubicBezTo>
                    <a:lnTo>
                      <a:pt x="788045" y="1220874"/>
                    </a:lnTo>
                    <a:cubicBezTo>
                      <a:pt x="839093" y="1125624"/>
                      <a:pt x="871277" y="1067395"/>
                      <a:pt x="874923" y="1060773"/>
                    </a:cubicBezTo>
                    <a:lnTo>
                      <a:pt x="1095375" y="662508"/>
                    </a:lnTo>
                    <a:cubicBezTo>
                      <a:pt x="813867" y="332482"/>
                      <a:pt x="429927" y="97259"/>
                      <a:pt x="0" y="0"/>
                    </a:cubicBezTo>
                    <a:cubicBezTo>
                      <a:pt x="184026" y="154595"/>
                      <a:pt x="342677" y="349746"/>
                      <a:pt x="468660" y="578607"/>
                    </a:cubicBezTo>
                    <a:close/>
                  </a:path>
                </a:pathLst>
              </a:custGeom>
              <a:grpFill/>
              <a:ln w="9525" cap="flat">
                <a:noFill/>
                <a:prstDash val="solid"/>
                <a:miter/>
              </a:ln>
            </p:spPr>
            <p:txBody>
              <a:bodyPr/>
              <a:lstStyle/>
              <a:p>
                <a:endParaRPr lang="en-US"/>
              </a:p>
            </p:txBody>
          </p:sp>
          <p:sp>
            <p:nvSpPr>
              <p:cNvPr id="63" name="Freeform: Shape 62">
                <a:extLst>
                  <a:ext uri="{FF2B5EF4-FFF2-40B4-BE49-F238E27FC236}">
                    <a16:creationId xmlns:a16="http://schemas.microsoft.com/office/drawing/2014/main" id="{7F8D2AF9-984D-A0AE-7758-72EF688027AA}"/>
                  </a:ext>
                </a:extLst>
              </p:cNvPr>
              <p:cNvSpPr/>
              <p:nvPr/>
            </p:nvSpPr>
            <p:spPr>
              <a:xfrm>
                <a:off x="4821361" y="1126256"/>
                <a:ext cx="717612" cy="1087970"/>
              </a:xfrm>
              <a:custGeom>
                <a:avLst/>
                <a:gdLst>
                  <a:gd name="csX0" fmla="*/ 717612 w 717612"/>
                  <a:gd name="csY0" fmla="*/ 0 h 1087970"/>
                  <a:gd name="csX1" fmla="*/ 163934 w 717612"/>
                  <a:gd name="csY1" fmla="*/ 655997 h 1087970"/>
                  <a:gd name="csX2" fmla="*/ 0 w 717612"/>
                  <a:gd name="csY2" fmla="*/ 1087971 h 1087970"/>
                  <a:gd name="csX3" fmla="*/ 717612 w 717612"/>
                  <a:gd name="csY3" fmla="*/ 1087971 h 1087970"/>
                </a:gdLst>
                <a:ahLst/>
                <a:cxnLst>
                  <a:cxn ang="0">
                    <a:pos x="csX0" y="csY0"/>
                  </a:cxn>
                  <a:cxn ang="0">
                    <a:pos x="csX1" y="csY1"/>
                  </a:cxn>
                  <a:cxn ang="0">
                    <a:pos x="csX2" y="csY2"/>
                  </a:cxn>
                  <a:cxn ang="0">
                    <a:pos x="csX3" y="csY3"/>
                  </a:cxn>
                </a:cxnLst>
                <a:rect l="l" t="t" r="r" b="b"/>
                <a:pathLst>
                  <a:path w="717612" h="1087970">
                    <a:moveTo>
                      <a:pt x="717612" y="0"/>
                    </a:moveTo>
                    <a:cubicBezTo>
                      <a:pt x="491989" y="155302"/>
                      <a:pt x="302977" y="378433"/>
                      <a:pt x="163934" y="655997"/>
                    </a:cubicBezTo>
                    <a:cubicBezTo>
                      <a:pt x="96329" y="790910"/>
                      <a:pt x="41635" y="935868"/>
                      <a:pt x="0" y="1087971"/>
                    </a:cubicBezTo>
                    <a:lnTo>
                      <a:pt x="717612" y="1087971"/>
                    </a:lnTo>
                    <a:close/>
                  </a:path>
                </a:pathLst>
              </a:custGeom>
              <a:grpFill/>
              <a:ln w="9525" cap="flat">
                <a:noFill/>
                <a:prstDash val="solid"/>
                <a:miter/>
              </a:ln>
            </p:spPr>
            <p:txBody>
              <a:bodyPr/>
              <a:lstStyle/>
              <a:p>
                <a:endParaRPr lang="en-US"/>
              </a:p>
            </p:txBody>
          </p:sp>
          <p:sp>
            <p:nvSpPr>
              <p:cNvPr id="64" name="Freeform: Shape 63">
                <a:extLst>
                  <a:ext uri="{FF2B5EF4-FFF2-40B4-BE49-F238E27FC236}">
                    <a16:creationId xmlns:a16="http://schemas.microsoft.com/office/drawing/2014/main" id="{25CE11D2-1DB1-A177-D5CF-477522EAA5E4}"/>
                  </a:ext>
                </a:extLst>
              </p:cNvPr>
              <p:cNvSpPr/>
              <p:nvPr/>
            </p:nvSpPr>
            <p:spPr>
              <a:xfrm>
                <a:off x="6214988" y="1966466"/>
                <a:ext cx="2319411" cy="3852713"/>
              </a:xfrm>
              <a:custGeom>
                <a:avLst/>
                <a:gdLst>
                  <a:gd name="csX0" fmla="*/ 2319412 w 2319411"/>
                  <a:gd name="csY0" fmla="*/ 2693529 h 3852713"/>
                  <a:gd name="csX1" fmla="*/ 1796951 w 2319411"/>
                  <a:gd name="csY1" fmla="*/ 1222065 h 3852713"/>
                  <a:gd name="csX2" fmla="*/ 1284796 w 2319411"/>
                  <a:gd name="csY2" fmla="*/ 225996 h 3852713"/>
                  <a:gd name="csX3" fmla="*/ 1159706 w 2319411"/>
                  <a:gd name="csY3" fmla="*/ 0 h 3852713"/>
                  <a:gd name="csX4" fmla="*/ 1034616 w 2319411"/>
                  <a:gd name="csY4" fmla="*/ 225996 h 3852713"/>
                  <a:gd name="csX5" fmla="*/ 522461 w 2319411"/>
                  <a:gd name="csY5" fmla="*/ 1222065 h 3852713"/>
                  <a:gd name="csX6" fmla="*/ 0 w 2319411"/>
                  <a:gd name="csY6" fmla="*/ 2693529 h 3852713"/>
                  <a:gd name="csX7" fmla="*/ 1159706 w 2319411"/>
                  <a:gd name="csY7" fmla="*/ 3852714 h 3852713"/>
                  <a:gd name="csX8" fmla="*/ 2319412 w 2319411"/>
                  <a:gd name="csY8" fmla="*/ 2693529 h 3852713"/>
                  <a:gd name="csX9" fmla="*/ 1598600 w 2319411"/>
                  <a:gd name="csY9" fmla="*/ 2847491 h 3852713"/>
                  <a:gd name="csX10" fmla="*/ 1303920 w 2319411"/>
                  <a:gd name="csY10" fmla="*/ 2847491 h 3852713"/>
                  <a:gd name="csX11" fmla="*/ 1303920 w 2319411"/>
                  <a:gd name="csY11" fmla="*/ 3141911 h 3852713"/>
                  <a:gd name="csX12" fmla="*/ 1017798 w 2319411"/>
                  <a:gd name="csY12" fmla="*/ 3141911 h 3852713"/>
                  <a:gd name="csX13" fmla="*/ 1017798 w 2319411"/>
                  <a:gd name="csY13" fmla="*/ 2847491 h 3852713"/>
                  <a:gd name="csX14" fmla="*/ 723119 w 2319411"/>
                  <a:gd name="csY14" fmla="*/ 2847491 h 3852713"/>
                  <a:gd name="csX15" fmla="*/ 723119 w 2319411"/>
                  <a:gd name="csY15" fmla="*/ 2561593 h 3852713"/>
                  <a:gd name="csX16" fmla="*/ 1017798 w 2319411"/>
                  <a:gd name="csY16" fmla="*/ 2561593 h 3852713"/>
                  <a:gd name="csX17" fmla="*/ 1017798 w 2319411"/>
                  <a:gd name="csY17" fmla="*/ 2267173 h 3852713"/>
                  <a:gd name="csX18" fmla="*/ 1303920 w 2319411"/>
                  <a:gd name="csY18" fmla="*/ 2267173 h 3852713"/>
                  <a:gd name="csX19" fmla="*/ 1303920 w 2319411"/>
                  <a:gd name="csY19" fmla="*/ 2561593 h 3852713"/>
                  <a:gd name="csX20" fmla="*/ 1598600 w 2319411"/>
                  <a:gd name="csY20" fmla="*/ 2561593 h 38527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Lst>
                <a:rect l="l" t="t" r="r" b="b"/>
                <a:pathLst>
                  <a:path w="2319411" h="3852713">
                    <a:moveTo>
                      <a:pt x="2319412" y="2693529"/>
                    </a:moveTo>
                    <a:cubicBezTo>
                      <a:pt x="2319412" y="2310222"/>
                      <a:pt x="1926171" y="1491183"/>
                      <a:pt x="1796951" y="1222065"/>
                    </a:cubicBezTo>
                    <a:cubicBezTo>
                      <a:pt x="1543869" y="694916"/>
                      <a:pt x="1295251" y="244897"/>
                      <a:pt x="1284796" y="225996"/>
                    </a:cubicBezTo>
                    <a:lnTo>
                      <a:pt x="1159706" y="0"/>
                    </a:lnTo>
                    <a:lnTo>
                      <a:pt x="1034616" y="225996"/>
                    </a:lnTo>
                    <a:cubicBezTo>
                      <a:pt x="1024161" y="244897"/>
                      <a:pt x="775543" y="694916"/>
                      <a:pt x="522461" y="1222065"/>
                    </a:cubicBezTo>
                    <a:cubicBezTo>
                      <a:pt x="393241" y="1491183"/>
                      <a:pt x="0" y="2310222"/>
                      <a:pt x="0" y="2693529"/>
                    </a:cubicBezTo>
                    <a:cubicBezTo>
                      <a:pt x="0" y="3430265"/>
                      <a:pt x="660611" y="3852714"/>
                      <a:pt x="1159706" y="3852714"/>
                    </a:cubicBezTo>
                    <a:cubicBezTo>
                      <a:pt x="1799183" y="3852714"/>
                      <a:pt x="2319412" y="3332708"/>
                      <a:pt x="2319412" y="2693529"/>
                    </a:cubicBezTo>
                    <a:close/>
                    <a:moveTo>
                      <a:pt x="1598600" y="2847491"/>
                    </a:moveTo>
                    <a:lnTo>
                      <a:pt x="1303920" y="2847491"/>
                    </a:lnTo>
                    <a:lnTo>
                      <a:pt x="1303920" y="3141911"/>
                    </a:lnTo>
                    <a:lnTo>
                      <a:pt x="1017798" y="3141911"/>
                    </a:lnTo>
                    <a:lnTo>
                      <a:pt x="1017798" y="2847491"/>
                    </a:lnTo>
                    <a:lnTo>
                      <a:pt x="723119" y="2847491"/>
                    </a:lnTo>
                    <a:lnTo>
                      <a:pt x="723119" y="2561593"/>
                    </a:lnTo>
                    <a:lnTo>
                      <a:pt x="1017798" y="2561593"/>
                    </a:lnTo>
                    <a:lnTo>
                      <a:pt x="1017798" y="2267173"/>
                    </a:lnTo>
                    <a:lnTo>
                      <a:pt x="1303920" y="2267173"/>
                    </a:lnTo>
                    <a:lnTo>
                      <a:pt x="1303920" y="2561593"/>
                    </a:lnTo>
                    <a:lnTo>
                      <a:pt x="1598600" y="2561593"/>
                    </a:lnTo>
                    <a:close/>
                  </a:path>
                </a:pathLst>
              </a:custGeom>
              <a:grpFill/>
              <a:ln w="9525" cap="flat">
                <a:noFill/>
                <a:prstDash val="solid"/>
                <a:miter/>
              </a:ln>
            </p:spPr>
            <p:txBody>
              <a:bodyPr/>
              <a:lstStyle/>
              <a:p>
                <a:endParaRPr lang="en-US"/>
              </a:p>
            </p:txBody>
          </p:sp>
          <p:sp>
            <p:nvSpPr>
              <p:cNvPr id="65" name="Freeform: Shape 64">
                <a:extLst>
                  <a:ext uri="{FF2B5EF4-FFF2-40B4-BE49-F238E27FC236}">
                    <a16:creationId xmlns:a16="http://schemas.microsoft.com/office/drawing/2014/main" id="{BE058106-FC51-611B-C650-E9BBE93D0172}"/>
                  </a:ext>
                </a:extLst>
              </p:cNvPr>
              <p:cNvSpPr/>
              <p:nvPr/>
            </p:nvSpPr>
            <p:spPr>
              <a:xfrm>
                <a:off x="5824835" y="1124024"/>
                <a:ext cx="719509" cy="1090203"/>
              </a:xfrm>
              <a:custGeom>
                <a:avLst/>
                <a:gdLst>
                  <a:gd name="csX0" fmla="*/ 0 w 719509"/>
                  <a:gd name="csY0" fmla="*/ 0 h 1090203"/>
                  <a:gd name="csX1" fmla="*/ 0 w 719509"/>
                  <a:gd name="csY1" fmla="*/ 1090203 h 1090203"/>
                  <a:gd name="csX2" fmla="*/ 719510 w 719509"/>
                  <a:gd name="csY2" fmla="*/ 1090203 h 1090203"/>
                  <a:gd name="csX3" fmla="*/ 517922 w 719509"/>
                  <a:gd name="csY3" fmla="*/ 585676 h 1090203"/>
                  <a:gd name="csX4" fmla="*/ 0 w 719509"/>
                  <a:gd name="csY4" fmla="*/ 0 h 1090203"/>
                </a:gdLst>
                <a:ahLst/>
                <a:cxnLst>
                  <a:cxn ang="0">
                    <a:pos x="csX0" y="csY0"/>
                  </a:cxn>
                  <a:cxn ang="0">
                    <a:pos x="csX1" y="csY1"/>
                  </a:cxn>
                  <a:cxn ang="0">
                    <a:pos x="csX2" y="csY2"/>
                  </a:cxn>
                  <a:cxn ang="0">
                    <a:pos x="csX3" y="csY3"/>
                  </a:cxn>
                  <a:cxn ang="0">
                    <a:pos x="csX4" y="csY4"/>
                  </a:cxn>
                </a:cxnLst>
                <a:rect l="l" t="t" r="r" b="b"/>
                <a:pathLst>
                  <a:path w="719509" h="1090203">
                    <a:moveTo>
                      <a:pt x="0" y="0"/>
                    </a:moveTo>
                    <a:lnTo>
                      <a:pt x="0" y="1090203"/>
                    </a:lnTo>
                    <a:lnTo>
                      <a:pt x="719510" y="1090203"/>
                    </a:lnTo>
                    <a:cubicBezTo>
                      <a:pt x="670285" y="909526"/>
                      <a:pt x="602642" y="739601"/>
                      <a:pt x="517922" y="585676"/>
                    </a:cubicBezTo>
                    <a:cubicBezTo>
                      <a:pt x="383195" y="340928"/>
                      <a:pt x="206573" y="141870"/>
                      <a:pt x="0" y="0"/>
                    </a:cubicBezTo>
                    <a:close/>
                  </a:path>
                </a:pathLst>
              </a:custGeom>
              <a:grpFill/>
              <a:ln w="9525" cap="flat">
                <a:noFill/>
                <a:prstDash val="solid"/>
                <a:miter/>
              </a:ln>
            </p:spPr>
            <p:txBody>
              <a:bodyPr/>
              <a:lstStyle/>
              <a:p>
                <a:endParaRPr lang="en-US"/>
              </a:p>
            </p:txBody>
          </p:sp>
          <p:sp>
            <p:nvSpPr>
              <p:cNvPr id="66" name="Freeform: Shape 65">
                <a:extLst>
                  <a:ext uri="{FF2B5EF4-FFF2-40B4-BE49-F238E27FC236}">
                    <a16:creationId xmlns:a16="http://schemas.microsoft.com/office/drawing/2014/main" id="{5D5D9ADC-6911-DE4B-5140-C99184C2F531}"/>
                  </a:ext>
                </a:extLst>
              </p:cNvPr>
              <p:cNvSpPr/>
              <p:nvPr/>
            </p:nvSpPr>
            <p:spPr>
              <a:xfrm>
                <a:off x="3803005" y="3715642"/>
                <a:ext cx="1507256" cy="1234194"/>
              </a:xfrm>
              <a:custGeom>
                <a:avLst/>
                <a:gdLst>
                  <a:gd name="csX0" fmla="*/ 926678 w 1507256"/>
                  <a:gd name="csY0" fmla="*/ 518964 h 1234194"/>
                  <a:gd name="csX1" fmla="*/ 733313 w 1507256"/>
                  <a:gd name="csY1" fmla="*/ 0 h 1234194"/>
                  <a:gd name="csX2" fmla="*/ 0 w 1507256"/>
                  <a:gd name="csY2" fmla="*/ 0 h 1234194"/>
                  <a:gd name="csX3" fmla="*/ 1507257 w 1507256"/>
                  <a:gd name="csY3" fmla="*/ 1234194 h 1234194"/>
                  <a:gd name="csX4" fmla="*/ 926678 w 1507256"/>
                  <a:gd name="csY4" fmla="*/ 518964 h 1234194"/>
                </a:gdLst>
                <a:ahLst/>
                <a:cxnLst>
                  <a:cxn ang="0">
                    <a:pos x="csX0" y="csY0"/>
                  </a:cxn>
                  <a:cxn ang="0">
                    <a:pos x="csX1" y="csY1"/>
                  </a:cxn>
                  <a:cxn ang="0">
                    <a:pos x="csX2" y="csY2"/>
                  </a:cxn>
                  <a:cxn ang="0">
                    <a:pos x="csX3" y="csY3"/>
                  </a:cxn>
                  <a:cxn ang="0">
                    <a:pos x="csX4" y="csY4"/>
                  </a:cxn>
                </a:cxnLst>
                <a:rect l="l" t="t" r="r" b="b"/>
                <a:pathLst>
                  <a:path w="1507256" h="1234194">
                    <a:moveTo>
                      <a:pt x="926678" y="518964"/>
                    </a:moveTo>
                    <a:cubicBezTo>
                      <a:pt x="845567" y="357076"/>
                      <a:pt x="780864" y="182835"/>
                      <a:pt x="733313" y="0"/>
                    </a:cubicBezTo>
                    <a:lnTo>
                      <a:pt x="0" y="0"/>
                    </a:lnTo>
                    <a:cubicBezTo>
                      <a:pt x="254719" y="632296"/>
                      <a:pt x="820638" y="1107132"/>
                      <a:pt x="1507257" y="1234194"/>
                    </a:cubicBezTo>
                    <a:cubicBezTo>
                      <a:pt x="1271476" y="1055303"/>
                      <a:pt x="1073981" y="812936"/>
                      <a:pt x="926678" y="518964"/>
                    </a:cubicBezTo>
                    <a:close/>
                  </a:path>
                </a:pathLst>
              </a:custGeom>
              <a:grpFill/>
              <a:ln w="9525" cap="flat">
                <a:noFill/>
                <a:prstDash val="solid"/>
                <a:miter/>
              </a:ln>
            </p:spPr>
            <p:txBody>
              <a:bodyPr/>
              <a:lstStyle/>
              <a:p>
                <a:endParaRPr lang="en-US"/>
              </a:p>
            </p:txBody>
          </p:sp>
          <p:sp>
            <p:nvSpPr>
              <p:cNvPr id="67" name="Freeform: Shape 66">
                <a:extLst>
                  <a:ext uri="{FF2B5EF4-FFF2-40B4-BE49-F238E27FC236}">
                    <a16:creationId xmlns:a16="http://schemas.microsoft.com/office/drawing/2014/main" id="{BA997E56-EF36-D47F-C44F-2CB2DDD19762}"/>
                  </a:ext>
                </a:extLst>
              </p:cNvPr>
              <p:cNvSpPr/>
              <p:nvPr/>
            </p:nvSpPr>
            <p:spPr>
              <a:xfrm>
                <a:off x="4725627" y="2499977"/>
                <a:ext cx="813345" cy="929915"/>
              </a:xfrm>
              <a:custGeom>
                <a:avLst/>
                <a:gdLst>
                  <a:gd name="csX0" fmla="*/ 813346 w 813345"/>
                  <a:gd name="csY0" fmla="*/ 0 h 929915"/>
                  <a:gd name="csX1" fmla="*/ 34491 w 813345"/>
                  <a:gd name="csY1" fmla="*/ 0 h 929915"/>
                  <a:gd name="csX2" fmla="*/ 0 w 813345"/>
                  <a:gd name="csY2" fmla="*/ 444475 h 929915"/>
                  <a:gd name="csX3" fmla="*/ 41300 w 813345"/>
                  <a:gd name="csY3" fmla="*/ 929915 h 929915"/>
                  <a:gd name="csX4" fmla="*/ 813346 w 813345"/>
                  <a:gd name="csY4" fmla="*/ 929915 h 929915"/>
                </a:gdLst>
                <a:ahLst/>
                <a:cxnLst>
                  <a:cxn ang="0">
                    <a:pos x="csX0" y="csY0"/>
                  </a:cxn>
                  <a:cxn ang="0">
                    <a:pos x="csX1" y="csY1"/>
                  </a:cxn>
                  <a:cxn ang="0">
                    <a:pos x="csX2" y="csY2"/>
                  </a:cxn>
                  <a:cxn ang="0">
                    <a:pos x="csX3" y="csY3"/>
                  </a:cxn>
                  <a:cxn ang="0">
                    <a:pos x="csX4" y="csY4"/>
                  </a:cxn>
                </a:cxnLst>
                <a:rect l="l" t="t" r="r" b="b"/>
                <a:pathLst>
                  <a:path w="813345" h="929915">
                    <a:moveTo>
                      <a:pt x="813346" y="0"/>
                    </a:moveTo>
                    <a:lnTo>
                      <a:pt x="34491" y="0"/>
                    </a:lnTo>
                    <a:cubicBezTo>
                      <a:pt x="11757" y="144326"/>
                      <a:pt x="0" y="293117"/>
                      <a:pt x="0" y="444475"/>
                    </a:cubicBezTo>
                    <a:cubicBezTo>
                      <a:pt x="0" y="610195"/>
                      <a:pt x="14101" y="772827"/>
                      <a:pt x="41300" y="929915"/>
                    </a:cubicBezTo>
                    <a:lnTo>
                      <a:pt x="813346" y="929915"/>
                    </a:lnTo>
                    <a:close/>
                  </a:path>
                </a:pathLst>
              </a:custGeom>
              <a:grpFill/>
              <a:ln w="9525" cap="flat">
                <a:noFill/>
                <a:prstDash val="solid"/>
                <a:miter/>
              </a:ln>
            </p:spPr>
            <p:txBody>
              <a:bodyPr/>
              <a:lstStyle/>
              <a:p>
                <a:endParaRPr lang="en-US"/>
              </a:p>
            </p:txBody>
          </p:sp>
          <p:sp>
            <p:nvSpPr>
              <p:cNvPr id="68" name="Freeform: Shape 67">
                <a:extLst>
                  <a:ext uri="{FF2B5EF4-FFF2-40B4-BE49-F238E27FC236}">
                    <a16:creationId xmlns:a16="http://schemas.microsoft.com/office/drawing/2014/main" id="{1DA7E43C-872B-0F48-1435-525A0F133575}"/>
                  </a:ext>
                </a:extLst>
              </p:cNvPr>
              <p:cNvSpPr/>
              <p:nvPr/>
            </p:nvSpPr>
            <p:spPr>
              <a:xfrm>
                <a:off x="3801926" y="990600"/>
                <a:ext cx="1443558" cy="1223627"/>
              </a:xfrm>
              <a:custGeom>
                <a:avLst/>
                <a:gdLst>
                  <a:gd name="csX0" fmla="*/ 927757 w 1443558"/>
                  <a:gd name="csY0" fmla="*/ 663699 h 1223627"/>
                  <a:gd name="csX1" fmla="*/ 1443558 w 1443558"/>
                  <a:gd name="csY1" fmla="*/ 0 h 1223627"/>
                  <a:gd name="csX2" fmla="*/ 0 w 1443558"/>
                  <a:gd name="csY2" fmla="*/ 1223628 h 1223627"/>
                  <a:gd name="csX3" fmla="*/ 724012 w 1443558"/>
                  <a:gd name="csY3" fmla="*/ 1223628 h 1223627"/>
                  <a:gd name="csX4" fmla="*/ 927757 w 1443558"/>
                  <a:gd name="csY4" fmla="*/ 663699 h 1223627"/>
                </a:gdLst>
                <a:ahLst/>
                <a:cxnLst>
                  <a:cxn ang="0">
                    <a:pos x="csX0" y="csY0"/>
                  </a:cxn>
                  <a:cxn ang="0">
                    <a:pos x="csX1" y="csY1"/>
                  </a:cxn>
                  <a:cxn ang="0">
                    <a:pos x="csX2" y="csY2"/>
                  </a:cxn>
                  <a:cxn ang="0">
                    <a:pos x="csX3" y="csY3"/>
                  </a:cxn>
                  <a:cxn ang="0">
                    <a:pos x="csX4" y="csY4"/>
                  </a:cxn>
                </a:cxnLst>
                <a:rect l="l" t="t" r="r" b="b"/>
                <a:pathLst>
                  <a:path w="1443558" h="1223627">
                    <a:moveTo>
                      <a:pt x="927757" y="663699"/>
                    </a:moveTo>
                    <a:cubicBezTo>
                      <a:pt x="1061331" y="397036"/>
                      <a:pt x="1236278" y="172901"/>
                      <a:pt x="1443558" y="0"/>
                    </a:cubicBezTo>
                    <a:cubicBezTo>
                      <a:pt x="785329" y="144363"/>
                      <a:pt x="246236" y="610084"/>
                      <a:pt x="0" y="1223628"/>
                    </a:cubicBezTo>
                    <a:lnTo>
                      <a:pt x="724012" y="1223628"/>
                    </a:lnTo>
                    <a:cubicBezTo>
                      <a:pt x="772381" y="1025835"/>
                      <a:pt x="840581" y="837605"/>
                      <a:pt x="927757" y="663699"/>
                    </a:cubicBezTo>
                    <a:close/>
                  </a:path>
                </a:pathLst>
              </a:custGeom>
              <a:grpFill/>
              <a:ln w="9525" cap="flat">
                <a:noFill/>
                <a:prstDash val="solid"/>
                <a:miter/>
              </a:ln>
            </p:spPr>
            <p:txBody>
              <a:bodyPr/>
              <a:lstStyle/>
              <a:p>
                <a:endParaRPr lang="en-US"/>
              </a:p>
            </p:txBody>
          </p:sp>
          <p:sp>
            <p:nvSpPr>
              <p:cNvPr id="69" name="Freeform: Shape 68">
                <a:extLst>
                  <a:ext uri="{FF2B5EF4-FFF2-40B4-BE49-F238E27FC236}">
                    <a16:creationId xmlns:a16="http://schemas.microsoft.com/office/drawing/2014/main" id="{254078C3-B2ED-B046-A67D-7F6436829E90}"/>
                  </a:ext>
                </a:extLst>
              </p:cNvPr>
              <p:cNvSpPr/>
              <p:nvPr/>
            </p:nvSpPr>
            <p:spPr>
              <a:xfrm>
                <a:off x="4832895" y="3715642"/>
                <a:ext cx="706077" cy="1046968"/>
              </a:xfrm>
              <a:custGeom>
                <a:avLst/>
                <a:gdLst>
                  <a:gd name="csX0" fmla="*/ 706078 w 706077"/>
                  <a:gd name="csY0" fmla="*/ 1046969 h 1046968"/>
                  <a:gd name="csX1" fmla="*/ 706078 w 706077"/>
                  <a:gd name="csY1" fmla="*/ 0 h 1046968"/>
                  <a:gd name="csX2" fmla="*/ 0 w 706077"/>
                  <a:gd name="csY2" fmla="*/ 0 h 1046968"/>
                  <a:gd name="csX3" fmla="*/ 152400 w 706077"/>
                  <a:gd name="csY3" fmla="*/ 390972 h 1046968"/>
                  <a:gd name="csX4" fmla="*/ 706078 w 706077"/>
                  <a:gd name="csY4" fmla="*/ 1046969 h 1046968"/>
                </a:gdLst>
                <a:ahLst/>
                <a:cxnLst>
                  <a:cxn ang="0">
                    <a:pos x="csX0" y="csY0"/>
                  </a:cxn>
                  <a:cxn ang="0">
                    <a:pos x="csX1" y="csY1"/>
                  </a:cxn>
                  <a:cxn ang="0">
                    <a:pos x="csX2" y="csY2"/>
                  </a:cxn>
                  <a:cxn ang="0">
                    <a:pos x="csX3" y="csY3"/>
                  </a:cxn>
                  <a:cxn ang="0">
                    <a:pos x="csX4" y="csY4"/>
                  </a:cxn>
                </a:cxnLst>
                <a:rect l="l" t="t" r="r" b="b"/>
                <a:pathLst>
                  <a:path w="706077" h="1046968">
                    <a:moveTo>
                      <a:pt x="706078" y="1046969"/>
                    </a:moveTo>
                    <a:lnTo>
                      <a:pt x="706078" y="0"/>
                    </a:lnTo>
                    <a:lnTo>
                      <a:pt x="0" y="0"/>
                    </a:lnTo>
                    <a:cubicBezTo>
                      <a:pt x="40035" y="137145"/>
                      <a:pt x="90897" y="268226"/>
                      <a:pt x="152400" y="390972"/>
                    </a:cubicBezTo>
                    <a:cubicBezTo>
                      <a:pt x="291443" y="668536"/>
                      <a:pt x="480454" y="891667"/>
                      <a:pt x="706078" y="1046969"/>
                    </a:cubicBezTo>
                    <a:close/>
                  </a:path>
                </a:pathLst>
              </a:custGeom>
              <a:grpFill/>
              <a:ln w="9525" cap="flat">
                <a:noFill/>
                <a:prstDash val="solid"/>
                <a:miter/>
              </a:ln>
            </p:spPr>
            <p:txBody>
              <a:bodyPr/>
              <a:lstStyle/>
              <a:p>
                <a:endParaRPr lang="en-US"/>
              </a:p>
            </p:txBody>
          </p:sp>
          <p:sp>
            <p:nvSpPr>
              <p:cNvPr id="78" name="Freeform: Shape 77">
                <a:extLst>
                  <a:ext uri="{FF2B5EF4-FFF2-40B4-BE49-F238E27FC236}">
                    <a16:creationId xmlns:a16="http://schemas.microsoft.com/office/drawing/2014/main" id="{D84C68B4-0AD0-48BA-1182-0CA1A3971C6D}"/>
                  </a:ext>
                </a:extLst>
              </p:cNvPr>
              <p:cNvSpPr/>
              <p:nvPr/>
            </p:nvSpPr>
            <p:spPr>
              <a:xfrm>
                <a:off x="5824835" y="3715642"/>
                <a:ext cx="361391" cy="1049945"/>
              </a:xfrm>
              <a:custGeom>
                <a:avLst/>
                <a:gdLst>
                  <a:gd name="csX0" fmla="*/ 104626 w 361391"/>
                  <a:gd name="csY0" fmla="*/ 971699 h 1049945"/>
                  <a:gd name="csX1" fmla="*/ 104291 w 361391"/>
                  <a:gd name="csY1" fmla="*/ 944352 h 1049945"/>
                  <a:gd name="csX2" fmla="*/ 361392 w 361391"/>
                  <a:gd name="csY2" fmla="*/ 0 h 1049945"/>
                  <a:gd name="csX3" fmla="*/ 0 w 361391"/>
                  <a:gd name="csY3" fmla="*/ 0 h 1049945"/>
                  <a:gd name="csX4" fmla="*/ 0 w 361391"/>
                  <a:gd name="csY4" fmla="*/ 1049945 h 1049945"/>
                  <a:gd name="csX5" fmla="*/ 104626 w 361391"/>
                  <a:gd name="csY5" fmla="*/ 971699 h 1049945"/>
                </a:gdLst>
                <a:ahLst/>
                <a:cxnLst>
                  <a:cxn ang="0">
                    <a:pos x="csX0" y="csY0"/>
                  </a:cxn>
                  <a:cxn ang="0">
                    <a:pos x="csX1" y="csY1"/>
                  </a:cxn>
                  <a:cxn ang="0">
                    <a:pos x="csX2" y="csY2"/>
                  </a:cxn>
                  <a:cxn ang="0">
                    <a:pos x="csX3" y="csY3"/>
                  </a:cxn>
                  <a:cxn ang="0">
                    <a:pos x="csX4" y="csY4"/>
                  </a:cxn>
                  <a:cxn ang="0">
                    <a:pos x="csX5" y="csY5"/>
                  </a:cxn>
                </a:cxnLst>
                <a:rect l="l" t="t" r="r" b="b"/>
                <a:pathLst>
                  <a:path w="361391" h="1049945">
                    <a:moveTo>
                      <a:pt x="104626" y="971699"/>
                    </a:moveTo>
                    <a:cubicBezTo>
                      <a:pt x="104440" y="962620"/>
                      <a:pt x="104291" y="953505"/>
                      <a:pt x="104291" y="944352"/>
                    </a:cubicBezTo>
                    <a:cubicBezTo>
                      <a:pt x="104291" y="699753"/>
                      <a:pt x="215838" y="354099"/>
                      <a:pt x="361392" y="0"/>
                    </a:cubicBezTo>
                    <a:lnTo>
                      <a:pt x="0" y="0"/>
                    </a:lnTo>
                    <a:lnTo>
                      <a:pt x="0" y="1049945"/>
                    </a:lnTo>
                    <a:cubicBezTo>
                      <a:pt x="35868" y="1025575"/>
                      <a:pt x="70731" y="999455"/>
                      <a:pt x="104626" y="971699"/>
                    </a:cubicBezTo>
                    <a:close/>
                  </a:path>
                </a:pathLst>
              </a:custGeom>
              <a:grpFill/>
              <a:ln w="9525" cap="flat">
                <a:noFill/>
                <a:prstDash val="solid"/>
                <a:miter/>
              </a:ln>
            </p:spPr>
            <p:txBody>
              <a:bodyPr/>
              <a:lstStyle/>
              <a:p>
                <a:endParaRPr lang="en-US"/>
              </a:p>
            </p:txBody>
          </p:sp>
          <p:sp>
            <p:nvSpPr>
              <p:cNvPr id="79" name="Freeform: Shape 78">
                <a:extLst>
                  <a:ext uri="{FF2B5EF4-FFF2-40B4-BE49-F238E27FC236}">
                    <a16:creationId xmlns:a16="http://schemas.microsoft.com/office/drawing/2014/main" id="{37A8337D-5AED-6100-3E1D-F2FF696762EC}"/>
                  </a:ext>
                </a:extLst>
              </p:cNvPr>
              <p:cNvSpPr/>
              <p:nvPr/>
            </p:nvSpPr>
            <p:spPr>
              <a:xfrm>
                <a:off x="3657600" y="2499977"/>
                <a:ext cx="819484" cy="929915"/>
              </a:xfrm>
              <a:custGeom>
                <a:avLst/>
                <a:gdLst>
                  <a:gd name="csX0" fmla="*/ 782129 w 819484"/>
                  <a:gd name="csY0" fmla="*/ 444475 h 929915"/>
                  <a:gd name="csX1" fmla="*/ 813383 w 819484"/>
                  <a:gd name="csY1" fmla="*/ 0 h 929915"/>
                  <a:gd name="csX2" fmla="*/ 53839 w 819484"/>
                  <a:gd name="csY2" fmla="*/ 0 h 929915"/>
                  <a:gd name="csX3" fmla="*/ 0 w 819484"/>
                  <a:gd name="csY3" fmla="*/ 463674 h 929915"/>
                  <a:gd name="csX4" fmla="*/ 54471 w 819484"/>
                  <a:gd name="csY4" fmla="*/ 929915 h 929915"/>
                  <a:gd name="csX5" fmla="*/ 819485 w 819484"/>
                  <a:gd name="csY5" fmla="*/ 929915 h 929915"/>
                  <a:gd name="csX6" fmla="*/ 782129 w 819484"/>
                  <a:gd name="csY6" fmla="*/ 444475 h 92991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819484" h="929915">
                    <a:moveTo>
                      <a:pt x="782129" y="444475"/>
                    </a:moveTo>
                    <a:cubicBezTo>
                      <a:pt x="782129" y="293712"/>
                      <a:pt x="792696" y="145033"/>
                      <a:pt x="813383" y="0"/>
                    </a:cubicBezTo>
                    <a:lnTo>
                      <a:pt x="53839" y="0"/>
                    </a:lnTo>
                    <a:cubicBezTo>
                      <a:pt x="18678" y="148940"/>
                      <a:pt x="0" y="304167"/>
                      <a:pt x="0" y="463674"/>
                    </a:cubicBezTo>
                    <a:cubicBezTo>
                      <a:pt x="0" y="624111"/>
                      <a:pt x="18901" y="780194"/>
                      <a:pt x="54471" y="929915"/>
                    </a:cubicBezTo>
                    <a:lnTo>
                      <a:pt x="819485" y="929915"/>
                    </a:lnTo>
                    <a:cubicBezTo>
                      <a:pt x="794779" y="771972"/>
                      <a:pt x="782129" y="609414"/>
                      <a:pt x="782129" y="444475"/>
                    </a:cubicBezTo>
                    <a:close/>
                  </a:path>
                </a:pathLst>
              </a:custGeom>
              <a:grpFill/>
              <a:ln w="9525" cap="flat">
                <a:noFill/>
                <a:prstDash val="solid"/>
                <a:miter/>
              </a:ln>
            </p:spPr>
            <p:txBody>
              <a:bodyPr/>
              <a:lstStyle/>
              <a:p>
                <a:endParaRPr lang="en-US"/>
              </a:p>
            </p:txBody>
          </p:sp>
          <p:sp>
            <p:nvSpPr>
              <p:cNvPr id="80" name="Freeform: Shape 79">
                <a:extLst>
                  <a:ext uri="{FF2B5EF4-FFF2-40B4-BE49-F238E27FC236}">
                    <a16:creationId xmlns:a16="http://schemas.microsoft.com/office/drawing/2014/main" id="{9FEB3A95-AC1F-01AB-671B-B32A5E4E0CDD}"/>
                  </a:ext>
                </a:extLst>
              </p:cNvPr>
              <p:cNvSpPr/>
              <p:nvPr/>
            </p:nvSpPr>
            <p:spPr>
              <a:xfrm>
                <a:off x="5824835" y="2499977"/>
                <a:ext cx="808508" cy="929915"/>
              </a:xfrm>
              <a:custGeom>
                <a:avLst/>
                <a:gdLst>
                  <a:gd name="csX0" fmla="*/ 0 w 808508"/>
                  <a:gd name="csY0" fmla="*/ 929915 h 929915"/>
                  <a:gd name="csX1" fmla="*/ 484622 w 808508"/>
                  <a:gd name="csY1" fmla="*/ 929915 h 929915"/>
                  <a:gd name="csX2" fmla="*/ 654881 w 808508"/>
                  <a:gd name="csY2" fmla="*/ 564914 h 929915"/>
                  <a:gd name="csX3" fmla="*/ 808509 w 808508"/>
                  <a:gd name="csY3" fmla="*/ 252226 h 929915"/>
                  <a:gd name="csX4" fmla="*/ 780455 w 808508"/>
                  <a:gd name="csY4" fmla="*/ 0 h 929915"/>
                  <a:gd name="csX5" fmla="*/ 0 w 808508"/>
                  <a:gd name="csY5" fmla="*/ 0 h 929915"/>
                </a:gdLst>
                <a:ahLst/>
                <a:cxnLst>
                  <a:cxn ang="0">
                    <a:pos x="csX0" y="csY0"/>
                  </a:cxn>
                  <a:cxn ang="0">
                    <a:pos x="csX1" y="csY1"/>
                  </a:cxn>
                  <a:cxn ang="0">
                    <a:pos x="csX2" y="csY2"/>
                  </a:cxn>
                  <a:cxn ang="0">
                    <a:pos x="csX3" y="csY3"/>
                  </a:cxn>
                  <a:cxn ang="0">
                    <a:pos x="csX4" y="csY4"/>
                  </a:cxn>
                  <a:cxn ang="0">
                    <a:pos x="csX5" y="csY5"/>
                  </a:cxn>
                </a:cxnLst>
                <a:rect l="l" t="t" r="r" b="b"/>
                <a:pathLst>
                  <a:path w="808508" h="929915">
                    <a:moveTo>
                      <a:pt x="0" y="929915"/>
                    </a:moveTo>
                    <a:lnTo>
                      <a:pt x="484622" y="929915"/>
                    </a:lnTo>
                    <a:cubicBezTo>
                      <a:pt x="540879" y="804788"/>
                      <a:pt x="598773" y="681744"/>
                      <a:pt x="654881" y="564914"/>
                    </a:cubicBezTo>
                    <a:cubicBezTo>
                      <a:pt x="706896" y="456493"/>
                      <a:pt x="758800" y="351272"/>
                      <a:pt x="808509" y="252226"/>
                    </a:cubicBezTo>
                    <a:cubicBezTo>
                      <a:pt x="802853" y="166874"/>
                      <a:pt x="793477" y="82674"/>
                      <a:pt x="780455" y="0"/>
                    </a:cubicBezTo>
                    <a:lnTo>
                      <a:pt x="0" y="0"/>
                    </a:lnTo>
                    <a:close/>
                  </a:path>
                </a:pathLst>
              </a:custGeom>
              <a:grpFill/>
              <a:ln w="9525" cap="flat">
                <a:noFill/>
                <a:prstDash val="solid"/>
                <a:miter/>
              </a:ln>
            </p:spPr>
            <p:txBody>
              <a:bodyPr/>
              <a:lstStyle/>
              <a:p>
                <a:endParaRPr lang="en-US"/>
              </a:p>
            </p:txBody>
          </p:sp>
        </p:grpSp>
      </p:grpSp>
      <p:grpSp>
        <p:nvGrpSpPr>
          <p:cNvPr id="124" name="Group 123">
            <a:extLst>
              <a:ext uri="{FF2B5EF4-FFF2-40B4-BE49-F238E27FC236}">
                <a16:creationId xmlns:a16="http://schemas.microsoft.com/office/drawing/2014/main" id="{F7AA43DD-EB8B-1B3D-82FF-B6270361CDB3}"/>
              </a:ext>
            </a:extLst>
          </p:cNvPr>
          <p:cNvGrpSpPr/>
          <p:nvPr/>
        </p:nvGrpSpPr>
        <p:grpSpPr>
          <a:xfrm>
            <a:off x="372424" y="2568721"/>
            <a:ext cx="354334" cy="354334"/>
            <a:chOff x="372424" y="2568721"/>
            <a:chExt cx="354334" cy="354334"/>
          </a:xfrm>
        </p:grpSpPr>
        <p:sp>
          <p:nvSpPr>
            <p:cNvPr id="46" name="Oval 45">
              <a:extLst>
                <a:ext uri="{FF2B5EF4-FFF2-40B4-BE49-F238E27FC236}">
                  <a16:creationId xmlns:a16="http://schemas.microsoft.com/office/drawing/2014/main" id="{9F886952-70BD-5125-D80A-400653767039}"/>
                </a:ext>
              </a:extLst>
            </p:cNvPr>
            <p:cNvSpPr/>
            <p:nvPr/>
          </p:nvSpPr>
          <p:spPr>
            <a:xfrm>
              <a:off x="372424" y="2568721"/>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5" name="Graphic 83">
              <a:extLst>
                <a:ext uri="{FF2B5EF4-FFF2-40B4-BE49-F238E27FC236}">
                  <a16:creationId xmlns:a16="http://schemas.microsoft.com/office/drawing/2014/main" id="{A798DF0E-DF60-3CDD-B209-F2165AFA1587}"/>
                </a:ext>
              </a:extLst>
            </p:cNvPr>
            <p:cNvGrpSpPr/>
            <p:nvPr/>
          </p:nvGrpSpPr>
          <p:grpSpPr>
            <a:xfrm>
              <a:off x="443845" y="2627416"/>
              <a:ext cx="211492" cy="236945"/>
              <a:chOff x="4255221" y="1376105"/>
              <a:chExt cx="3679847" cy="4122724"/>
            </a:xfrm>
            <a:solidFill>
              <a:srgbClr val="2B660F"/>
            </a:solidFill>
          </p:grpSpPr>
          <p:sp>
            <p:nvSpPr>
              <p:cNvPr id="107" name="Freeform: Shape 106">
                <a:extLst>
                  <a:ext uri="{FF2B5EF4-FFF2-40B4-BE49-F238E27FC236}">
                    <a16:creationId xmlns:a16="http://schemas.microsoft.com/office/drawing/2014/main" id="{F892BA99-60B3-FE06-A986-3FA2FE599604}"/>
                  </a:ext>
                </a:extLst>
              </p:cNvPr>
              <p:cNvSpPr/>
              <p:nvPr/>
            </p:nvSpPr>
            <p:spPr>
              <a:xfrm>
                <a:off x="5433382" y="2455544"/>
                <a:ext cx="1313573" cy="1918757"/>
              </a:xfrm>
              <a:custGeom>
                <a:avLst/>
                <a:gdLst>
                  <a:gd name="csX0" fmla="*/ 563557 w 1313573"/>
                  <a:gd name="csY0" fmla="*/ 1910715 h 1918757"/>
                  <a:gd name="csX1" fmla="*/ 1188397 w 1313573"/>
                  <a:gd name="csY1" fmla="*/ 1651635 h 1918757"/>
                  <a:gd name="csX2" fmla="*/ 1241737 w 1313573"/>
                  <a:gd name="csY2" fmla="*/ 965835 h 1918757"/>
                  <a:gd name="csX3" fmla="*/ 1135057 w 1313573"/>
                  <a:gd name="csY3" fmla="*/ 760095 h 1918757"/>
                  <a:gd name="csX4" fmla="*/ 792157 w 1313573"/>
                  <a:gd name="csY4" fmla="*/ 74295 h 1918757"/>
                  <a:gd name="csX5" fmla="*/ 525457 w 1313573"/>
                  <a:gd name="csY5" fmla="*/ 74295 h 1918757"/>
                  <a:gd name="csX6" fmla="*/ 228277 w 1313573"/>
                  <a:gd name="csY6" fmla="*/ 661035 h 1918757"/>
                  <a:gd name="csX7" fmla="*/ 83497 w 1313573"/>
                  <a:gd name="csY7" fmla="*/ 942975 h 1918757"/>
                  <a:gd name="csX8" fmla="*/ 37777 w 1313573"/>
                  <a:gd name="csY8" fmla="*/ 1476375 h 1918757"/>
                  <a:gd name="csX9" fmla="*/ 563557 w 1313573"/>
                  <a:gd name="csY9" fmla="*/ 1910715 h 191875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313573" h="1918757">
                    <a:moveTo>
                      <a:pt x="563557" y="1910715"/>
                    </a:moveTo>
                    <a:cubicBezTo>
                      <a:pt x="807397" y="1948815"/>
                      <a:pt x="1043617" y="1849755"/>
                      <a:pt x="1188397" y="1651635"/>
                    </a:cubicBezTo>
                    <a:cubicBezTo>
                      <a:pt x="1340797" y="1453515"/>
                      <a:pt x="1348417" y="1186815"/>
                      <a:pt x="1241737" y="965835"/>
                    </a:cubicBezTo>
                    <a:cubicBezTo>
                      <a:pt x="1211257" y="897255"/>
                      <a:pt x="1173157" y="828675"/>
                      <a:pt x="1135057" y="760095"/>
                    </a:cubicBezTo>
                    <a:cubicBezTo>
                      <a:pt x="1020757" y="531495"/>
                      <a:pt x="906457" y="302895"/>
                      <a:pt x="792157" y="74295"/>
                    </a:cubicBezTo>
                    <a:cubicBezTo>
                      <a:pt x="746437" y="-24765"/>
                      <a:pt x="578797" y="-24765"/>
                      <a:pt x="525457" y="74295"/>
                    </a:cubicBezTo>
                    <a:cubicBezTo>
                      <a:pt x="426397" y="272415"/>
                      <a:pt x="327337" y="470535"/>
                      <a:pt x="228277" y="661035"/>
                    </a:cubicBezTo>
                    <a:cubicBezTo>
                      <a:pt x="182557" y="752475"/>
                      <a:pt x="129217" y="851535"/>
                      <a:pt x="83497" y="942975"/>
                    </a:cubicBezTo>
                    <a:cubicBezTo>
                      <a:pt x="-323" y="1110615"/>
                      <a:pt x="-30803" y="1301115"/>
                      <a:pt x="37777" y="1476375"/>
                    </a:cubicBezTo>
                    <a:cubicBezTo>
                      <a:pt x="129217" y="1704975"/>
                      <a:pt x="327337" y="1872615"/>
                      <a:pt x="563557" y="1910715"/>
                    </a:cubicBezTo>
                    <a:close/>
                  </a:path>
                </a:pathLst>
              </a:custGeom>
              <a:grpFill/>
              <a:ln w="76200" cap="flat">
                <a:noFill/>
                <a:prstDash val="solid"/>
                <a:miter/>
              </a:ln>
            </p:spPr>
            <p:txBody>
              <a:bodyPr/>
              <a:lstStyle/>
              <a:p>
                <a:endParaRPr lang="en-US"/>
              </a:p>
            </p:txBody>
          </p:sp>
          <p:sp>
            <p:nvSpPr>
              <p:cNvPr id="108" name="Freeform: Shape 107">
                <a:extLst>
                  <a:ext uri="{FF2B5EF4-FFF2-40B4-BE49-F238E27FC236}">
                    <a16:creationId xmlns:a16="http://schemas.microsoft.com/office/drawing/2014/main" id="{EF3C03BD-18A8-7C26-9824-D2E8EF4891B3}"/>
                  </a:ext>
                </a:extLst>
              </p:cNvPr>
              <p:cNvSpPr/>
              <p:nvPr/>
            </p:nvSpPr>
            <p:spPr>
              <a:xfrm>
                <a:off x="5115241" y="1376105"/>
                <a:ext cx="2819827" cy="3157108"/>
              </a:xfrm>
              <a:custGeom>
                <a:avLst/>
                <a:gdLst>
                  <a:gd name="csX0" fmla="*/ 2672399 w 2819827"/>
                  <a:gd name="csY0" fmla="*/ 1321374 h 3157108"/>
                  <a:gd name="csX1" fmla="*/ 1354139 w 2819827"/>
                  <a:gd name="csY1" fmla="*/ 239334 h 3157108"/>
                  <a:gd name="csX2" fmla="*/ 592139 w 2819827"/>
                  <a:gd name="csY2" fmla="*/ 239334 h 3157108"/>
                  <a:gd name="csX3" fmla="*/ 599759 w 2819827"/>
                  <a:gd name="csY3" fmla="*/ 224094 h 3157108"/>
                  <a:gd name="csX4" fmla="*/ 546419 w 2819827"/>
                  <a:gd name="csY4" fmla="*/ 18354 h 3157108"/>
                  <a:gd name="csX5" fmla="*/ 340679 w 2819827"/>
                  <a:gd name="csY5" fmla="*/ 71694 h 3157108"/>
                  <a:gd name="csX6" fmla="*/ 58739 w 2819827"/>
                  <a:gd name="csY6" fmla="*/ 475554 h 3157108"/>
                  <a:gd name="csX7" fmla="*/ 20639 w 2819827"/>
                  <a:gd name="csY7" fmla="*/ 688914 h 3157108"/>
                  <a:gd name="csX8" fmla="*/ 150179 w 2819827"/>
                  <a:gd name="csY8" fmla="*/ 765114 h 3157108"/>
                  <a:gd name="csX9" fmla="*/ 706439 w 2819827"/>
                  <a:gd name="csY9" fmla="*/ 810834 h 3157108"/>
                  <a:gd name="csX10" fmla="*/ 858839 w 2819827"/>
                  <a:gd name="csY10" fmla="*/ 658434 h 3157108"/>
                  <a:gd name="csX11" fmla="*/ 767399 w 2819827"/>
                  <a:gd name="csY11" fmla="*/ 521274 h 3157108"/>
                  <a:gd name="csX12" fmla="*/ 1849439 w 2819827"/>
                  <a:gd name="csY12" fmla="*/ 772734 h 3157108"/>
                  <a:gd name="csX13" fmla="*/ 2512379 w 2819827"/>
                  <a:gd name="csY13" fmla="*/ 2106234 h 3157108"/>
                  <a:gd name="csX14" fmla="*/ 2222819 w 2819827"/>
                  <a:gd name="csY14" fmla="*/ 2936814 h 3157108"/>
                  <a:gd name="csX15" fmla="*/ 2489519 w 2819827"/>
                  <a:gd name="csY15" fmla="*/ 3089214 h 3157108"/>
                  <a:gd name="csX16" fmla="*/ 2672399 w 2819827"/>
                  <a:gd name="csY16" fmla="*/ 1321374 h 31571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819827" h="3157108">
                    <a:moveTo>
                      <a:pt x="2672399" y="1321374"/>
                    </a:moveTo>
                    <a:cubicBezTo>
                      <a:pt x="2436179" y="772734"/>
                      <a:pt x="1940879" y="361254"/>
                      <a:pt x="1354139" y="239334"/>
                    </a:cubicBezTo>
                    <a:cubicBezTo>
                      <a:pt x="1102679" y="185994"/>
                      <a:pt x="843599" y="185994"/>
                      <a:pt x="592139" y="239334"/>
                    </a:cubicBezTo>
                    <a:cubicBezTo>
                      <a:pt x="592139" y="231714"/>
                      <a:pt x="599759" y="231714"/>
                      <a:pt x="599759" y="224094"/>
                    </a:cubicBezTo>
                    <a:cubicBezTo>
                      <a:pt x="645479" y="155514"/>
                      <a:pt x="614999" y="48834"/>
                      <a:pt x="546419" y="18354"/>
                    </a:cubicBezTo>
                    <a:cubicBezTo>
                      <a:pt x="470219" y="-19746"/>
                      <a:pt x="386399" y="3114"/>
                      <a:pt x="340679" y="71694"/>
                    </a:cubicBezTo>
                    <a:cubicBezTo>
                      <a:pt x="249239" y="208854"/>
                      <a:pt x="157799" y="338394"/>
                      <a:pt x="58739" y="475554"/>
                    </a:cubicBezTo>
                    <a:cubicBezTo>
                      <a:pt x="13019" y="544134"/>
                      <a:pt x="-25081" y="605094"/>
                      <a:pt x="20639" y="688914"/>
                    </a:cubicBezTo>
                    <a:cubicBezTo>
                      <a:pt x="51119" y="734634"/>
                      <a:pt x="96839" y="757494"/>
                      <a:pt x="150179" y="765114"/>
                    </a:cubicBezTo>
                    <a:cubicBezTo>
                      <a:pt x="333059" y="780354"/>
                      <a:pt x="523559" y="795594"/>
                      <a:pt x="706439" y="810834"/>
                    </a:cubicBezTo>
                    <a:cubicBezTo>
                      <a:pt x="782639" y="818454"/>
                      <a:pt x="858839" y="734634"/>
                      <a:pt x="858839" y="658434"/>
                    </a:cubicBezTo>
                    <a:cubicBezTo>
                      <a:pt x="858839" y="597474"/>
                      <a:pt x="820739" y="544134"/>
                      <a:pt x="767399" y="521274"/>
                    </a:cubicBezTo>
                    <a:cubicBezTo>
                      <a:pt x="1140779" y="467934"/>
                      <a:pt x="1529399" y="559374"/>
                      <a:pt x="1849439" y="772734"/>
                    </a:cubicBezTo>
                    <a:cubicBezTo>
                      <a:pt x="2283779" y="1069914"/>
                      <a:pt x="2535239" y="1588074"/>
                      <a:pt x="2512379" y="2106234"/>
                    </a:cubicBezTo>
                    <a:cubicBezTo>
                      <a:pt x="2497139" y="2411034"/>
                      <a:pt x="2390459" y="2692974"/>
                      <a:pt x="2222819" y="2936814"/>
                    </a:cubicBezTo>
                    <a:cubicBezTo>
                      <a:pt x="2108519" y="3096834"/>
                      <a:pt x="2375219" y="3249234"/>
                      <a:pt x="2489519" y="3089214"/>
                    </a:cubicBezTo>
                    <a:cubicBezTo>
                      <a:pt x="2847659" y="2578674"/>
                      <a:pt x="2923859" y="1900494"/>
                      <a:pt x="2672399" y="1321374"/>
                    </a:cubicBezTo>
                    <a:close/>
                  </a:path>
                </a:pathLst>
              </a:custGeom>
              <a:grpFill/>
              <a:ln w="76200" cap="flat">
                <a:noFill/>
                <a:prstDash val="solid"/>
                <a:miter/>
              </a:ln>
            </p:spPr>
            <p:txBody>
              <a:bodyPr/>
              <a:lstStyle/>
              <a:p>
                <a:endParaRPr lang="en-US"/>
              </a:p>
            </p:txBody>
          </p:sp>
          <p:sp>
            <p:nvSpPr>
              <p:cNvPr id="110" name="Freeform: Shape 109">
                <a:extLst>
                  <a:ext uri="{FF2B5EF4-FFF2-40B4-BE49-F238E27FC236}">
                    <a16:creationId xmlns:a16="http://schemas.microsoft.com/office/drawing/2014/main" id="{5B3AC6D8-7008-51B0-E343-51D8F1D584CF}"/>
                  </a:ext>
                </a:extLst>
              </p:cNvPr>
              <p:cNvSpPr/>
              <p:nvPr/>
            </p:nvSpPr>
            <p:spPr>
              <a:xfrm>
                <a:off x="4255221" y="2301925"/>
                <a:ext cx="2833384" cy="3196904"/>
              </a:xfrm>
              <a:custGeom>
                <a:avLst/>
                <a:gdLst>
                  <a:gd name="csX0" fmla="*/ 2724699 w 2833384"/>
                  <a:gd name="csY0" fmla="*/ 2483434 h 3196904"/>
                  <a:gd name="csX1" fmla="*/ 2183679 w 2833384"/>
                  <a:gd name="csY1" fmla="*/ 2353894 h 3196904"/>
                  <a:gd name="csX2" fmla="*/ 1993179 w 2833384"/>
                  <a:gd name="csY2" fmla="*/ 2460574 h 3196904"/>
                  <a:gd name="csX3" fmla="*/ 2069379 w 2833384"/>
                  <a:gd name="csY3" fmla="*/ 2635834 h 3196904"/>
                  <a:gd name="csX4" fmla="*/ 972099 w 2833384"/>
                  <a:gd name="csY4" fmla="*/ 2384374 h 3196904"/>
                  <a:gd name="csX5" fmla="*/ 309159 w 2833384"/>
                  <a:gd name="csY5" fmla="*/ 1050874 h 3196904"/>
                  <a:gd name="csX6" fmla="*/ 598719 w 2833384"/>
                  <a:gd name="csY6" fmla="*/ 220294 h 3196904"/>
                  <a:gd name="csX7" fmla="*/ 332019 w 2833384"/>
                  <a:gd name="csY7" fmla="*/ 67894 h 3196904"/>
                  <a:gd name="csX8" fmla="*/ 141519 w 2833384"/>
                  <a:gd name="csY8" fmla="*/ 1843354 h 3196904"/>
                  <a:gd name="csX9" fmla="*/ 1459779 w 2833384"/>
                  <a:gd name="csY9" fmla="*/ 2925394 h 3196904"/>
                  <a:gd name="csX10" fmla="*/ 2191299 w 2833384"/>
                  <a:gd name="csY10" fmla="*/ 2933014 h 3196904"/>
                  <a:gd name="csX11" fmla="*/ 2183679 w 2833384"/>
                  <a:gd name="csY11" fmla="*/ 2940634 h 3196904"/>
                  <a:gd name="csX12" fmla="*/ 2183679 w 2833384"/>
                  <a:gd name="csY12" fmla="*/ 3153994 h 3196904"/>
                  <a:gd name="csX13" fmla="*/ 2397039 w 2833384"/>
                  <a:gd name="csY13" fmla="*/ 3153994 h 3196904"/>
                  <a:gd name="csX14" fmla="*/ 2785659 w 2833384"/>
                  <a:gd name="csY14" fmla="*/ 2750134 h 3196904"/>
                  <a:gd name="csX15" fmla="*/ 2724699 w 2833384"/>
                  <a:gd name="csY15" fmla="*/ 2483434 h 319690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833384" h="3196904">
                    <a:moveTo>
                      <a:pt x="2724699" y="2483434"/>
                    </a:moveTo>
                    <a:cubicBezTo>
                      <a:pt x="2541819" y="2437714"/>
                      <a:pt x="2366559" y="2391994"/>
                      <a:pt x="2183679" y="2353894"/>
                    </a:cubicBezTo>
                    <a:cubicBezTo>
                      <a:pt x="2107479" y="2338654"/>
                      <a:pt x="2016039" y="2376754"/>
                      <a:pt x="1993179" y="2460574"/>
                    </a:cubicBezTo>
                    <a:cubicBezTo>
                      <a:pt x="1977939" y="2529154"/>
                      <a:pt x="2008419" y="2597734"/>
                      <a:pt x="2069379" y="2635834"/>
                    </a:cubicBezTo>
                    <a:cubicBezTo>
                      <a:pt x="1688379" y="2689174"/>
                      <a:pt x="1299759" y="2605354"/>
                      <a:pt x="972099" y="2384374"/>
                    </a:cubicBezTo>
                    <a:cubicBezTo>
                      <a:pt x="537759" y="2087194"/>
                      <a:pt x="286299" y="1569034"/>
                      <a:pt x="309159" y="1050874"/>
                    </a:cubicBezTo>
                    <a:cubicBezTo>
                      <a:pt x="324399" y="746074"/>
                      <a:pt x="431079" y="464134"/>
                      <a:pt x="598719" y="220294"/>
                    </a:cubicBezTo>
                    <a:cubicBezTo>
                      <a:pt x="713019" y="60274"/>
                      <a:pt x="446319" y="-92126"/>
                      <a:pt x="332019" y="67894"/>
                    </a:cubicBezTo>
                    <a:cubicBezTo>
                      <a:pt x="-26121" y="586054"/>
                      <a:pt x="-102321" y="1264234"/>
                      <a:pt x="141519" y="1843354"/>
                    </a:cubicBezTo>
                    <a:cubicBezTo>
                      <a:pt x="377739" y="2391994"/>
                      <a:pt x="873039" y="2803474"/>
                      <a:pt x="1459779" y="2925394"/>
                    </a:cubicBezTo>
                    <a:cubicBezTo>
                      <a:pt x="1703619" y="2971114"/>
                      <a:pt x="1947459" y="2978734"/>
                      <a:pt x="2191299" y="2933014"/>
                    </a:cubicBezTo>
                    <a:cubicBezTo>
                      <a:pt x="2191299" y="2933014"/>
                      <a:pt x="2191299" y="2940634"/>
                      <a:pt x="2183679" y="2940634"/>
                    </a:cubicBezTo>
                    <a:cubicBezTo>
                      <a:pt x="2130339" y="3001594"/>
                      <a:pt x="2122719" y="3100654"/>
                      <a:pt x="2183679" y="3153994"/>
                    </a:cubicBezTo>
                    <a:cubicBezTo>
                      <a:pt x="2244639" y="3207334"/>
                      <a:pt x="2343699" y="3214954"/>
                      <a:pt x="2397039" y="3153994"/>
                    </a:cubicBezTo>
                    <a:cubicBezTo>
                      <a:pt x="2526579" y="3016834"/>
                      <a:pt x="2656119" y="2887294"/>
                      <a:pt x="2785659" y="2750134"/>
                    </a:cubicBezTo>
                    <a:cubicBezTo>
                      <a:pt x="2869479" y="2658694"/>
                      <a:pt x="2838999" y="2506294"/>
                      <a:pt x="2724699" y="2483434"/>
                    </a:cubicBezTo>
                    <a:close/>
                  </a:path>
                </a:pathLst>
              </a:custGeom>
              <a:grpFill/>
              <a:ln w="76200" cap="flat">
                <a:noFill/>
                <a:prstDash val="solid"/>
                <a:miter/>
              </a:ln>
            </p:spPr>
            <p:txBody>
              <a:bodyPr/>
              <a:lstStyle/>
              <a:p>
                <a:endParaRPr lang="en-US"/>
              </a:p>
            </p:txBody>
          </p:sp>
        </p:grpSp>
      </p:grpSp>
      <p:grpSp>
        <p:nvGrpSpPr>
          <p:cNvPr id="159" name="Group 158">
            <a:extLst>
              <a:ext uri="{FF2B5EF4-FFF2-40B4-BE49-F238E27FC236}">
                <a16:creationId xmlns:a16="http://schemas.microsoft.com/office/drawing/2014/main" id="{B800067E-D07E-8ADC-C880-BBC40537D7EE}"/>
              </a:ext>
            </a:extLst>
          </p:cNvPr>
          <p:cNvGrpSpPr/>
          <p:nvPr/>
        </p:nvGrpSpPr>
        <p:grpSpPr>
          <a:xfrm>
            <a:off x="372424" y="3692671"/>
            <a:ext cx="354334" cy="354334"/>
            <a:chOff x="372424" y="3692671"/>
            <a:chExt cx="354334" cy="354334"/>
          </a:xfrm>
        </p:grpSpPr>
        <p:sp>
          <p:nvSpPr>
            <p:cNvPr id="49" name="Oval 48">
              <a:extLst>
                <a:ext uri="{FF2B5EF4-FFF2-40B4-BE49-F238E27FC236}">
                  <a16:creationId xmlns:a16="http://schemas.microsoft.com/office/drawing/2014/main" id="{9B0D3340-4B2A-3BCE-26C2-DC90EBF6E252}"/>
                </a:ext>
              </a:extLst>
            </p:cNvPr>
            <p:cNvSpPr/>
            <p:nvPr/>
          </p:nvSpPr>
          <p:spPr>
            <a:xfrm>
              <a:off x="372424" y="3692671"/>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8" name="Graphic 144">
              <a:extLst>
                <a:ext uri="{FF2B5EF4-FFF2-40B4-BE49-F238E27FC236}">
                  <a16:creationId xmlns:a16="http://schemas.microsoft.com/office/drawing/2014/main" id="{ECF87D30-2E40-B7DD-80E6-C34BA23812B6}"/>
                </a:ext>
              </a:extLst>
            </p:cNvPr>
            <p:cNvGrpSpPr/>
            <p:nvPr/>
          </p:nvGrpSpPr>
          <p:grpSpPr>
            <a:xfrm>
              <a:off x="453770" y="3773767"/>
              <a:ext cx="191643" cy="192143"/>
              <a:chOff x="3761232" y="1088136"/>
              <a:chExt cx="4669536" cy="4681728"/>
            </a:xfrm>
            <a:solidFill>
              <a:srgbClr val="2B660F"/>
            </a:solidFill>
          </p:grpSpPr>
          <p:grpSp>
            <p:nvGrpSpPr>
              <p:cNvPr id="149" name="Graphic 144">
                <a:extLst>
                  <a:ext uri="{FF2B5EF4-FFF2-40B4-BE49-F238E27FC236}">
                    <a16:creationId xmlns:a16="http://schemas.microsoft.com/office/drawing/2014/main" id="{C407DFDC-B521-89D3-DF36-12CAD9784E9D}"/>
                  </a:ext>
                </a:extLst>
              </p:cNvPr>
              <p:cNvGrpSpPr/>
              <p:nvPr/>
            </p:nvGrpSpPr>
            <p:grpSpPr>
              <a:xfrm>
                <a:off x="3761232" y="2537684"/>
                <a:ext cx="2178710" cy="3232179"/>
                <a:chOff x="3761232" y="2537684"/>
                <a:chExt cx="2178710" cy="3232179"/>
              </a:xfrm>
              <a:grpFill/>
            </p:grpSpPr>
            <p:sp>
              <p:nvSpPr>
                <p:cNvPr id="151" name="Freeform: Shape 150">
                  <a:extLst>
                    <a:ext uri="{FF2B5EF4-FFF2-40B4-BE49-F238E27FC236}">
                      <a16:creationId xmlns:a16="http://schemas.microsoft.com/office/drawing/2014/main" id="{20222CD7-4EC5-3490-9FAC-2CA971CF81FD}"/>
                    </a:ext>
                  </a:extLst>
                </p:cNvPr>
                <p:cNvSpPr/>
                <p:nvPr/>
              </p:nvSpPr>
              <p:spPr>
                <a:xfrm>
                  <a:off x="3761232" y="2537684"/>
                  <a:ext cx="1905609" cy="2412876"/>
                </a:xfrm>
                <a:custGeom>
                  <a:avLst/>
                  <a:gdLst>
                    <a:gd name="csX0" fmla="*/ 1905610 w 1905609"/>
                    <a:gd name="csY0" fmla="*/ 2412877 h 2412876"/>
                    <a:gd name="csX1" fmla="*/ 1193597 w 1905609"/>
                    <a:gd name="csY1" fmla="*/ 2412877 h 2412876"/>
                    <a:gd name="csX2" fmla="*/ 969264 w 1905609"/>
                    <a:gd name="csY2" fmla="*/ 2198298 h 2412876"/>
                    <a:gd name="csX3" fmla="*/ 569366 w 1905609"/>
                    <a:gd name="csY3" fmla="*/ 1964211 h 2412876"/>
                    <a:gd name="csX4" fmla="*/ 345034 w 1905609"/>
                    <a:gd name="csY4" fmla="*/ 1691111 h 2412876"/>
                    <a:gd name="csX5" fmla="*/ 3658 w 1905609"/>
                    <a:gd name="csY5" fmla="*/ 218317 h 2412876"/>
                    <a:gd name="csX6" fmla="*/ 32918 w 1905609"/>
                    <a:gd name="csY6" fmla="*/ 72013 h 2412876"/>
                    <a:gd name="csX7" fmla="*/ 140208 w 1905609"/>
                    <a:gd name="csY7" fmla="*/ 3738 h 2412876"/>
                    <a:gd name="csX8" fmla="*/ 364541 w 1905609"/>
                    <a:gd name="csY8" fmla="*/ 140288 h 2412876"/>
                    <a:gd name="csX9" fmla="*/ 715670 w 1905609"/>
                    <a:gd name="csY9" fmla="*/ 1076634 h 2412876"/>
                    <a:gd name="csX10" fmla="*/ 530352 w 1905609"/>
                    <a:gd name="csY10" fmla="*/ 1213184 h 2412876"/>
                    <a:gd name="csX11" fmla="*/ 618134 w 1905609"/>
                    <a:gd name="csY11" fmla="*/ 1535053 h 2412876"/>
                    <a:gd name="csX12" fmla="*/ 647395 w 1905609"/>
                    <a:gd name="csY12" fmla="*/ 1554560 h 2412876"/>
                    <a:gd name="csX13" fmla="*/ 1047293 w 1905609"/>
                    <a:gd name="csY13" fmla="*/ 1759386 h 2412876"/>
                    <a:gd name="csX14" fmla="*/ 1076554 w 1905609"/>
                    <a:gd name="csY14" fmla="*/ 1769139 h 2412876"/>
                    <a:gd name="csX15" fmla="*/ 1144829 w 1905609"/>
                    <a:gd name="csY15" fmla="*/ 1730125 h 2412876"/>
                    <a:gd name="csX16" fmla="*/ 1115568 w 1905609"/>
                    <a:gd name="csY16" fmla="*/ 1632589 h 2412876"/>
                    <a:gd name="csX17" fmla="*/ 715670 w 1905609"/>
                    <a:gd name="csY17" fmla="*/ 1427763 h 2412876"/>
                    <a:gd name="csX18" fmla="*/ 696163 w 1905609"/>
                    <a:gd name="csY18" fmla="*/ 1418010 h 2412876"/>
                    <a:gd name="csX19" fmla="*/ 657149 w 1905609"/>
                    <a:gd name="csY19" fmla="*/ 1291213 h 2412876"/>
                    <a:gd name="csX20" fmla="*/ 774192 w 1905609"/>
                    <a:gd name="csY20" fmla="*/ 1222938 h 2412876"/>
                    <a:gd name="csX21" fmla="*/ 1505712 w 1905609"/>
                    <a:gd name="csY21" fmla="*/ 1593575 h 2412876"/>
                    <a:gd name="csX22" fmla="*/ 1700784 w 1905609"/>
                    <a:gd name="csY22" fmla="*/ 1808154 h 24128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1905609" h="2412876">
                      <a:moveTo>
                        <a:pt x="1905610" y="2412877"/>
                      </a:moveTo>
                      <a:lnTo>
                        <a:pt x="1193597" y="2412877"/>
                      </a:lnTo>
                      <a:cubicBezTo>
                        <a:pt x="1144829" y="2325095"/>
                        <a:pt x="1066800" y="2247066"/>
                        <a:pt x="969264" y="2198298"/>
                      </a:cubicBezTo>
                      <a:lnTo>
                        <a:pt x="569366" y="1964211"/>
                      </a:lnTo>
                      <a:cubicBezTo>
                        <a:pt x="452323" y="1915443"/>
                        <a:pt x="374294" y="1808154"/>
                        <a:pt x="345034" y="1691111"/>
                      </a:cubicBezTo>
                      <a:lnTo>
                        <a:pt x="3658" y="218317"/>
                      </a:lnTo>
                      <a:cubicBezTo>
                        <a:pt x="-6096" y="169549"/>
                        <a:pt x="3658" y="111027"/>
                        <a:pt x="32918" y="72013"/>
                      </a:cubicBezTo>
                      <a:cubicBezTo>
                        <a:pt x="52426" y="42752"/>
                        <a:pt x="91440" y="13491"/>
                        <a:pt x="140208" y="3738"/>
                      </a:cubicBezTo>
                      <a:cubicBezTo>
                        <a:pt x="237744" y="-15770"/>
                        <a:pt x="335280" y="42752"/>
                        <a:pt x="364541" y="140288"/>
                      </a:cubicBezTo>
                      <a:lnTo>
                        <a:pt x="715670" y="1076634"/>
                      </a:lnTo>
                      <a:cubicBezTo>
                        <a:pt x="637642" y="1086387"/>
                        <a:pt x="569366" y="1135155"/>
                        <a:pt x="530352" y="1213184"/>
                      </a:cubicBezTo>
                      <a:cubicBezTo>
                        <a:pt x="471830" y="1320474"/>
                        <a:pt x="510845" y="1466778"/>
                        <a:pt x="618134" y="1535053"/>
                      </a:cubicBezTo>
                      <a:cubicBezTo>
                        <a:pt x="627888" y="1544807"/>
                        <a:pt x="637642" y="1544807"/>
                        <a:pt x="647395" y="1554560"/>
                      </a:cubicBezTo>
                      <a:lnTo>
                        <a:pt x="1047293" y="1759386"/>
                      </a:lnTo>
                      <a:cubicBezTo>
                        <a:pt x="1057046" y="1769139"/>
                        <a:pt x="1066800" y="1769139"/>
                        <a:pt x="1076554" y="1769139"/>
                      </a:cubicBezTo>
                      <a:cubicBezTo>
                        <a:pt x="1105814" y="1769139"/>
                        <a:pt x="1135075" y="1749632"/>
                        <a:pt x="1144829" y="1730125"/>
                      </a:cubicBezTo>
                      <a:cubicBezTo>
                        <a:pt x="1164336" y="1691111"/>
                        <a:pt x="1144829" y="1652096"/>
                        <a:pt x="1115568" y="1632589"/>
                      </a:cubicBezTo>
                      <a:lnTo>
                        <a:pt x="715670" y="1427763"/>
                      </a:lnTo>
                      <a:cubicBezTo>
                        <a:pt x="705917" y="1427763"/>
                        <a:pt x="705917" y="1418010"/>
                        <a:pt x="696163" y="1418010"/>
                      </a:cubicBezTo>
                      <a:cubicBezTo>
                        <a:pt x="657149" y="1388749"/>
                        <a:pt x="637642" y="1330227"/>
                        <a:pt x="657149" y="1291213"/>
                      </a:cubicBezTo>
                      <a:cubicBezTo>
                        <a:pt x="676656" y="1232691"/>
                        <a:pt x="725424" y="1213184"/>
                        <a:pt x="774192" y="1222938"/>
                      </a:cubicBezTo>
                      <a:lnTo>
                        <a:pt x="1505712" y="1593575"/>
                      </a:lnTo>
                      <a:cubicBezTo>
                        <a:pt x="1593494" y="1642343"/>
                        <a:pt x="1661770" y="1720371"/>
                        <a:pt x="1700784" y="1808154"/>
                      </a:cubicBezTo>
                      <a:close/>
                    </a:path>
                  </a:pathLst>
                </a:custGeom>
                <a:grpFill/>
                <a:ln w="97536" cap="flat">
                  <a:noFill/>
                  <a:prstDash val="solid"/>
                  <a:miter/>
                </a:ln>
              </p:spPr>
              <p:txBody>
                <a:bodyPr/>
                <a:lstStyle/>
                <a:p>
                  <a:endParaRPr lang="en-US"/>
                </a:p>
              </p:txBody>
            </p:sp>
            <p:sp>
              <p:nvSpPr>
                <p:cNvPr id="152" name="Freeform: Shape 151">
                  <a:extLst>
                    <a:ext uri="{FF2B5EF4-FFF2-40B4-BE49-F238E27FC236}">
                      <a16:creationId xmlns:a16="http://schemas.microsoft.com/office/drawing/2014/main" id="{071AC862-E15D-A04D-DD00-399AB2A2364A}"/>
                    </a:ext>
                  </a:extLst>
                </p:cNvPr>
                <p:cNvSpPr/>
                <p:nvPr/>
              </p:nvSpPr>
              <p:spPr>
                <a:xfrm>
                  <a:off x="4798771" y="5106619"/>
                  <a:ext cx="1141171" cy="663244"/>
                </a:xfrm>
                <a:custGeom>
                  <a:avLst/>
                  <a:gdLst>
                    <a:gd name="csX0" fmla="*/ 1033882 w 1141171"/>
                    <a:gd name="csY0" fmla="*/ 0 h 663244"/>
                    <a:gd name="csX1" fmla="*/ 107290 w 1141171"/>
                    <a:gd name="csY1" fmla="*/ 0 h 663244"/>
                    <a:gd name="csX2" fmla="*/ 0 w 1141171"/>
                    <a:gd name="csY2" fmla="*/ 107289 h 663244"/>
                    <a:gd name="csX3" fmla="*/ 0 w 1141171"/>
                    <a:gd name="csY3" fmla="*/ 555955 h 663244"/>
                    <a:gd name="csX4" fmla="*/ 107290 w 1141171"/>
                    <a:gd name="csY4" fmla="*/ 663245 h 663244"/>
                    <a:gd name="csX5" fmla="*/ 1033882 w 1141171"/>
                    <a:gd name="csY5" fmla="*/ 663245 h 663244"/>
                    <a:gd name="csX6" fmla="*/ 1141171 w 1141171"/>
                    <a:gd name="csY6" fmla="*/ 555955 h 663244"/>
                    <a:gd name="csX7" fmla="*/ 1141171 w 1141171"/>
                    <a:gd name="csY7" fmla="*/ 107289 h 663244"/>
                    <a:gd name="csX8" fmla="*/ 1033882 w 1141171"/>
                    <a:gd name="csY8" fmla="*/ 0 h 663244"/>
                    <a:gd name="csX9" fmla="*/ 282854 w 1141171"/>
                    <a:gd name="csY9" fmla="*/ 409651 h 663244"/>
                    <a:gd name="csX10" fmla="*/ 224333 w 1141171"/>
                    <a:gd name="csY10" fmla="*/ 409651 h 663244"/>
                    <a:gd name="csX11" fmla="*/ 146304 w 1141171"/>
                    <a:gd name="csY11" fmla="*/ 331622 h 663244"/>
                    <a:gd name="csX12" fmla="*/ 224333 w 1141171"/>
                    <a:gd name="csY12" fmla="*/ 253593 h 663244"/>
                    <a:gd name="csX13" fmla="*/ 292608 w 1141171"/>
                    <a:gd name="csY13" fmla="*/ 253593 h 663244"/>
                    <a:gd name="csX14" fmla="*/ 370637 w 1141171"/>
                    <a:gd name="csY14" fmla="*/ 331622 h 663244"/>
                    <a:gd name="csX15" fmla="*/ 282854 w 1141171"/>
                    <a:gd name="csY15" fmla="*/ 409651 h 66324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141171" h="663244">
                      <a:moveTo>
                        <a:pt x="1033882" y="0"/>
                      </a:moveTo>
                      <a:lnTo>
                        <a:pt x="107290" y="0"/>
                      </a:lnTo>
                      <a:cubicBezTo>
                        <a:pt x="48768" y="0"/>
                        <a:pt x="0" y="48768"/>
                        <a:pt x="0" y="107289"/>
                      </a:cubicBezTo>
                      <a:lnTo>
                        <a:pt x="0" y="555955"/>
                      </a:lnTo>
                      <a:cubicBezTo>
                        <a:pt x="0" y="614477"/>
                        <a:pt x="48768" y="663245"/>
                        <a:pt x="107290" y="663245"/>
                      </a:cubicBezTo>
                      <a:lnTo>
                        <a:pt x="1033882" y="663245"/>
                      </a:lnTo>
                      <a:cubicBezTo>
                        <a:pt x="1092403" y="663245"/>
                        <a:pt x="1141171" y="614477"/>
                        <a:pt x="1141171" y="555955"/>
                      </a:cubicBezTo>
                      <a:lnTo>
                        <a:pt x="1141171" y="107289"/>
                      </a:lnTo>
                      <a:cubicBezTo>
                        <a:pt x="1141171" y="48768"/>
                        <a:pt x="1092403" y="0"/>
                        <a:pt x="1033882" y="0"/>
                      </a:cubicBezTo>
                      <a:close/>
                      <a:moveTo>
                        <a:pt x="282854" y="409651"/>
                      </a:moveTo>
                      <a:lnTo>
                        <a:pt x="224333" y="409651"/>
                      </a:lnTo>
                      <a:cubicBezTo>
                        <a:pt x="185318" y="409651"/>
                        <a:pt x="146304" y="370637"/>
                        <a:pt x="146304" y="331622"/>
                      </a:cubicBezTo>
                      <a:cubicBezTo>
                        <a:pt x="146304" y="292608"/>
                        <a:pt x="175565" y="253593"/>
                        <a:pt x="224333" y="253593"/>
                      </a:cubicBezTo>
                      <a:lnTo>
                        <a:pt x="292608" y="253593"/>
                      </a:lnTo>
                      <a:cubicBezTo>
                        <a:pt x="331622" y="253593"/>
                        <a:pt x="370637" y="282854"/>
                        <a:pt x="370637" y="331622"/>
                      </a:cubicBezTo>
                      <a:cubicBezTo>
                        <a:pt x="360883" y="370637"/>
                        <a:pt x="331622" y="409651"/>
                        <a:pt x="282854" y="409651"/>
                      </a:cubicBezTo>
                      <a:close/>
                    </a:path>
                  </a:pathLst>
                </a:custGeom>
                <a:grpFill/>
                <a:ln w="97536" cap="flat">
                  <a:noFill/>
                  <a:prstDash val="solid"/>
                  <a:miter/>
                </a:ln>
              </p:spPr>
              <p:txBody>
                <a:bodyPr/>
                <a:lstStyle/>
                <a:p>
                  <a:endParaRPr lang="en-US"/>
                </a:p>
              </p:txBody>
            </p:sp>
          </p:grpSp>
          <p:sp>
            <p:nvSpPr>
              <p:cNvPr id="153" name="Freeform: Shape 152">
                <a:extLst>
                  <a:ext uri="{FF2B5EF4-FFF2-40B4-BE49-F238E27FC236}">
                    <a16:creationId xmlns:a16="http://schemas.microsoft.com/office/drawing/2014/main" id="{CBD8ED97-A7B5-7B0E-834B-AF37FD706D63}"/>
                  </a:ext>
                </a:extLst>
              </p:cNvPr>
              <p:cNvSpPr/>
              <p:nvPr/>
            </p:nvSpPr>
            <p:spPr>
              <a:xfrm>
                <a:off x="5130393" y="1088136"/>
                <a:ext cx="1931212" cy="2935833"/>
              </a:xfrm>
              <a:custGeom>
                <a:avLst/>
                <a:gdLst>
                  <a:gd name="csX0" fmla="*/ 965606 w 1931212"/>
                  <a:gd name="csY0" fmla="*/ 0 h 2935833"/>
                  <a:gd name="csX1" fmla="*/ 0 w 1931212"/>
                  <a:gd name="csY1" fmla="*/ 1960474 h 2935833"/>
                  <a:gd name="csX2" fmla="*/ 965606 w 1931212"/>
                  <a:gd name="csY2" fmla="*/ 2935834 h 2935833"/>
                  <a:gd name="csX3" fmla="*/ 1931213 w 1931212"/>
                  <a:gd name="csY3" fmla="*/ 1960474 h 2935833"/>
                  <a:gd name="csX4" fmla="*/ 965606 w 1931212"/>
                  <a:gd name="csY4" fmla="*/ 0 h 2935833"/>
                  <a:gd name="csX5" fmla="*/ 1150925 w 1931212"/>
                  <a:gd name="csY5" fmla="*/ 2643226 h 2935833"/>
                  <a:gd name="csX6" fmla="*/ 1131418 w 1931212"/>
                  <a:gd name="csY6" fmla="*/ 2643226 h 2935833"/>
                  <a:gd name="csX7" fmla="*/ 1063142 w 1931212"/>
                  <a:gd name="csY7" fmla="*/ 2584704 h 2935833"/>
                  <a:gd name="csX8" fmla="*/ 1111910 w 1931212"/>
                  <a:gd name="csY8" fmla="*/ 2496922 h 2935833"/>
                  <a:gd name="csX9" fmla="*/ 1521562 w 1931212"/>
                  <a:gd name="csY9" fmla="*/ 1960474 h 2935833"/>
                  <a:gd name="csX10" fmla="*/ 1316736 w 1931212"/>
                  <a:gd name="csY10" fmla="*/ 1404518 h 2935833"/>
                  <a:gd name="csX11" fmla="*/ 1355750 w 1931212"/>
                  <a:gd name="csY11" fmla="*/ 1306982 h 2935833"/>
                  <a:gd name="csX12" fmla="*/ 1453286 w 1931212"/>
                  <a:gd name="csY12" fmla="*/ 1345997 h 2935833"/>
                  <a:gd name="csX13" fmla="*/ 1677619 w 1931212"/>
                  <a:gd name="csY13" fmla="*/ 1970227 h 2935833"/>
                  <a:gd name="csX14" fmla="*/ 1150925 w 1931212"/>
                  <a:gd name="csY14" fmla="*/ 2643226 h 293583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1931212" h="2935833">
                    <a:moveTo>
                      <a:pt x="965606" y="0"/>
                    </a:moveTo>
                    <a:cubicBezTo>
                      <a:pt x="965606" y="0"/>
                      <a:pt x="0" y="1424026"/>
                      <a:pt x="0" y="1960474"/>
                    </a:cubicBezTo>
                    <a:cubicBezTo>
                      <a:pt x="0" y="2496922"/>
                      <a:pt x="429158" y="2935834"/>
                      <a:pt x="965606" y="2935834"/>
                    </a:cubicBezTo>
                    <a:cubicBezTo>
                      <a:pt x="1502054" y="2935834"/>
                      <a:pt x="1931213" y="2496922"/>
                      <a:pt x="1931213" y="1960474"/>
                    </a:cubicBezTo>
                    <a:cubicBezTo>
                      <a:pt x="1931213" y="1424026"/>
                      <a:pt x="965606" y="0"/>
                      <a:pt x="965606" y="0"/>
                    </a:cubicBezTo>
                    <a:close/>
                    <a:moveTo>
                      <a:pt x="1150925" y="2643226"/>
                    </a:moveTo>
                    <a:cubicBezTo>
                      <a:pt x="1141171" y="2643226"/>
                      <a:pt x="1141171" y="2643226"/>
                      <a:pt x="1131418" y="2643226"/>
                    </a:cubicBezTo>
                    <a:cubicBezTo>
                      <a:pt x="1102157" y="2643226"/>
                      <a:pt x="1063142" y="2623718"/>
                      <a:pt x="1063142" y="2584704"/>
                    </a:cubicBezTo>
                    <a:cubicBezTo>
                      <a:pt x="1053389" y="2545690"/>
                      <a:pt x="1072896" y="2506675"/>
                      <a:pt x="1111910" y="2496922"/>
                    </a:cubicBezTo>
                    <a:cubicBezTo>
                      <a:pt x="1355750" y="2428646"/>
                      <a:pt x="1521562" y="2214067"/>
                      <a:pt x="1521562" y="1960474"/>
                    </a:cubicBezTo>
                    <a:cubicBezTo>
                      <a:pt x="1521562" y="1911706"/>
                      <a:pt x="1492301" y="1765402"/>
                      <a:pt x="1316736" y="1404518"/>
                    </a:cubicBezTo>
                    <a:cubicBezTo>
                      <a:pt x="1297229" y="1365504"/>
                      <a:pt x="1316736" y="1326490"/>
                      <a:pt x="1355750" y="1306982"/>
                    </a:cubicBezTo>
                    <a:cubicBezTo>
                      <a:pt x="1394765" y="1287475"/>
                      <a:pt x="1433779" y="1306982"/>
                      <a:pt x="1453286" y="1345997"/>
                    </a:cubicBezTo>
                    <a:cubicBezTo>
                      <a:pt x="1599590" y="1638605"/>
                      <a:pt x="1677619" y="1853184"/>
                      <a:pt x="1677619" y="1970227"/>
                    </a:cubicBezTo>
                    <a:cubicBezTo>
                      <a:pt x="1667866" y="2282342"/>
                      <a:pt x="1453286" y="2565197"/>
                      <a:pt x="1150925" y="2643226"/>
                    </a:cubicBezTo>
                    <a:close/>
                  </a:path>
                </a:pathLst>
              </a:custGeom>
              <a:grpFill/>
              <a:ln w="97536" cap="flat">
                <a:noFill/>
                <a:prstDash val="solid"/>
                <a:miter/>
              </a:ln>
            </p:spPr>
            <p:txBody>
              <a:bodyPr/>
              <a:lstStyle/>
              <a:p>
                <a:endParaRPr lang="en-US"/>
              </a:p>
            </p:txBody>
          </p:sp>
          <p:sp>
            <p:nvSpPr>
              <p:cNvPr id="154" name="Freeform: Shape 153">
                <a:extLst>
                  <a:ext uri="{FF2B5EF4-FFF2-40B4-BE49-F238E27FC236}">
                    <a16:creationId xmlns:a16="http://schemas.microsoft.com/office/drawing/2014/main" id="{E881E326-4624-43A7-B6EC-35E58152AF86}"/>
                  </a:ext>
                </a:extLst>
              </p:cNvPr>
              <p:cNvSpPr/>
              <p:nvPr/>
            </p:nvSpPr>
            <p:spPr>
              <a:xfrm>
                <a:off x="7139635" y="1273454"/>
                <a:ext cx="780288" cy="1189939"/>
              </a:xfrm>
              <a:custGeom>
                <a:avLst/>
                <a:gdLst>
                  <a:gd name="csX0" fmla="*/ 390144 w 780288"/>
                  <a:gd name="csY0" fmla="*/ 0 h 1189939"/>
                  <a:gd name="csX1" fmla="*/ 0 w 780288"/>
                  <a:gd name="csY1" fmla="*/ 799795 h 1189939"/>
                  <a:gd name="csX2" fmla="*/ 390144 w 780288"/>
                  <a:gd name="csY2" fmla="*/ 1189939 h 1189939"/>
                  <a:gd name="csX3" fmla="*/ 780288 w 780288"/>
                  <a:gd name="csY3" fmla="*/ 799795 h 1189939"/>
                  <a:gd name="csX4" fmla="*/ 390144 w 780288"/>
                  <a:gd name="csY4" fmla="*/ 0 h 1189939"/>
                  <a:gd name="csX5" fmla="*/ 487680 w 780288"/>
                  <a:gd name="csY5" fmla="*/ 1004621 h 1189939"/>
                  <a:gd name="csX6" fmla="*/ 458419 w 780288"/>
                  <a:gd name="csY6" fmla="*/ 1014374 h 1189939"/>
                  <a:gd name="csX7" fmla="*/ 390144 w 780288"/>
                  <a:gd name="csY7" fmla="*/ 975360 h 1189939"/>
                  <a:gd name="csX8" fmla="*/ 429158 w 780288"/>
                  <a:gd name="csY8" fmla="*/ 877824 h 1189939"/>
                  <a:gd name="csX9" fmla="*/ 477926 w 780288"/>
                  <a:gd name="csY9" fmla="*/ 799795 h 1189939"/>
                  <a:gd name="csX10" fmla="*/ 419405 w 780288"/>
                  <a:gd name="csY10" fmla="*/ 653491 h 1189939"/>
                  <a:gd name="csX11" fmla="*/ 458419 w 780288"/>
                  <a:gd name="csY11" fmla="*/ 555955 h 1189939"/>
                  <a:gd name="csX12" fmla="*/ 555955 w 780288"/>
                  <a:gd name="csY12" fmla="*/ 594970 h 1189939"/>
                  <a:gd name="csX13" fmla="*/ 633984 w 780288"/>
                  <a:gd name="csY13" fmla="*/ 799795 h 1189939"/>
                  <a:gd name="csX14" fmla="*/ 487680 w 780288"/>
                  <a:gd name="csY14" fmla="*/ 1004621 h 118993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780288" h="1189939">
                    <a:moveTo>
                      <a:pt x="390144" y="0"/>
                    </a:moveTo>
                    <a:cubicBezTo>
                      <a:pt x="390144" y="0"/>
                      <a:pt x="0" y="575462"/>
                      <a:pt x="0" y="799795"/>
                    </a:cubicBezTo>
                    <a:cubicBezTo>
                      <a:pt x="0" y="1014374"/>
                      <a:pt x="175565" y="1189939"/>
                      <a:pt x="390144" y="1189939"/>
                    </a:cubicBezTo>
                    <a:cubicBezTo>
                      <a:pt x="604723" y="1189939"/>
                      <a:pt x="780288" y="1014374"/>
                      <a:pt x="780288" y="799795"/>
                    </a:cubicBezTo>
                    <a:cubicBezTo>
                      <a:pt x="780288" y="575462"/>
                      <a:pt x="390144" y="0"/>
                      <a:pt x="390144" y="0"/>
                    </a:cubicBezTo>
                    <a:close/>
                    <a:moveTo>
                      <a:pt x="487680" y="1004621"/>
                    </a:moveTo>
                    <a:cubicBezTo>
                      <a:pt x="477926" y="1014374"/>
                      <a:pt x="468173" y="1014374"/>
                      <a:pt x="458419" y="1014374"/>
                    </a:cubicBezTo>
                    <a:cubicBezTo>
                      <a:pt x="429158" y="1014374"/>
                      <a:pt x="399897" y="994867"/>
                      <a:pt x="390144" y="975360"/>
                    </a:cubicBezTo>
                    <a:cubicBezTo>
                      <a:pt x="370637" y="936346"/>
                      <a:pt x="390144" y="897331"/>
                      <a:pt x="429158" y="877824"/>
                    </a:cubicBezTo>
                    <a:cubicBezTo>
                      <a:pt x="458419" y="868070"/>
                      <a:pt x="477926" y="838810"/>
                      <a:pt x="477926" y="799795"/>
                    </a:cubicBezTo>
                    <a:cubicBezTo>
                      <a:pt x="477926" y="799795"/>
                      <a:pt x="468173" y="760781"/>
                      <a:pt x="419405" y="653491"/>
                    </a:cubicBezTo>
                    <a:cubicBezTo>
                      <a:pt x="399897" y="614477"/>
                      <a:pt x="419405" y="575462"/>
                      <a:pt x="458419" y="555955"/>
                    </a:cubicBezTo>
                    <a:cubicBezTo>
                      <a:pt x="497433" y="536448"/>
                      <a:pt x="546201" y="555955"/>
                      <a:pt x="555955" y="594970"/>
                    </a:cubicBezTo>
                    <a:cubicBezTo>
                      <a:pt x="624230" y="721766"/>
                      <a:pt x="633984" y="780288"/>
                      <a:pt x="633984" y="799795"/>
                    </a:cubicBezTo>
                    <a:cubicBezTo>
                      <a:pt x="624230" y="887578"/>
                      <a:pt x="565709" y="965606"/>
                      <a:pt x="487680" y="1004621"/>
                    </a:cubicBezTo>
                    <a:close/>
                  </a:path>
                </a:pathLst>
              </a:custGeom>
              <a:grpFill/>
              <a:ln w="97536" cap="flat">
                <a:noFill/>
                <a:prstDash val="solid"/>
                <a:miter/>
              </a:ln>
            </p:spPr>
            <p:txBody>
              <a:bodyPr/>
              <a:lstStyle/>
              <a:p>
                <a:endParaRPr lang="en-US"/>
              </a:p>
            </p:txBody>
          </p:sp>
          <p:sp>
            <p:nvSpPr>
              <p:cNvPr id="155" name="Freeform: Shape 154">
                <a:extLst>
                  <a:ext uri="{FF2B5EF4-FFF2-40B4-BE49-F238E27FC236}">
                    <a16:creationId xmlns:a16="http://schemas.microsoft.com/office/drawing/2014/main" id="{B8CFDF7B-257A-81DE-ED7E-7E3D76F323F0}"/>
                  </a:ext>
                </a:extLst>
              </p:cNvPr>
              <p:cNvSpPr/>
              <p:nvPr/>
            </p:nvSpPr>
            <p:spPr>
              <a:xfrm>
                <a:off x="4272076" y="1273454"/>
                <a:ext cx="780288" cy="1189939"/>
              </a:xfrm>
              <a:custGeom>
                <a:avLst/>
                <a:gdLst>
                  <a:gd name="csX0" fmla="*/ 390144 w 780288"/>
                  <a:gd name="csY0" fmla="*/ 0 h 1189939"/>
                  <a:gd name="csX1" fmla="*/ 0 w 780288"/>
                  <a:gd name="csY1" fmla="*/ 799795 h 1189939"/>
                  <a:gd name="csX2" fmla="*/ 390144 w 780288"/>
                  <a:gd name="csY2" fmla="*/ 1189939 h 1189939"/>
                  <a:gd name="csX3" fmla="*/ 780288 w 780288"/>
                  <a:gd name="csY3" fmla="*/ 799795 h 1189939"/>
                  <a:gd name="csX4" fmla="*/ 390144 w 780288"/>
                  <a:gd name="csY4" fmla="*/ 0 h 1189939"/>
                  <a:gd name="csX5" fmla="*/ 487680 w 780288"/>
                  <a:gd name="csY5" fmla="*/ 1004621 h 1189939"/>
                  <a:gd name="csX6" fmla="*/ 458419 w 780288"/>
                  <a:gd name="csY6" fmla="*/ 1014374 h 1189939"/>
                  <a:gd name="csX7" fmla="*/ 390144 w 780288"/>
                  <a:gd name="csY7" fmla="*/ 975360 h 1189939"/>
                  <a:gd name="csX8" fmla="*/ 429158 w 780288"/>
                  <a:gd name="csY8" fmla="*/ 877824 h 1189939"/>
                  <a:gd name="csX9" fmla="*/ 477926 w 780288"/>
                  <a:gd name="csY9" fmla="*/ 799795 h 1189939"/>
                  <a:gd name="csX10" fmla="*/ 419405 w 780288"/>
                  <a:gd name="csY10" fmla="*/ 653491 h 1189939"/>
                  <a:gd name="csX11" fmla="*/ 458419 w 780288"/>
                  <a:gd name="csY11" fmla="*/ 555955 h 1189939"/>
                  <a:gd name="csX12" fmla="*/ 555955 w 780288"/>
                  <a:gd name="csY12" fmla="*/ 594970 h 1189939"/>
                  <a:gd name="csX13" fmla="*/ 633984 w 780288"/>
                  <a:gd name="csY13" fmla="*/ 799795 h 1189939"/>
                  <a:gd name="csX14" fmla="*/ 487680 w 780288"/>
                  <a:gd name="csY14" fmla="*/ 1004621 h 118993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780288" h="1189939">
                    <a:moveTo>
                      <a:pt x="390144" y="0"/>
                    </a:moveTo>
                    <a:cubicBezTo>
                      <a:pt x="390144" y="0"/>
                      <a:pt x="0" y="575462"/>
                      <a:pt x="0" y="799795"/>
                    </a:cubicBezTo>
                    <a:cubicBezTo>
                      <a:pt x="0" y="1014374"/>
                      <a:pt x="175565" y="1189939"/>
                      <a:pt x="390144" y="1189939"/>
                    </a:cubicBezTo>
                    <a:cubicBezTo>
                      <a:pt x="604723" y="1189939"/>
                      <a:pt x="780288" y="1014374"/>
                      <a:pt x="780288" y="799795"/>
                    </a:cubicBezTo>
                    <a:cubicBezTo>
                      <a:pt x="780288" y="575462"/>
                      <a:pt x="390144" y="0"/>
                      <a:pt x="390144" y="0"/>
                    </a:cubicBezTo>
                    <a:close/>
                    <a:moveTo>
                      <a:pt x="487680" y="1004621"/>
                    </a:moveTo>
                    <a:cubicBezTo>
                      <a:pt x="477926" y="1014374"/>
                      <a:pt x="468173" y="1014374"/>
                      <a:pt x="458419" y="1014374"/>
                    </a:cubicBezTo>
                    <a:cubicBezTo>
                      <a:pt x="429158" y="1014374"/>
                      <a:pt x="399898" y="994867"/>
                      <a:pt x="390144" y="975360"/>
                    </a:cubicBezTo>
                    <a:cubicBezTo>
                      <a:pt x="370637" y="936346"/>
                      <a:pt x="390144" y="897331"/>
                      <a:pt x="429158" y="877824"/>
                    </a:cubicBezTo>
                    <a:cubicBezTo>
                      <a:pt x="458419" y="868070"/>
                      <a:pt x="477926" y="838810"/>
                      <a:pt x="477926" y="799795"/>
                    </a:cubicBezTo>
                    <a:cubicBezTo>
                      <a:pt x="477926" y="799795"/>
                      <a:pt x="468173" y="760781"/>
                      <a:pt x="419405" y="653491"/>
                    </a:cubicBezTo>
                    <a:cubicBezTo>
                      <a:pt x="399898" y="614477"/>
                      <a:pt x="419405" y="575462"/>
                      <a:pt x="458419" y="555955"/>
                    </a:cubicBezTo>
                    <a:cubicBezTo>
                      <a:pt x="497434" y="536448"/>
                      <a:pt x="536448" y="555955"/>
                      <a:pt x="555955" y="594970"/>
                    </a:cubicBezTo>
                    <a:cubicBezTo>
                      <a:pt x="624230" y="721766"/>
                      <a:pt x="633984" y="780288"/>
                      <a:pt x="633984" y="799795"/>
                    </a:cubicBezTo>
                    <a:cubicBezTo>
                      <a:pt x="624230" y="887578"/>
                      <a:pt x="575462" y="965606"/>
                      <a:pt x="487680" y="1004621"/>
                    </a:cubicBezTo>
                    <a:close/>
                  </a:path>
                </a:pathLst>
              </a:custGeom>
              <a:grpFill/>
              <a:ln w="97536" cap="flat">
                <a:noFill/>
                <a:prstDash val="solid"/>
                <a:miter/>
              </a:ln>
            </p:spPr>
            <p:txBody>
              <a:bodyPr/>
              <a:lstStyle/>
              <a:p>
                <a:endParaRPr lang="en-US"/>
              </a:p>
            </p:txBody>
          </p:sp>
          <p:grpSp>
            <p:nvGrpSpPr>
              <p:cNvPr id="156" name="Graphic 144">
                <a:extLst>
                  <a:ext uri="{FF2B5EF4-FFF2-40B4-BE49-F238E27FC236}">
                    <a16:creationId xmlns:a16="http://schemas.microsoft.com/office/drawing/2014/main" id="{625BD32B-352F-F6DC-55B1-5BAA2561B341}"/>
                  </a:ext>
                </a:extLst>
              </p:cNvPr>
              <p:cNvGrpSpPr/>
              <p:nvPr/>
            </p:nvGrpSpPr>
            <p:grpSpPr>
              <a:xfrm>
                <a:off x="6252057" y="2537684"/>
                <a:ext cx="2178710" cy="3232179"/>
                <a:chOff x="6252057" y="2537684"/>
                <a:chExt cx="2178710" cy="3232179"/>
              </a:xfrm>
              <a:grpFill/>
            </p:grpSpPr>
            <p:sp>
              <p:nvSpPr>
                <p:cNvPr id="157" name="Freeform: Shape 156">
                  <a:extLst>
                    <a:ext uri="{FF2B5EF4-FFF2-40B4-BE49-F238E27FC236}">
                      <a16:creationId xmlns:a16="http://schemas.microsoft.com/office/drawing/2014/main" id="{84B0235B-8395-30C6-1A21-4894AFF2F615}"/>
                    </a:ext>
                  </a:extLst>
                </p:cNvPr>
                <p:cNvSpPr/>
                <p:nvPr/>
              </p:nvSpPr>
              <p:spPr>
                <a:xfrm>
                  <a:off x="6525158" y="2537684"/>
                  <a:ext cx="1905609" cy="2412876"/>
                </a:xfrm>
                <a:custGeom>
                  <a:avLst/>
                  <a:gdLst>
                    <a:gd name="csX0" fmla="*/ 0 w 1905609"/>
                    <a:gd name="csY0" fmla="*/ 2412877 h 2412876"/>
                    <a:gd name="csX1" fmla="*/ 712013 w 1905609"/>
                    <a:gd name="csY1" fmla="*/ 2412877 h 2412876"/>
                    <a:gd name="csX2" fmla="*/ 936346 w 1905609"/>
                    <a:gd name="csY2" fmla="*/ 2198298 h 2412876"/>
                    <a:gd name="csX3" fmla="*/ 1336243 w 1905609"/>
                    <a:gd name="csY3" fmla="*/ 1964211 h 2412876"/>
                    <a:gd name="csX4" fmla="*/ 1560576 w 1905609"/>
                    <a:gd name="csY4" fmla="*/ 1691111 h 2412876"/>
                    <a:gd name="csX5" fmla="*/ 1901952 w 1905609"/>
                    <a:gd name="csY5" fmla="*/ 218317 h 2412876"/>
                    <a:gd name="csX6" fmla="*/ 1872691 w 1905609"/>
                    <a:gd name="csY6" fmla="*/ 72013 h 2412876"/>
                    <a:gd name="csX7" fmla="*/ 1765402 w 1905609"/>
                    <a:gd name="csY7" fmla="*/ 3738 h 2412876"/>
                    <a:gd name="csX8" fmla="*/ 1541069 w 1905609"/>
                    <a:gd name="csY8" fmla="*/ 140288 h 2412876"/>
                    <a:gd name="csX9" fmla="*/ 1189939 w 1905609"/>
                    <a:gd name="csY9" fmla="*/ 1076634 h 2412876"/>
                    <a:gd name="csX10" fmla="*/ 1375258 w 1905609"/>
                    <a:gd name="csY10" fmla="*/ 1213184 h 2412876"/>
                    <a:gd name="csX11" fmla="*/ 1287475 w 1905609"/>
                    <a:gd name="csY11" fmla="*/ 1535053 h 2412876"/>
                    <a:gd name="csX12" fmla="*/ 1258214 w 1905609"/>
                    <a:gd name="csY12" fmla="*/ 1554560 h 2412876"/>
                    <a:gd name="csX13" fmla="*/ 858317 w 1905609"/>
                    <a:gd name="csY13" fmla="*/ 1759386 h 2412876"/>
                    <a:gd name="csX14" fmla="*/ 829056 w 1905609"/>
                    <a:gd name="csY14" fmla="*/ 1769139 h 2412876"/>
                    <a:gd name="csX15" fmla="*/ 760781 w 1905609"/>
                    <a:gd name="csY15" fmla="*/ 1730125 h 2412876"/>
                    <a:gd name="csX16" fmla="*/ 790042 w 1905609"/>
                    <a:gd name="csY16" fmla="*/ 1632589 h 2412876"/>
                    <a:gd name="csX17" fmla="*/ 1189939 w 1905609"/>
                    <a:gd name="csY17" fmla="*/ 1427763 h 2412876"/>
                    <a:gd name="csX18" fmla="*/ 1209446 w 1905609"/>
                    <a:gd name="csY18" fmla="*/ 1418010 h 2412876"/>
                    <a:gd name="csX19" fmla="*/ 1248461 w 1905609"/>
                    <a:gd name="csY19" fmla="*/ 1291213 h 2412876"/>
                    <a:gd name="csX20" fmla="*/ 1131418 w 1905609"/>
                    <a:gd name="csY20" fmla="*/ 1242445 h 2412876"/>
                    <a:gd name="csX21" fmla="*/ 399898 w 1905609"/>
                    <a:gd name="csY21" fmla="*/ 1613082 h 2412876"/>
                    <a:gd name="csX22" fmla="*/ 204826 w 1905609"/>
                    <a:gd name="csY22" fmla="*/ 1827661 h 24128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1905609" h="2412876">
                      <a:moveTo>
                        <a:pt x="0" y="2412877"/>
                      </a:moveTo>
                      <a:lnTo>
                        <a:pt x="712013" y="2412877"/>
                      </a:lnTo>
                      <a:cubicBezTo>
                        <a:pt x="760781" y="2325095"/>
                        <a:pt x="838810" y="2247066"/>
                        <a:pt x="936346" y="2198298"/>
                      </a:cubicBezTo>
                      <a:lnTo>
                        <a:pt x="1336243" y="1964211"/>
                      </a:lnTo>
                      <a:cubicBezTo>
                        <a:pt x="1453286" y="1915443"/>
                        <a:pt x="1531315" y="1808154"/>
                        <a:pt x="1560576" y="1691111"/>
                      </a:cubicBezTo>
                      <a:lnTo>
                        <a:pt x="1901952" y="218317"/>
                      </a:lnTo>
                      <a:cubicBezTo>
                        <a:pt x="1911706" y="169549"/>
                        <a:pt x="1901952" y="111027"/>
                        <a:pt x="1872691" y="72013"/>
                      </a:cubicBezTo>
                      <a:cubicBezTo>
                        <a:pt x="1853184" y="42752"/>
                        <a:pt x="1814170" y="13491"/>
                        <a:pt x="1765402" y="3738"/>
                      </a:cubicBezTo>
                      <a:cubicBezTo>
                        <a:pt x="1667866" y="-15770"/>
                        <a:pt x="1570330" y="42752"/>
                        <a:pt x="1541069" y="140288"/>
                      </a:cubicBezTo>
                      <a:lnTo>
                        <a:pt x="1189939" y="1076634"/>
                      </a:lnTo>
                      <a:cubicBezTo>
                        <a:pt x="1267968" y="1086387"/>
                        <a:pt x="1336243" y="1135155"/>
                        <a:pt x="1375258" y="1213184"/>
                      </a:cubicBezTo>
                      <a:cubicBezTo>
                        <a:pt x="1433779" y="1320474"/>
                        <a:pt x="1394765" y="1466778"/>
                        <a:pt x="1287475" y="1535053"/>
                      </a:cubicBezTo>
                      <a:cubicBezTo>
                        <a:pt x="1277722" y="1544807"/>
                        <a:pt x="1267968" y="1544807"/>
                        <a:pt x="1258214" y="1554560"/>
                      </a:cubicBezTo>
                      <a:lnTo>
                        <a:pt x="858317" y="1759386"/>
                      </a:lnTo>
                      <a:cubicBezTo>
                        <a:pt x="848563" y="1769139"/>
                        <a:pt x="838810" y="1769139"/>
                        <a:pt x="829056" y="1769139"/>
                      </a:cubicBezTo>
                      <a:cubicBezTo>
                        <a:pt x="799795" y="1769139"/>
                        <a:pt x="770534" y="1749632"/>
                        <a:pt x="760781" y="1730125"/>
                      </a:cubicBezTo>
                      <a:cubicBezTo>
                        <a:pt x="741274" y="1691111"/>
                        <a:pt x="760781" y="1652096"/>
                        <a:pt x="790042" y="1632589"/>
                      </a:cubicBezTo>
                      <a:lnTo>
                        <a:pt x="1189939" y="1427763"/>
                      </a:lnTo>
                      <a:cubicBezTo>
                        <a:pt x="1199693" y="1427763"/>
                        <a:pt x="1199693" y="1418010"/>
                        <a:pt x="1209446" y="1418010"/>
                      </a:cubicBezTo>
                      <a:cubicBezTo>
                        <a:pt x="1248461" y="1388749"/>
                        <a:pt x="1267968" y="1330227"/>
                        <a:pt x="1248461" y="1291213"/>
                      </a:cubicBezTo>
                      <a:cubicBezTo>
                        <a:pt x="1228954" y="1252199"/>
                        <a:pt x="1180186" y="1222938"/>
                        <a:pt x="1131418" y="1242445"/>
                      </a:cubicBezTo>
                      <a:lnTo>
                        <a:pt x="399898" y="1613082"/>
                      </a:lnTo>
                      <a:cubicBezTo>
                        <a:pt x="312115" y="1661850"/>
                        <a:pt x="243840" y="1739879"/>
                        <a:pt x="204826" y="1827661"/>
                      </a:cubicBezTo>
                      <a:close/>
                    </a:path>
                  </a:pathLst>
                </a:custGeom>
                <a:grpFill/>
                <a:ln w="97536" cap="flat">
                  <a:noFill/>
                  <a:prstDash val="solid"/>
                  <a:miter/>
                </a:ln>
              </p:spPr>
              <p:txBody>
                <a:bodyPr/>
                <a:lstStyle/>
                <a:p>
                  <a:endParaRPr lang="en-US"/>
                </a:p>
              </p:txBody>
            </p:sp>
            <p:sp>
              <p:nvSpPr>
                <p:cNvPr id="158" name="Freeform: Shape 157">
                  <a:extLst>
                    <a:ext uri="{FF2B5EF4-FFF2-40B4-BE49-F238E27FC236}">
                      <a16:creationId xmlns:a16="http://schemas.microsoft.com/office/drawing/2014/main" id="{5E33B18B-AFAE-E504-4B6E-DE1B3CF815EF}"/>
                    </a:ext>
                  </a:extLst>
                </p:cNvPr>
                <p:cNvSpPr/>
                <p:nvPr/>
              </p:nvSpPr>
              <p:spPr>
                <a:xfrm>
                  <a:off x="6252057" y="5106619"/>
                  <a:ext cx="1141171" cy="663244"/>
                </a:xfrm>
                <a:custGeom>
                  <a:avLst/>
                  <a:gdLst>
                    <a:gd name="csX0" fmla="*/ 0 w 1141171"/>
                    <a:gd name="csY0" fmla="*/ 107289 h 663244"/>
                    <a:gd name="csX1" fmla="*/ 0 w 1141171"/>
                    <a:gd name="csY1" fmla="*/ 555955 h 663244"/>
                    <a:gd name="csX2" fmla="*/ 107290 w 1141171"/>
                    <a:gd name="csY2" fmla="*/ 663245 h 663244"/>
                    <a:gd name="csX3" fmla="*/ 1033882 w 1141171"/>
                    <a:gd name="csY3" fmla="*/ 663245 h 663244"/>
                    <a:gd name="csX4" fmla="*/ 1141171 w 1141171"/>
                    <a:gd name="csY4" fmla="*/ 555955 h 663244"/>
                    <a:gd name="csX5" fmla="*/ 1141171 w 1141171"/>
                    <a:gd name="csY5" fmla="*/ 107289 h 663244"/>
                    <a:gd name="csX6" fmla="*/ 1033882 w 1141171"/>
                    <a:gd name="csY6" fmla="*/ 0 h 663244"/>
                    <a:gd name="csX7" fmla="*/ 107290 w 1141171"/>
                    <a:gd name="csY7" fmla="*/ 0 h 663244"/>
                    <a:gd name="csX8" fmla="*/ 0 w 1141171"/>
                    <a:gd name="csY8" fmla="*/ 107289 h 663244"/>
                    <a:gd name="csX9" fmla="*/ 780288 w 1141171"/>
                    <a:gd name="csY9" fmla="*/ 331622 h 663244"/>
                    <a:gd name="csX10" fmla="*/ 858317 w 1141171"/>
                    <a:gd name="csY10" fmla="*/ 253593 h 663244"/>
                    <a:gd name="csX11" fmla="*/ 916838 w 1141171"/>
                    <a:gd name="csY11" fmla="*/ 253593 h 663244"/>
                    <a:gd name="csX12" fmla="*/ 994867 w 1141171"/>
                    <a:gd name="csY12" fmla="*/ 331622 h 663244"/>
                    <a:gd name="csX13" fmla="*/ 916838 w 1141171"/>
                    <a:gd name="csY13" fmla="*/ 409651 h 663244"/>
                    <a:gd name="csX14" fmla="*/ 848563 w 1141171"/>
                    <a:gd name="csY14" fmla="*/ 409651 h 663244"/>
                    <a:gd name="csX15" fmla="*/ 780288 w 1141171"/>
                    <a:gd name="csY15" fmla="*/ 331622 h 66324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141171" h="663244">
                      <a:moveTo>
                        <a:pt x="0" y="107289"/>
                      </a:moveTo>
                      <a:lnTo>
                        <a:pt x="0" y="555955"/>
                      </a:lnTo>
                      <a:cubicBezTo>
                        <a:pt x="0" y="614477"/>
                        <a:pt x="48768" y="663245"/>
                        <a:pt x="107290" y="663245"/>
                      </a:cubicBezTo>
                      <a:lnTo>
                        <a:pt x="1033882" y="663245"/>
                      </a:lnTo>
                      <a:cubicBezTo>
                        <a:pt x="1092403" y="663245"/>
                        <a:pt x="1141171" y="614477"/>
                        <a:pt x="1141171" y="555955"/>
                      </a:cubicBezTo>
                      <a:lnTo>
                        <a:pt x="1141171" y="107289"/>
                      </a:lnTo>
                      <a:cubicBezTo>
                        <a:pt x="1141171" y="48768"/>
                        <a:pt x="1092403" y="0"/>
                        <a:pt x="1033882" y="0"/>
                      </a:cubicBezTo>
                      <a:lnTo>
                        <a:pt x="107290" y="0"/>
                      </a:lnTo>
                      <a:cubicBezTo>
                        <a:pt x="48768" y="0"/>
                        <a:pt x="0" y="48768"/>
                        <a:pt x="0" y="107289"/>
                      </a:cubicBezTo>
                      <a:close/>
                      <a:moveTo>
                        <a:pt x="780288" y="331622"/>
                      </a:moveTo>
                      <a:cubicBezTo>
                        <a:pt x="780288" y="292608"/>
                        <a:pt x="809549" y="253593"/>
                        <a:pt x="858317" y="253593"/>
                      </a:cubicBezTo>
                      <a:lnTo>
                        <a:pt x="916838" y="253593"/>
                      </a:lnTo>
                      <a:cubicBezTo>
                        <a:pt x="955853" y="253593"/>
                        <a:pt x="994867" y="282854"/>
                        <a:pt x="994867" y="331622"/>
                      </a:cubicBezTo>
                      <a:cubicBezTo>
                        <a:pt x="994867" y="370637"/>
                        <a:pt x="965606" y="409651"/>
                        <a:pt x="916838" y="409651"/>
                      </a:cubicBezTo>
                      <a:lnTo>
                        <a:pt x="848563" y="409651"/>
                      </a:lnTo>
                      <a:cubicBezTo>
                        <a:pt x="809549" y="409651"/>
                        <a:pt x="780288" y="370637"/>
                        <a:pt x="780288" y="331622"/>
                      </a:cubicBezTo>
                      <a:close/>
                    </a:path>
                  </a:pathLst>
                </a:custGeom>
                <a:grpFill/>
                <a:ln w="97536" cap="flat">
                  <a:noFill/>
                  <a:prstDash val="solid"/>
                  <a:miter/>
                </a:ln>
              </p:spPr>
              <p:txBody>
                <a:bodyPr/>
                <a:lstStyle/>
                <a:p>
                  <a:endParaRPr lang="en-US"/>
                </a:p>
              </p:txBody>
            </p:sp>
          </p:grpSp>
        </p:grpSp>
      </p:grpSp>
      <p:grpSp>
        <p:nvGrpSpPr>
          <p:cNvPr id="173" name="Group 172">
            <a:extLst>
              <a:ext uri="{FF2B5EF4-FFF2-40B4-BE49-F238E27FC236}">
                <a16:creationId xmlns:a16="http://schemas.microsoft.com/office/drawing/2014/main" id="{43BE0229-B91E-DAB8-4E5B-B117686E29F9}"/>
              </a:ext>
            </a:extLst>
          </p:cNvPr>
          <p:cNvGrpSpPr/>
          <p:nvPr/>
        </p:nvGrpSpPr>
        <p:grpSpPr>
          <a:xfrm>
            <a:off x="6250778" y="1440815"/>
            <a:ext cx="354334" cy="354334"/>
            <a:chOff x="6250778" y="1440815"/>
            <a:chExt cx="354334" cy="354334"/>
          </a:xfrm>
        </p:grpSpPr>
        <p:sp>
          <p:nvSpPr>
            <p:cNvPr id="39" name="Oval 38">
              <a:extLst>
                <a:ext uri="{FF2B5EF4-FFF2-40B4-BE49-F238E27FC236}">
                  <a16:creationId xmlns:a16="http://schemas.microsoft.com/office/drawing/2014/main" id="{A9FE9B5D-143F-BB9A-C557-3AF55D173F6A}"/>
                </a:ext>
              </a:extLst>
            </p:cNvPr>
            <p:cNvSpPr/>
            <p:nvPr/>
          </p:nvSpPr>
          <p:spPr>
            <a:xfrm>
              <a:off x="6250778"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9" name="Graphic 167">
              <a:extLst>
                <a:ext uri="{FF2B5EF4-FFF2-40B4-BE49-F238E27FC236}">
                  <a16:creationId xmlns:a16="http://schemas.microsoft.com/office/drawing/2014/main" id="{83BA8690-61F1-2414-790D-3EE5169E7F1D}"/>
                </a:ext>
              </a:extLst>
            </p:cNvPr>
            <p:cNvGrpSpPr/>
            <p:nvPr/>
          </p:nvGrpSpPr>
          <p:grpSpPr>
            <a:xfrm>
              <a:off x="6347934" y="1498850"/>
              <a:ext cx="179072" cy="200166"/>
              <a:chOff x="4010025" y="1062044"/>
              <a:chExt cx="4171176" cy="4662480"/>
            </a:xfrm>
            <a:solidFill>
              <a:srgbClr val="2B660F"/>
            </a:solidFill>
          </p:grpSpPr>
          <p:sp>
            <p:nvSpPr>
              <p:cNvPr id="170" name="Freeform: Shape 169">
                <a:extLst>
                  <a:ext uri="{FF2B5EF4-FFF2-40B4-BE49-F238E27FC236}">
                    <a16:creationId xmlns:a16="http://schemas.microsoft.com/office/drawing/2014/main" id="{22F116F9-79E2-DE9F-FB9A-63E47FF20CE3}"/>
                  </a:ext>
                </a:extLst>
              </p:cNvPr>
              <p:cNvSpPr/>
              <p:nvPr/>
            </p:nvSpPr>
            <p:spPr>
              <a:xfrm>
                <a:off x="4808801" y="4279077"/>
                <a:ext cx="3372400" cy="1416157"/>
              </a:xfrm>
              <a:custGeom>
                <a:avLst/>
                <a:gdLst>
                  <a:gd name="csX0" fmla="*/ 3362097 w 3372400"/>
                  <a:gd name="csY0" fmla="*/ 156724 h 1416157"/>
                  <a:gd name="csX1" fmla="*/ 3240415 w 3372400"/>
                  <a:gd name="csY1" fmla="*/ 78934 h 1416157"/>
                  <a:gd name="csX2" fmla="*/ 3088167 w 3372400"/>
                  <a:gd name="csY2" fmla="*/ 127111 h 1416157"/>
                  <a:gd name="csX3" fmla="*/ 2046770 w 3372400"/>
                  <a:gd name="csY3" fmla="*/ 656015 h 1416157"/>
                  <a:gd name="csX4" fmla="*/ 1705528 w 3372400"/>
                  <a:gd name="csY4" fmla="*/ 832799 h 1416157"/>
                  <a:gd name="csX5" fmla="*/ 1673971 w 3372400"/>
                  <a:gd name="csY5" fmla="*/ 834152 h 1416157"/>
                  <a:gd name="csX6" fmla="*/ 1230782 w 3372400"/>
                  <a:gd name="csY6" fmla="*/ 716899 h 1416157"/>
                  <a:gd name="csX7" fmla="*/ 858212 w 3372400"/>
                  <a:gd name="csY7" fmla="*/ 596046 h 1416157"/>
                  <a:gd name="csX8" fmla="*/ 806244 w 3372400"/>
                  <a:gd name="csY8" fmla="*/ 509406 h 1416157"/>
                  <a:gd name="csX9" fmla="*/ 892883 w 3372400"/>
                  <a:gd name="csY9" fmla="*/ 457448 h 1416157"/>
                  <a:gd name="csX10" fmla="*/ 1279522 w 3372400"/>
                  <a:gd name="csY10" fmla="*/ 582596 h 1416157"/>
                  <a:gd name="csX11" fmla="*/ 1692993 w 3372400"/>
                  <a:gd name="csY11" fmla="*/ 690467 h 1416157"/>
                  <a:gd name="csX12" fmla="*/ 1932499 w 3372400"/>
                  <a:gd name="csY12" fmla="*/ 570319 h 1416157"/>
                  <a:gd name="csX13" fmla="*/ 1937728 w 3372400"/>
                  <a:gd name="csY13" fmla="*/ 563461 h 1416157"/>
                  <a:gd name="csX14" fmla="*/ 1940595 w 3372400"/>
                  <a:gd name="csY14" fmla="*/ 558270 h 1416157"/>
                  <a:gd name="csX15" fmla="*/ 1941319 w 3372400"/>
                  <a:gd name="csY15" fmla="*/ 412604 h 1416157"/>
                  <a:gd name="csX16" fmla="*/ 697868 w 3372400"/>
                  <a:gd name="csY16" fmla="*/ 1353 h 1416157"/>
                  <a:gd name="csX17" fmla="*/ 643719 w 3372400"/>
                  <a:gd name="csY17" fmla="*/ 0 h 1416157"/>
                  <a:gd name="csX18" fmla="*/ 0 w 3372400"/>
                  <a:gd name="csY18" fmla="*/ 242630 h 1416157"/>
                  <a:gd name="csX19" fmla="*/ 8030 w 3372400"/>
                  <a:gd name="csY19" fmla="*/ 1177290 h 1416157"/>
                  <a:gd name="csX20" fmla="*/ 934060 w 3372400"/>
                  <a:gd name="csY20" fmla="*/ 1416158 h 1416157"/>
                  <a:gd name="csX21" fmla="*/ 1511894 w 3372400"/>
                  <a:gd name="csY21" fmla="*/ 1337243 h 1416157"/>
                  <a:gd name="csX22" fmla="*/ 3274600 w 3372400"/>
                  <a:gd name="csY22" fmla="*/ 411528 h 1416157"/>
                  <a:gd name="csX23" fmla="*/ 3362097 w 3372400"/>
                  <a:gd name="csY23" fmla="*/ 156724 h 141615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3372400" h="1416157">
                    <a:moveTo>
                      <a:pt x="3362097" y="156724"/>
                    </a:moveTo>
                    <a:cubicBezTo>
                      <a:pt x="3342418" y="106556"/>
                      <a:pt x="3299203" y="78934"/>
                      <a:pt x="3240415" y="78934"/>
                    </a:cubicBezTo>
                    <a:cubicBezTo>
                      <a:pt x="3195428" y="78934"/>
                      <a:pt x="3142784" y="95593"/>
                      <a:pt x="3088167" y="127111"/>
                    </a:cubicBezTo>
                    <a:cubicBezTo>
                      <a:pt x="2764431" y="313982"/>
                      <a:pt x="2417616" y="508368"/>
                      <a:pt x="2046770" y="656015"/>
                    </a:cubicBezTo>
                    <a:cubicBezTo>
                      <a:pt x="1978028" y="754170"/>
                      <a:pt x="1851308" y="820093"/>
                      <a:pt x="1705528" y="832799"/>
                    </a:cubicBezTo>
                    <a:cubicBezTo>
                      <a:pt x="1695260" y="833714"/>
                      <a:pt x="1684734" y="834152"/>
                      <a:pt x="1673971" y="834152"/>
                    </a:cubicBezTo>
                    <a:cubicBezTo>
                      <a:pt x="1553823" y="834152"/>
                      <a:pt x="1403090" y="779440"/>
                      <a:pt x="1230782" y="716899"/>
                    </a:cubicBezTo>
                    <a:cubicBezTo>
                      <a:pt x="1110329" y="673179"/>
                      <a:pt x="985771" y="627964"/>
                      <a:pt x="858212" y="596046"/>
                    </a:cubicBezTo>
                    <a:cubicBezTo>
                      <a:pt x="819941" y="586473"/>
                      <a:pt x="796671" y="547688"/>
                      <a:pt x="806244" y="509406"/>
                    </a:cubicBezTo>
                    <a:cubicBezTo>
                      <a:pt x="815826" y="471116"/>
                      <a:pt x="854612" y="447837"/>
                      <a:pt x="892883" y="457448"/>
                    </a:cubicBezTo>
                    <a:cubicBezTo>
                      <a:pt x="1027595" y="491147"/>
                      <a:pt x="1161431" y="539734"/>
                      <a:pt x="1279522" y="582596"/>
                    </a:cubicBezTo>
                    <a:cubicBezTo>
                      <a:pt x="1444114" y="642328"/>
                      <a:pt x="1599533" y="698773"/>
                      <a:pt x="1692993" y="690467"/>
                    </a:cubicBezTo>
                    <a:cubicBezTo>
                      <a:pt x="1797691" y="681342"/>
                      <a:pt x="1889427" y="635308"/>
                      <a:pt x="1932499" y="570319"/>
                    </a:cubicBezTo>
                    <a:cubicBezTo>
                      <a:pt x="1934108" y="567890"/>
                      <a:pt x="1935880" y="565633"/>
                      <a:pt x="1937728" y="563461"/>
                    </a:cubicBezTo>
                    <a:cubicBezTo>
                      <a:pt x="1938680" y="561727"/>
                      <a:pt x="1939490" y="559936"/>
                      <a:pt x="1940595" y="558270"/>
                    </a:cubicBezTo>
                    <a:cubicBezTo>
                      <a:pt x="1956940" y="533648"/>
                      <a:pt x="1974409" y="492004"/>
                      <a:pt x="1941319" y="412604"/>
                    </a:cubicBezTo>
                    <a:cubicBezTo>
                      <a:pt x="1853394" y="334051"/>
                      <a:pt x="1091222" y="51863"/>
                      <a:pt x="697868" y="1353"/>
                    </a:cubicBezTo>
                    <a:cubicBezTo>
                      <a:pt x="679637" y="457"/>
                      <a:pt x="661435" y="0"/>
                      <a:pt x="643719" y="0"/>
                    </a:cubicBezTo>
                    <a:cubicBezTo>
                      <a:pt x="416833" y="0"/>
                      <a:pt x="228276" y="70647"/>
                      <a:pt x="0" y="242630"/>
                    </a:cubicBezTo>
                    <a:cubicBezTo>
                      <a:pt x="2648" y="554183"/>
                      <a:pt x="5315" y="865699"/>
                      <a:pt x="8030" y="1177290"/>
                    </a:cubicBezTo>
                    <a:cubicBezTo>
                      <a:pt x="281902" y="1333681"/>
                      <a:pt x="601161" y="1416158"/>
                      <a:pt x="934060" y="1416158"/>
                    </a:cubicBezTo>
                    <a:cubicBezTo>
                      <a:pt x="1125264" y="1416158"/>
                      <a:pt x="1319670" y="1389612"/>
                      <a:pt x="1511894" y="1337243"/>
                    </a:cubicBezTo>
                    <a:cubicBezTo>
                      <a:pt x="2059153" y="1188272"/>
                      <a:pt x="2635796" y="885434"/>
                      <a:pt x="3274600" y="411528"/>
                    </a:cubicBezTo>
                    <a:cubicBezTo>
                      <a:pt x="3375527" y="316297"/>
                      <a:pt x="3384947" y="214941"/>
                      <a:pt x="3362097" y="156724"/>
                    </a:cubicBezTo>
                    <a:close/>
                  </a:path>
                </a:pathLst>
              </a:custGeom>
              <a:grpFill/>
              <a:ln w="9525" cap="flat">
                <a:noFill/>
                <a:prstDash val="solid"/>
                <a:miter/>
              </a:ln>
            </p:spPr>
            <p:txBody>
              <a:bodyPr/>
              <a:lstStyle/>
              <a:p>
                <a:endParaRPr lang="en-US"/>
              </a:p>
            </p:txBody>
          </p:sp>
          <p:sp>
            <p:nvSpPr>
              <p:cNvPr id="171" name="Freeform: Shape 170">
                <a:extLst>
                  <a:ext uri="{FF2B5EF4-FFF2-40B4-BE49-F238E27FC236}">
                    <a16:creationId xmlns:a16="http://schemas.microsoft.com/office/drawing/2014/main" id="{CE1888D1-2263-332C-07A9-D6B79DBF23DB}"/>
                  </a:ext>
                </a:extLst>
              </p:cNvPr>
              <p:cNvSpPr/>
              <p:nvPr/>
            </p:nvSpPr>
            <p:spPr>
              <a:xfrm>
                <a:off x="4010025" y="4152900"/>
                <a:ext cx="657225" cy="1571625"/>
              </a:xfrm>
              <a:custGeom>
                <a:avLst/>
                <a:gdLst>
                  <a:gd name="csX0" fmla="*/ 635403 w 657225"/>
                  <a:gd name="csY0" fmla="*/ 0 h 1571625"/>
                  <a:gd name="csX1" fmla="*/ 20803 w 657225"/>
                  <a:gd name="csY1" fmla="*/ 0 h 1571625"/>
                  <a:gd name="csX2" fmla="*/ 0 w 657225"/>
                  <a:gd name="csY2" fmla="*/ 14268 h 1571625"/>
                  <a:gd name="csX3" fmla="*/ 0 w 657225"/>
                  <a:gd name="csY3" fmla="*/ 1559852 h 1571625"/>
                  <a:gd name="csX4" fmla="*/ 20803 w 657225"/>
                  <a:gd name="csY4" fmla="*/ 1571625 h 1571625"/>
                  <a:gd name="csX5" fmla="*/ 635403 w 657225"/>
                  <a:gd name="csY5" fmla="*/ 1571625 h 1571625"/>
                  <a:gd name="csX6" fmla="*/ 657225 w 657225"/>
                  <a:gd name="csY6" fmla="*/ 1559852 h 1571625"/>
                  <a:gd name="csX7" fmla="*/ 657225 w 657225"/>
                  <a:gd name="csY7" fmla="*/ 14268 h 1571625"/>
                  <a:gd name="csX8" fmla="*/ 635403 w 657225"/>
                  <a:gd name="csY8" fmla="*/ 0 h 15716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657225" h="1571625">
                    <a:moveTo>
                      <a:pt x="635403" y="0"/>
                    </a:moveTo>
                    <a:lnTo>
                      <a:pt x="20803" y="0"/>
                    </a:lnTo>
                    <a:cubicBezTo>
                      <a:pt x="8258" y="0"/>
                      <a:pt x="0" y="10125"/>
                      <a:pt x="0" y="14268"/>
                    </a:cubicBezTo>
                    <a:lnTo>
                      <a:pt x="0" y="1559852"/>
                    </a:lnTo>
                    <a:cubicBezTo>
                      <a:pt x="0" y="1564005"/>
                      <a:pt x="8258" y="1571625"/>
                      <a:pt x="20803" y="1571625"/>
                    </a:cubicBezTo>
                    <a:lnTo>
                      <a:pt x="635403" y="1571625"/>
                    </a:lnTo>
                    <a:cubicBezTo>
                      <a:pt x="647948" y="1571625"/>
                      <a:pt x="657225" y="1563996"/>
                      <a:pt x="657225" y="1559852"/>
                    </a:cubicBezTo>
                    <a:lnTo>
                      <a:pt x="657225" y="14268"/>
                    </a:lnTo>
                    <a:cubicBezTo>
                      <a:pt x="657225" y="10125"/>
                      <a:pt x="647948" y="0"/>
                      <a:pt x="635403" y="0"/>
                    </a:cubicBezTo>
                    <a:close/>
                  </a:path>
                </a:pathLst>
              </a:custGeom>
              <a:grpFill/>
              <a:ln w="9525" cap="flat">
                <a:noFill/>
                <a:prstDash val="solid"/>
                <a:miter/>
              </a:ln>
            </p:spPr>
            <p:txBody>
              <a:bodyPr/>
              <a:lstStyle/>
              <a:p>
                <a:endParaRPr lang="en-US"/>
              </a:p>
            </p:txBody>
          </p:sp>
          <p:sp>
            <p:nvSpPr>
              <p:cNvPr id="172" name="Freeform: Shape 171">
                <a:extLst>
                  <a:ext uri="{FF2B5EF4-FFF2-40B4-BE49-F238E27FC236}">
                    <a16:creationId xmlns:a16="http://schemas.microsoft.com/office/drawing/2014/main" id="{351550A1-FFC4-1516-C1EE-7F4B741F9E8D}"/>
                  </a:ext>
                </a:extLst>
              </p:cNvPr>
              <p:cNvSpPr/>
              <p:nvPr/>
            </p:nvSpPr>
            <p:spPr>
              <a:xfrm>
                <a:off x="5214818" y="1062044"/>
                <a:ext cx="1762104" cy="2847334"/>
              </a:xfrm>
              <a:custGeom>
                <a:avLst/>
                <a:gdLst>
                  <a:gd name="csX0" fmla="*/ 1760263 w 1762104"/>
                  <a:gd name="csY0" fmla="*/ 2015102 h 2847334"/>
                  <a:gd name="csX1" fmla="*/ 983985 w 1762104"/>
                  <a:gd name="csY1" fmla="*/ 66554 h 2847334"/>
                  <a:gd name="csX2" fmla="*/ 774930 w 1762104"/>
                  <a:gd name="csY2" fmla="*/ 69402 h 2847334"/>
                  <a:gd name="csX3" fmla="*/ 1881 w 1762104"/>
                  <a:gd name="csY3" fmla="*/ 2015102 h 2847334"/>
                  <a:gd name="csX4" fmla="*/ 1760263 w 1762104"/>
                  <a:gd name="csY4" fmla="*/ 2015102 h 2847334"/>
                  <a:gd name="csX5" fmla="*/ 561103 w 1762104"/>
                  <a:gd name="csY5" fmla="*/ 1414456 h 2847334"/>
                  <a:gd name="csX6" fmla="*/ 690681 w 1762104"/>
                  <a:gd name="csY6" fmla="*/ 1414456 h 2847334"/>
                  <a:gd name="csX7" fmla="*/ 690681 w 1762104"/>
                  <a:gd name="csY7" fmla="*/ 1286030 h 2847334"/>
                  <a:gd name="csX8" fmla="*/ 881181 w 1762104"/>
                  <a:gd name="csY8" fmla="*/ 1092568 h 2847334"/>
                  <a:gd name="csX9" fmla="*/ 1071681 w 1762104"/>
                  <a:gd name="csY9" fmla="*/ 1286030 h 2847334"/>
                  <a:gd name="csX10" fmla="*/ 1071681 w 1762104"/>
                  <a:gd name="csY10" fmla="*/ 1414456 h 2847334"/>
                  <a:gd name="csX11" fmla="*/ 1201031 w 1762104"/>
                  <a:gd name="csY11" fmla="*/ 1414456 h 2847334"/>
                  <a:gd name="csX12" fmla="*/ 1394512 w 1762104"/>
                  <a:gd name="csY12" fmla="*/ 1604956 h 2847334"/>
                  <a:gd name="csX13" fmla="*/ 1201031 w 1762104"/>
                  <a:gd name="csY13" fmla="*/ 1795456 h 2847334"/>
                  <a:gd name="csX14" fmla="*/ 1071681 w 1762104"/>
                  <a:gd name="csY14" fmla="*/ 1795456 h 2847334"/>
                  <a:gd name="csX15" fmla="*/ 1071681 w 1762104"/>
                  <a:gd name="csY15" fmla="*/ 1925977 h 2847334"/>
                  <a:gd name="csX16" fmla="*/ 881181 w 1762104"/>
                  <a:gd name="csY16" fmla="*/ 2119458 h 2847334"/>
                  <a:gd name="csX17" fmla="*/ 690681 w 1762104"/>
                  <a:gd name="csY17" fmla="*/ 1925977 h 2847334"/>
                  <a:gd name="csX18" fmla="*/ 690681 w 1762104"/>
                  <a:gd name="csY18" fmla="*/ 1795456 h 2847334"/>
                  <a:gd name="csX19" fmla="*/ 561103 w 1762104"/>
                  <a:gd name="csY19" fmla="*/ 1795456 h 2847334"/>
                  <a:gd name="csX20" fmla="*/ 367622 w 1762104"/>
                  <a:gd name="csY20" fmla="*/ 1604956 h 2847334"/>
                  <a:gd name="csX21" fmla="*/ 561103 w 1762104"/>
                  <a:gd name="csY21" fmla="*/ 1414456 h 284733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1762104" h="2847334">
                    <a:moveTo>
                      <a:pt x="1760263" y="2015102"/>
                    </a:moveTo>
                    <a:cubicBezTo>
                      <a:pt x="1795991" y="1281611"/>
                      <a:pt x="1303872" y="528297"/>
                      <a:pt x="983985" y="66554"/>
                    </a:cubicBezTo>
                    <a:cubicBezTo>
                      <a:pt x="918043" y="-23276"/>
                      <a:pt x="843510" y="-22019"/>
                      <a:pt x="774930" y="69402"/>
                    </a:cubicBezTo>
                    <a:cubicBezTo>
                      <a:pt x="455642" y="529659"/>
                      <a:pt x="-34152" y="1274772"/>
                      <a:pt x="1881" y="2015102"/>
                    </a:cubicBezTo>
                    <a:cubicBezTo>
                      <a:pt x="88797" y="3125755"/>
                      <a:pt x="1673518" y="3123736"/>
                      <a:pt x="1760263" y="2015102"/>
                    </a:cubicBezTo>
                    <a:close/>
                    <a:moveTo>
                      <a:pt x="561103" y="1414456"/>
                    </a:moveTo>
                    <a:lnTo>
                      <a:pt x="690681" y="1414456"/>
                    </a:lnTo>
                    <a:lnTo>
                      <a:pt x="690681" y="1286030"/>
                    </a:lnTo>
                    <a:cubicBezTo>
                      <a:pt x="690681" y="1179617"/>
                      <a:pt x="774730" y="1092568"/>
                      <a:pt x="881181" y="1092568"/>
                    </a:cubicBezTo>
                    <a:cubicBezTo>
                      <a:pt x="987595" y="1092568"/>
                      <a:pt x="1071681" y="1179617"/>
                      <a:pt x="1071681" y="1286030"/>
                    </a:cubicBezTo>
                    <a:lnTo>
                      <a:pt x="1071681" y="1414456"/>
                    </a:lnTo>
                    <a:lnTo>
                      <a:pt x="1201031" y="1414456"/>
                    </a:lnTo>
                    <a:cubicBezTo>
                      <a:pt x="1307444" y="1414456"/>
                      <a:pt x="1394512" y="1498552"/>
                      <a:pt x="1394512" y="1604956"/>
                    </a:cubicBezTo>
                    <a:cubicBezTo>
                      <a:pt x="1394512" y="1711369"/>
                      <a:pt x="1307435" y="1795456"/>
                      <a:pt x="1201031" y="1795456"/>
                    </a:cubicBezTo>
                    <a:lnTo>
                      <a:pt x="1071681" y="1795456"/>
                    </a:lnTo>
                    <a:lnTo>
                      <a:pt x="1071681" y="1925977"/>
                    </a:lnTo>
                    <a:cubicBezTo>
                      <a:pt x="1071681" y="2032381"/>
                      <a:pt x="987595" y="2119458"/>
                      <a:pt x="881181" y="2119458"/>
                    </a:cubicBezTo>
                    <a:cubicBezTo>
                      <a:pt x="774730" y="2119458"/>
                      <a:pt x="690681" y="2032381"/>
                      <a:pt x="690681" y="1925977"/>
                    </a:cubicBezTo>
                    <a:lnTo>
                      <a:pt x="690681" y="1795456"/>
                    </a:lnTo>
                    <a:lnTo>
                      <a:pt x="561103" y="1795456"/>
                    </a:lnTo>
                    <a:cubicBezTo>
                      <a:pt x="454700" y="1795456"/>
                      <a:pt x="367622" y="1711369"/>
                      <a:pt x="367622" y="1604956"/>
                    </a:cubicBezTo>
                    <a:cubicBezTo>
                      <a:pt x="367622" y="1498552"/>
                      <a:pt x="454700" y="1414456"/>
                      <a:pt x="561103" y="1414456"/>
                    </a:cubicBezTo>
                    <a:close/>
                  </a:path>
                </a:pathLst>
              </a:custGeom>
              <a:grpFill/>
              <a:ln w="9525" cap="flat">
                <a:noFill/>
                <a:prstDash val="solid"/>
                <a:miter/>
              </a:ln>
            </p:spPr>
            <p:txBody>
              <a:bodyPr/>
              <a:lstStyle/>
              <a:p>
                <a:endParaRPr lang="en-US"/>
              </a:p>
            </p:txBody>
          </p:sp>
        </p:grpSp>
      </p:grpSp>
      <p:grpSp>
        <p:nvGrpSpPr>
          <p:cNvPr id="177" name="Group 176">
            <a:extLst>
              <a:ext uri="{FF2B5EF4-FFF2-40B4-BE49-F238E27FC236}">
                <a16:creationId xmlns:a16="http://schemas.microsoft.com/office/drawing/2014/main" id="{1938BB0D-268A-D4DF-6F1B-49FC86334D5F}"/>
              </a:ext>
            </a:extLst>
          </p:cNvPr>
          <p:cNvGrpSpPr/>
          <p:nvPr/>
        </p:nvGrpSpPr>
        <p:grpSpPr>
          <a:xfrm>
            <a:off x="6250778" y="3357635"/>
            <a:ext cx="354334" cy="354334"/>
            <a:chOff x="6250778" y="3357635"/>
            <a:chExt cx="354334" cy="354334"/>
          </a:xfrm>
        </p:grpSpPr>
        <p:sp>
          <p:nvSpPr>
            <p:cNvPr id="40" name="Oval 39">
              <a:extLst>
                <a:ext uri="{FF2B5EF4-FFF2-40B4-BE49-F238E27FC236}">
                  <a16:creationId xmlns:a16="http://schemas.microsoft.com/office/drawing/2014/main" id="{1EDFDBD4-722D-F340-49A3-EF12E54D600B}"/>
                </a:ext>
              </a:extLst>
            </p:cNvPr>
            <p:cNvSpPr/>
            <p:nvPr/>
          </p:nvSpPr>
          <p:spPr>
            <a:xfrm>
              <a:off x="6250778" y="335763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Graphic 174">
              <a:extLst>
                <a:ext uri="{FF2B5EF4-FFF2-40B4-BE49-F238E27FC236}">
                  <a16:creationId xmlns:a16="http://schemas.microsoft.com/office/drawing/2014/main" id="{3A6DF384-A103-F51E-4E28-772FBD34C567}"/>
                </a:ext>
              </a:extLst>
            </p:cNvPr>
            <p:cNvSpPr/>
            <p:nvPr/>
          </p:nvSpPr>
          <p:spPr>
            <a:xfrm>
              <a:off x="6327768" y="3434645"/>
              <a:ext cx="200354" cy="200315"/>
            </a:xfrm>
            <a:custGeom>
              <a:avLst/>
              <a:gdLst>
                <a:gd name="csX0" fmla="*/ 4571536 w 4571547"/>
                <a:gd name="csY0" fmla="*/ 2235994 h 4570666"/>
                <a:gd name="csX1" fmla="*/ 4524970 w 4571547"/>
                <a:gd name="csY1" fmla="*/ 2284655 h 4570666"/>
                <a:gd name="csX2" fmla="*/ 4523911 w 4571547"/>
                <a:gd name="csY2" fmla="*/ 2284667 h 4570666"/>
                <a:gd name="csX3" fmla="*/ 3695236 w 4571547"/>
                <a:gd name="csY3" fmla="*/ 2284667 h 4570666"/>
                <a:gd name="csX4" fmla="*/ 3647611 w 4571547"/>
                <a:gd name="csY4" fmla="*/ 2238566 h 4570666"/>
                <a:gd name="csX5" fmla="*/ 3301663 w 4571547"/>
                <a:gd name="csY5" fmla="*/ 1376362 h 4570666"/>
                <a:gd name="csX6" fmla="*/ 3954887 w 4571547"/>
                <a:gd name="csY6" fmla="*/ 723233 h 4570666"/>
                <a:gd name="csX7" fmla="*/ 4571536 w 4571547"/>
                <a:gd name="csY7" fmla="*/ 2235994 h 4570666"/>
                <a:gd name="csX8" fmla="*/ 3847636 w 4571547"/>
                <a:gd name="csY8" fmla="*/ 615220 h 4570666"/>
                <a:gd name="csX9" fmla="*/ 2361736 w 4571547"/>
                <a:gd name="csY9" fmla="*/ 0 h 4570666"/>
                <a:gd name="csX10" fmla="*/ 2361736 w 4571547"/>
                <a:gd name="csY10" fmla="*/ 923925 h 4570666"/>
                <a:gd name="csX11" fmla="*/ 3193744 w 4571547"/>
                <a:gd name="csY11" fmla="*/ 1268635 h 4570666"/>
                <a:gd name="csX12" fmla="*/ 2209336 w 4571547"/>
                <a:gd name="csY12" fmla="*/ 924020 h 4570666"/>
                <a:gd name="csX13" fmla="*/ 2209336 w 4571547"/>
                <a:gd name="csY13" fmla="*/ 95 h 4570666"/>
                <a:gd name="csX14" fmla="*/ 723912 w 4571547"/>
                <a:gd name="csY14" fmla="*/ 615220 h 4570666"/>
                <a:gd name="csX15" fmla="*/ 1377327 w 4571547"/>
                <a:gd name="csY15" fmla="*/ 1268730 h 4570666"/>
                <a:gd name="csX16" fmla="*/ 2209336 w 4571547"/>
                <a:gd name="csY16" fmla="*/ 924020 h 4570666"/>
                <a:gd name="csX17" fmla="*/ 923461 w 4571547"/>
                <a:gd name="csY17" fmla="*/ 2238470 h 4570666"/>
                <a:gd name="csX18" fmla="*/ 1269409 w 4571547"/>
                <a:gd name="csY18" fmla="*/ 1376267 h 4570666"/>
                <a:gd name="csX19" fmla="*/ 616184 w 4571547"/>
                <a:gd name="csY19" fmla="*/ 723233 h 4570666"/>
                <a:gd name="csX20" fmla="*/ 12 w 4571547"/>
                <a:gd name="csY20" fmla="*/ 2235994 h 4570666"/>
                <a:gd name="csX21" fmla="*/ 46577 w 4571547"/>
                <a:gd name="csY21" fmla="*/ 2284655 h 4570666"/>
                <a:gd name="csX22" fmla="*/ 47637 w 4571547"/>
                <a:gd name="csY22" fmla="*/ 2284667 h 4570666"/>
                <a:gd name="csX23" fmla="*/ 876312 w 4571547"/>
                <a:gd name="csY23" fmla="*/ 2284667 h 4570666"/>
                <a:gd name="csX24" fmla="*/ 923461 w 4571547"/>
                <a:gd name="csY24" fmla="*/ 2238566 h 4570666"/>
                <a:gd name="csX25" fmla="*/ 3809536 w 4571547"/>
                <a:gd name="csY25" fmla="*/ 4337018 h 4570666"/>
                <a:gd name="csX26" fmla="*/ 3752348 w 4571547"/>
                <a:gd name="csY26" fmla="*/ 4549845 h 4570666"/>
                <a:gd name="csX27" fmla="*/ 3674757 w 4571547"/>
                <a:gd name="csY27" fmla="*/ 4570667 h 4570666"/>
                <a:gd name="csX28" fmla="*/ 896505 w 4571547"/>
                <a:gd name="csY28" fmla="*/ 4570667 h 4570666"/>
                <a:gd name="csX29" fmla="*/ 740713 w 4571547"/>
                <a:gd name="csY29" fmla="*/ 4414800 h 4570666"/>
                <a:gd name="csX30" fmla="*/ 761536 w 4571547"/>
                <a:gd name="csY30" fmla="*/ 4337018 h 4570666"/>
                <a:gd name="csX31" fmla="*/ 2150662 w 4571547"/>
                <a:gd name="csY31" fmla="*/ 1931289 h 4570666"/>
                <a:gd name="csX32" fmla="*/ 2363395 w 4571547"/>
                <a:gd name="csY32" fmla="*/ 1874274 h 4570666"/>
                <a:gd name="csX33" fmla="*/ 2420410 w 4571547"/>
                <a:gd name="csY33" fmla="*/ 1931289 h 4570666"/>
                <a:gd name="csX34" fmla="*/ 2445175 w 4571547"/>
                <a:gd name="csY34" fmla="*/ 4048792 h 4570666"/>
                <a:gd name="csX35" fmla="*/ 2285536 w 4571547"/>
                <a:gd name="csY35" fmla="*/ 3889153 h 4570666"/>
                <a:gd name="csX36" fmla="*/ 2125897 w 4571547"/>
                <a:gd name="csY36" fmla="*/ 4048792 h 4570666"/>
                <a:gd name="csX37" fmla="*/ 2285536 w 4571547"/>
                <a:gd name="csY37" fmla="*/ 4208431 h 4570666"/>
                <a:gd name="csX38" fmla="*/ 2445175 w 4571547"/>
                <a:gd name="csY38" fmla="*/ 4048792 h 4570666"/>
                <a:gd name="csX39" fmla="*/ 2285536 w 4571547"/>
                <a:gd name="csY39" fmla="*/ 2621661 h 4570666"/>
                <a:gd name="csX40" fmla="*/ 2079156 w 4571547"/>
                <a:gd name="csY40" fmla="*/ 2826186 h 4570666"/>
                <a:gd name="csX41" fmla="*/ 2080462 w 4571547"/>
                <a:gd name="csY41" fmla="*/ 2850261 h 4570666"/>
                <a:gd name="csX42" fmla="*/ 2153519 w 4571547"/>
                <a:gd name="csY42" fmla="*/ 3523583 h 4570666"/>
                <a:gd name="csX43" fmla="*/ 2261437 w 4571547"/>
                <a:gd name="csY43" fmla="*/ 3620357 h 4570666"/>
                <a:gd name="csX44" fmla="*/ 2309634 w 4571547"/>
                <a:gd name="csY44" fmla="*/ 3620357 h 4570666"/>
                <a:gd name="csX45" fmla="*/ 2417552 w 4571547"/>
                <a:gd name="csY45" fmla="*/ 3523583 h 4570666"/>
                <a:gd name="csX46" fmla="*/ 2490799 w 4571547"/>
                <a:gd name="csY46" fmla="*/ 2849785 h 4570666"/>
                <a:gd name="csX47" fmla="*/ 2307658 w 4571547"/>
                <a:gd name="csY47" fmla="*/ 2622828 h 4570666"/>
                <a:gd name="csX48" fmla="*/ 2285536 w 4571547"/>
                <a:gd name="csY48" fmla="*/ 2621661 h 45706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Lst>
              <a:rect l="l" t="t" r="r" b="b"/>
              <a:pathLst>
                <a:path w="4571547" h="4570666">
                  <a:moveTo>
                    <a:pt x="4571536" y="2235994"/>
                  </a:moveTo>
                  <a:cubicBezTo>
                    <a:pt x="4572115" y="2262290"/>
                    <a:pt x="4551266" y="2284076"/>
                    <a:pt x="4524970" y="2284655"/>
                  </a:cubicBezTo>
                  <a:cubicBezTo>
                    <a:pt x="4524617" y="2284663"/>
                    <a:pt x="4524264" y="2284667"/>
                    <a:pt x="4523911" y="2284667"/>
                  </a:cubicBezTo>
                  <a:lnTo>
                    <a:pt x="3695236" y="2284667"/>
                  </a:lnTo>
                  <a:cubicBezTo>
                    <a:pt x="3669517" y="2284680"/>
                    <a:pt x="3648434" y="2264271"/>
                    <a:pt x="3647611" y="2238566"/>
                  </a:cubicBezTo>
                  <a:cubicBezTo>
                    <a:pt x="3637311" y="1919417"/>
                    <a:pt x="3514814" y="1614119"/>
                    <a:pt x="3301663" y="1376362"/>
                  </a:cubicBezTo>
                  <a:lnTo>
                    <a:pt x="3954887" y="723233"/>
                  </a:lnTo>
                  <a:cubicBezTo>
                    <a:pt x="4340424" y="1133888"/>
                    <a:pt x="4560116" y="1672837"/>
                    <a:pt x="4571536" y="2235994"/>
                  </a:cubicBezTo>
                  <a:close/>
                  <a:moveTo>
                    <a:pt x="3847636" y="615220"/>
                  </a:moveTo>
                  <a:cubicBezTo>
                    <a:pt x="3443619" y="236293"/>
                    <a:pt x="2915366" y="17576"/>
                    <a:pt x="2361736" y="0"/>
                  </a:cubicBezTo>
                  <a:lnTo>
                    <a:pt x="2361736" y="923925"/>
                  </a:lnTo>
                  <a:cubicBezTo>
                    <a:pt x="2670226" y="940768"/>
                    <a:pt x="2963734" y="1062371"/>
                    <a:pt x="3193744" y="1268635"/>
                  </a:cubicBezTo>
                  <a:close/>
                  <a:moveTo>
                    <a:pt x="2209336" y="924020"/>
                  </a:moveTo>
                  <a:lnTo>
                    <a:pt x="2209336" y="95"/>
                  </a:lnTo>
                  <a:cubicBezTo>
                    <a:pt x="1655878" y="17734"/>
                    <a:pt x="1127806" y="236412"/>
                    <a:pt x="723912" y="615220"/>
                  </a:cubicBezTo>
                  <a:lnTo>
                    <a:pt x="1377327" y="1268730"/>
                  </a:lnTo>
                  <a:cubicBezTo>
                    <a:pt x="1607346" y="1062480"/>
                    <a:pt x="1900849" y="940878"/>
                    <a:pt x="2209336" y="924020"/>
                  </a:cubicBezTo>
                  <a:close/>
                  <a:moveTo>
                    <a:pt x="923461" y="2238470"/>
                  </a:moveTo>
                  <a:cubicBezTo>
                    <a:pt x="933760" y="1919322"/>
                    <a:pt x="1056257" y="1614024"/>
                    <a:pt x="1269409" y="1376267"/>
                  </a:cubicBezTo>
                  <a:lnTo>
                    <a:pt x="616184" y="723233"/>
                  </a:lnTo>
                  <a:cubicBezTo>
                    <a:pt x="230821" y="1133960"/>
                    <a:pt x="11302" y="1672901"/>
                    <a:pt x="12" y="2235994"/>
                  </a:cubicBezTo>
                  <a:cubicBezTo>
                    <a:pt x="-567" y="2262290"/>
                    <a:pt x="20281" y="2284076"/>
                    <a:pt x="46577" y="2284655"/>
                  </a:cubicBezTo>
                  <a:cubicBezTo>
                    <a:pt x="46931" y="2284663"/>
                    <a:pt x="47284" y="2284667"/>
                    <a:pt x="47637" y="2284667"/>
                  </a:cubicBezTo>
                  <a:lnTo>
                    <a:pt x="876312" y="2284667"/>
                  </a:lnTo>
                  <a:cubicBezTo>
                    <a:pt x="901846" y="2284424"/>
                    <a:pt x="922645" y="2264087"/>
                    <a:pt x="923461" y="2238566"/>
                  </a:cubicBezTo>
                  <a:close/>
                  <a:moveTo>
                    <a:pt x="3809536" y="4337018"/>
                  </a:moveTo>
                  <a:cubicBezTo>
                    <a:pt x="3852514" y="4411580"/>
                    <a:pt x="3826910" y="4506866"/>
                    <a:pt x="3752348" y="4549845"/>
                  </a:cubicBezTo>
                  <a:cubicBezTo>
                    <a:pt x="3728749" y="4563448"/>
                    <a:pt x="3701996" y="4570627"/>
                    <a:pt x="3674757" y="4570667"/>
                  </a:cubicBezTo>
                  <a:lnTo>
                    <a:pt x="896505" y="4570667"/>
                  </a:lnTo>
                  <a:cubicBezTo>
                    <a:pt x="810443" y="4570646"/>
                    <a:pt x="740693" y="4500862"/>
                    <a:pt x="740713" y="4414800"/>
                  </a:cubicBezTo>
                  <a:cubicBezTo>
                    <a:pt x="740720" y="4387496"/>
                    <a:pt x="747900" y="4360674"/>
                    <a:pt x="761536" y="4337018"/>
                  </a:cubicBezTo>
                  <a:lnTo>
                    <a:pt x="2150662" y="1931289"/>
                  </a:lnTo>
                  <a:cubicBezTo>
                    <a:pt x="2193662" y="1856800"/>
                    <a:pt x="2288906" y="1831274"/>
                    <a:pt x="2363395" y="1874274"/>
                  </a:cubicBezTo>
                  <a:cubicBezTo>
                    <a:pt x="2387075" y="1887944"/>
                    <a:pt x="2406740" y="1907608"/>
                    <a:pt x="2420410" y="1931289"/>
                  </a:cubicBezTo>
                  <a:close/>
                  <a:moveTo>
                    <a:pt x="2445175" y="4048792"/>
                  </a:moveTo>
                  <a:cubicBezTo>
                    <a:pt x="2445175" y="3960626"/>
                    <a:pt x="2373702" y="3889153"/>
                    <a:pt x="2285536" y="3889153"/>
                  </a:cubicBezTo>
                  <a:cubicBezTo>
                    <a:pt x="2197370" y="3889153"/>
                    <a:pt x="2125897" y="3960626"/>
                    <a:pt x="2125897" y="4048792"/>
                  </a:cubicBezTo>
                  <a:cubicBezTo>
                    <a:pt x="2125897" y="4136958"/>
                    <a:pt x="2197370" y="4208431"/>
                    <a:pt x="2285536" y="4208431"/>
                  </a:cubicBezTo>
                  <a:cubicBezTo>
                    <a:pt x="2373702" y="4208431"/>
                    <a:pt x="2445175" y="4136958"/>
                    <a:pt x="2445175" y="4048792"/>
                  </a:cubicBezTo>
                  <a:close/>
                  <a:moveTo>
                    <a:pt x="2285536" y="2621661"/>
                  </a:moveTo>
                  <a:cubicBezTo>
                    <a:pt x="2172068" y="2621149"/>
                    <a:pt x="2079668" y="2712718"/>
                    <a:pt x="2079156" y="2826186"/>
                  </a:cubicBezTo>
                  <a:cubicBezTo>
                    <a:pt x="2079120" y="2834230"/>
                    <a:pt x="2079556" y="2842269"/>
                    <a:pt x="2080462" y="2850261"/>
                  </a:cubicBezTo>
                  <a:lnTo>
                    <a:pt x="2153519" y="3523583"/>
                  </a:lnTo>
                  <a:cubicBezTo>
                    <a:pt x="2159335" y="3578752"/>
                    <a:pt x="2205964" y="3620565"/>
                    <a:pt x="2261437" y="3620357"/>
                  </a:cubicBezTo>
                  <a:lnTo>
                    <a:pt x="2309634" y="3620357"/>
                  </a:lnTo>
                  <a:cubicBezTo>
                    <a:pt x="2365108" y="3620565"/>
                    <a:pt x="2411736" y="3578752"/>
                    <a:pt x="2417552" y="3523583"/>
                  </a:cubicBezTo>
                  <a:lnTo>
                    <a:pt x="2490799" y="2849785"/>
                  </a:lnTo>
                  <a:cubicBezTo>
                    <a:pt x="2502899" y="2736539"/>
                    <a:pt x="2420903" y="2634927"/>
                    <a:pt x="2307658" y="2622828"/>
                  </a:cubicBezTo>
                  <a:cubicBezTo>
                    <a:pt x="2300310" y="2622043"/>
                    <a:pt x="2292925" y="2621654"/>
                    <a:pt x="2285536" y="2621661"/>
                  </a:cubicBezTo>
                  <a:close/>
                </a:path>
              </a:pathLst>
            </a:custGeom>
            <a:solidFill>
              <a:srgbClr val="2B660F"/>
            </a:solidFill>
            <a:ln w="9525" cap="flat">
              <a:noFill/>
              <a:prstDash val="solid"/>
              <a:miter/>
            </a:ln>
          </p:spPr>
          <p:txBody>
            <a:bodyPr/>
            <a:lstStyle/>
            <a:p>
              <a:endParaRPr lang="en-US"/>
            </a:p>
          </p:txBody>
        </p:sp>
      </p:grpSp>
      <p:grpSp>
        <p:nvGrpSpPr>
          <p:cNvPr id="188" name="Group 187">
            <a:extLst>
              <a:ext uri="{FF2B5EF4-FFF2-40B4-BE49-F238E27FC236}">
                <a16:creationId xmlns:a16="http://schemas.microsoft.com/office/drawing/2014/main" id="{C9CD3EE3-41E2-C632-82DB-C627E5ACBB9E}"/>
              </a:ext>
            </a:extLst>
          </p:cNvPr>
          <p:cNvGrpSpPr/>
          <p:nvPr/>
        </p:nvGrpSpPr>
        <p:grpSpPr>
          <a:xfrm>
            <a:off x="6250778" y="4214884"/>
            <a:ext cx="354334" cy="354334"/>
            <a:chOff x="6250778" y="4214884"/>
            <a:chExt cx="354334" cy="354334"/>
          </a:xfrm>
        </p:grpSpPr>
        <p:sp>
          <p:nvSpPr>
            <p:cNvPr id="53" name="Oval 52">
              <a:extLst>
                <a:ext uri="{FF2B5EF4-FFF2-40B4-BE49-F238E27FC236}">
                  <a16:creationId xmlns:a16="http://schemas.microsoft.com/office/drawing/2014/main" id="{3D8B3C3C-B16E-AEAD-C3BF-C0DC1B401B96}"/>
                </a:ext>
              </a:extLst>
            </p:cNvPr>
            <p:cNvSpPr/>
            <p:nvPr/>
          </p:nvSpPr>
          <p:spPr>
            <a:xfrm>
              <a:off x="6250778" y="4214884"/>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0" name="Graphic 178">
              <a:extLst>
                <a:ext uri="{FF2B5EF4-FFF2-40B4-BE49-F238E27FC236}">
                  <a16:creationId xmlns:a16="http://schemas.microsoft.com/office/drawing/2014/main" id="{7163A382-CA9D-3F4F-4C3C-0BF769E929F9}"/>
                </a:ext>
              </a:extLst>
            </p:cNvPr>
            <p:cNvGrpSpPr/>
            <p:nvPr/>
          </p:nvGrpSpPr>
          <p:grpSpPr>
            <a:xfrm>
              <a:off x="6344117" y="4308220"/>
              <a:ext cx="167656" cy="167663"/>
              <a:chOff x="3657825" y="990607"/>
              <a:chExt cx="4876574" cy="4876792"/>
            </a:xfrm>
            <a:solidFill>
              <a:srgbClr val="2B660F"/>
            </a:solidFill>
          </p:grpSpPr>
          <p:sp>
            <p:nvSpPr>
              <p:cNvPr id="181" name="Rectangle: Rounded Corners 180">
                <a:extLst>
                  <a:ext uri="{FF2B5EF4-FFF2-40B4-BE49-F238E27FC236}">
                    <a16:creationId xmlns:a16="http://schemas.microsoft.com/office/drawing/2014/main" id="{ACA8E661-DE9E-ED40-C676-B3B05DA18DB5}"/>
                  </a:ext>
                </a:extLst>
              </p:cNvPr>
              <p:cNvSpPr/>
              <p:nvPr/>
            </p:nvSpPr>
            <p:spPr>
              <a:xfrm>
                <a:off x="3741682" y="5194737"/>
                <a:ext cx="672662" cy="672662"/>
              </a:xfrm>
              <a:prstGeom prst="roundRect">
                <a:avLst>
                  <a:gd name="adj" fmla="val 25000"/>
                </a:avLst>
              </a:prstGeom>
              <a:grpFill/>
              <a:ln w="84083" cap="flat">
                <a:noFill/>
                <a:prstDash val="solid"/>
                <a:miter/>
              </a:ln>
            </p:spPr>
            <p:txBody>
              <a:bodyPr/>
              <a:lstStyle/>
              <a:p>
                <a:endParaRPr lang="en-US"/>
              </a:p>
            </p:txBody>
          </p:sp>
          <p:sp>
            <p:nvSpPr>
              <p:cNvPr id="182" name="Rectangle: Rounded Corners 181">
                <a:extLst>
                  <a:ext uri="{FF2B5EF4-FFF2-40B4-BE49-F238E27FC236}">
                    <a16:creationId xmlns:a16="http://schemas.microsoft.com/office/drawing/2014/main" id="{65AF79CD-A339-D340-3A6F-07A93ED5B1C8}"/>
                  </a:ext>
                </a:extLst>
              </p:cNvPr>
              <p:cNvSpPr/>
              <p:nvPr/>
            </p:nvSpPr>
            <p:spPr>
              <a:xfrm>
                <a:off x="4750675" y="4858406"/>
                <a:ext cx="672662" cy="1008993"/>
              </a:xfrm>
              <a:prstGeom prst="roundRect">
                <a:avLst>
                  <a:gd name="adj" fmla="val 25000"/>
                </a:avLst>
              </a:prstGeom>
              <a:grpFill/>
              <a:ln w="84083" cap="flat">
                <a:noFill/>
                <a:prstDash val="solid"/>
                <a:miter/>
              </a:ln>
            </p:spPr>
            <p:txBody>
              <a:bodyPr/>
              <a:lstStyle/>
              <a:p>
                <a:endParaRPr lang="en-US"/>
              </a:p>
            </p:txBody>
          </p:sp>
          <p:sp>
            <p:nvSpPr>
              <p:cNvPr id="183" name="Rectangle: Rounded Corners 182">
                <a:extLst>
                  <a:ext uri="{FF2B5EF4-FFF2-40B4-BE49-F238E27FC236}">
                    <a16:creationId xmlns:a16="http://schemas.microsoft.com/office/drawing/2014/main" id="{40815B88-542D-D860-250E-2E2C2B9F170B}"/>
                  </a:ext>
                </a:extLst>
              </p:cNvPr>
              <p:cNvSpPr/>
              <p:nvPr/>
            </p:nvSpPr>
            <p:spPr>
              <a:xfrm>
                <a:off x="5759668" y="4437993"/>
                <a:ext cx="672662" cy="1429406"/>
              </a:xfrm>
              <a:prstGeom prst="roundRect">
                <a:avLst>
                  <a:gd name="adj" fmla="val 25000"/>
                </a:avLst>
              </a:prstGeom>
              <a:grpFill/>
              <a:ln w="84083" cap="flat">
                <a:noFill/>
                <a:prstDash val="solid"/>
                <a:miter/>
              </a:ln>
            </p:spPr>
            <p:txBody>
              <a:bodyPr/>
              <a:lstStyle/>
              <a:p>
                <a:endParaRPr lang="en-US"/>
              </a:p>
            </p:txBody>
          </p:sp>
          <p:sp>
            <p:nvSpPr>
              <p:cNvPr id="184" name="Rectangle: Rounded Corners 183">
                <a:extLst>
                  <a:ext uri="{FF2B5EF4-FFF2-40B4-BE49-F238E27FC236}">
                    <a16:creationId xmlns:a16="http://schemas.microsoft.com/office/drawing/2014/main" id="{CD9BBD40-A557-E6A2-2B71-C926F1B1F35A}"/>
                  </a:ext>
                </a:extLst>
              </p:cNvPr>
              <p:cNvSpPr/>
              <p:nvPr/>
            </p:nvSpPr>
            <p:spPr>
              <a:xfrm>
                <a:off x="6768662" y="3933496"/>
                <a:ext cx="672662" cy="1933903"/>
              </a:xfrm>
              <a:prstGeom prst="roundRect">
                <a:avLst>
                  <a:gd name="adj" fmla="val 25000"/>
                </a:avLst>
              </a:prstGeom>
              <a:grpFill/>
              <a:ln w="84083" cap="flat">
                <a:noFill/>
                <a:prstDash val="solid"/>
                <a:miter/>
              </a:ln>
            </p:spPr>
            <p:txBody>
              <a:bodyPr/>
              <a:lstStyle/>
              <a:p>
                <a:endParaRPr lang="en-US"/>
              </a:p>
            </p:txBody>
          </p:sp>
          <p:sp>
            <p:nvSpPr>
              <p:cNvPr id="185" name="Rectangle: Rounded Corners 184">
                <a:extLst>
                  <a:ext uri="{FF2B5EF4-FFF2-40B4-BE49-F238E27FC236}">
                    <a16:creationId xmlns:a16="http://schemas.microsoft.com/office/drawing/2014/main" id="{C4AA7C14-BE35-EAC7-9724-800F22EEAB4F}"/>
                  </a:ext>
                </a:extLst>
              </p:cNvPr>
              <p:cNvSpPr/>
              <p:nvPr/>
            </p:nvSpPr>
            <p:spPr>
              <a:xfrm>
                <a:off x="7777655" y="3092668"/>
                <a:ext cx="672662" cy="2774731"/>
              </a:xfrm>
              <a:prstGeom prst="roundRect">
                <a:avLst>
                  <a:gd name="adj" fmla="val 25000"/>
                </a:avLst>
              </a:prstGeom>
              <a:grpFill/>
              <a:ln w="84083" cap="flat">
                <a:noFill/>
                <a:prstDash val="solid"/>
                <a:miter/>
              </a:ln>
            </p:spPr>
            <p:txBody>
              <a:bodyPr/>
              <a:lstStyle/>
              <a:p>
                <a:endParaRPr lang="en-US"/>
              </a:p>
            </p:txBody>
          </p:sp>
          <p:sp>
            <p:nvSpPr>
              <p:cNvPr id="186" name="Freeform: Shape 185">
                <a:extLst>
                  <a:ext uri="{FF2B5EF4-FFF2-40B4-BE49-F238E27FC236}">
                    <a16:creationId xmlns:a16="http://schemas.microsoft.com/office/drawing/2014/main" id="{54DC6720-FA74-E2B5-632B-844C3DD77F91}"/>
                  </a:ext>
                </a:extLst>
              </p:cNvPr>
              <p:cNvSpPr/>
              <p:nvPr/>
            </p:nvSpPr>
            <p:spPr>
              <a:xfrm>
                <a:off x="3657825" y="1327049"/>
                <a:ext cx="4876574" cy="3363510"/>
              </a:xfrm>
              <a:custGeom>
                <a:avLst/>
                <a:gdLst>
                  <a:gd name="csX0" fmla="*/ 4765586 w 4876574"/>
                  <a:gd name="csY0" fmla="*/ 4422 h 3363510"/>
                  <a:gd name="csX1" fmla="*/ 4841472 w 4876574"/>
                  <a:gd name="csY1" fmla="*/ 15739 h 3363510"/>
                  <a:gd name="csX2" fmla="*/ 4876575 w 4876574"/>
                  <a:gd name="csY2" fmla="*/ 83964 h 3363510"/>
                  <a:gd name="csX3" fmla="*/ 4876575 w 4876574"/>
                  <a:gd name="csY3" fmla="*/ 892000 h 3363510"/>
                  <a:gd name="csX4" fmla="*/ 4830095 w 4876574"/>
                  <a:gd name="csY4" fmla="*/ 967205 h 3363510"/>
                  <a:gd name="csX5" fmla="*/ 4742043 w 4876574"/>
                  <a:gd name="csY5" fmla="*/ 959266 h 3363510"/>
                  <a:gd name="csX6" fmla="*/ 4505770 w 4876574"/>
                  <a:gd name="csY6" fmla="*/ 781851 h 3363510"/>
                  <a:gd name="csX7" fmla="*/ 4496521 w 4876574"/>
                  <a:gd name="csY7" fmla="*/ 794464 h 3363510"/>
                  <a:gd name="csX8" fmla="*/ 186859 w 4876574"/>
                  <a:gd name="csY8" fmla="*/ 3360417 h 3363510"/>
                  <a:gd name="csX9" fmla="*/ 83857 w 4876574"/>
                  <a:gd name="csY9" fmla="*/ 3305848 h 3363510"/>
                  <a:gd name="csX10" fmla="*/ 4231 w 4876574"/>
                  <a:gd name="csY10" fmla="*/ 3066968 h 3363510"/>
                  <a:gd name="csX11" fmla="*/ 9939 w 4876574"/>
                  <a:gd name="csY11" fmla="*/ 3000977 h 3363510"/>
                  <a:gd name="csX12" fmla="*/ 61660 w 4876574"/>
                  <a:gd name="csY12" fmla="*/ 2959595 h 3363510"/>
                  <a:gd name="csX13" fmla="*/ 4170279 w 4876574"/>
                  <a:gd name="csY13" fmla="*/ 530780 h 3363510"/>
                  <a:gd name="csX14" fmla="*/ 3996228 w 4876574"/>
                  <a:gd name="csY14" fmla="*/ 400452 h 3363510"/>
                  <a:gd name="csX15" fmla="*/ 3963451 w 4876574"/>
                  <a:gd name="csY15" fmla="*/ 319751 h 3363510"/>
                  <a:gd name="csX16" fmla="*/ 4019772 w 4876574"/>
                  <a:gd name="csY16" fmla="*/ 253307 h 336351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4876574" h="3363510">
                    <a:moveTo>
                      <a:pt x="4765586" y="4422"/>
                    </a:moveTo>
                    <a:cubicBezTo>
                      <a:pt x="4791228" y="-4239"/>
                      <a:pt x="4819472" y="-27"/>
                      <a:pt x="4841472" y="15739"/>
                    </a:cubicBezTo>
                    <a:cubicBezTo>
                      <a:pt x="4863472" y="31506"/>
                      <a:pt x="4876536" y="56898"/>
                      <a:pt x="4876575" y="83964"/>
                    </a:cubicBezTo>
                    <a:lnTo>
                      <a:pt x="4876575" y="892000"/>
                    </a:lnTo>
                    <a:cubicBezTo>
                      <a:pt x="4876575" y="923848"/>
                      <a:pt x="4858581" y="952963"/>
                      <a:pt x="4830095" y="967205"/>
                    </a:cubicBezTo>
                    <a:cubicBezTo>
                      <a:pt x="4801609" y="981448"/>
                      <a:pt x="4767521" y="978375"/>
                      <a:pt x="4742043" y="959266"/>
                    </a:cubicBezTo>
                    <a:lnTo>
                      <a:pt x="4505770" y="781851"/>
                    </a:lnTo>
                    <a:cubicBezTo>
                      <a:pt x="4502964" y="786251"/>
                      <a:pt x="4499874" y="790464"/>
                      <a:pt x="4496521" y="794464"/>
                    </a:cubicBezTo>
                    <a:cubicBezTo>
                      <a:pt x="3441282" y="2004330"/>
                      <a:pt x="2090745" y="2826071"/>
                      <a:pt x="186859" y="3360417"/>
                    </a:cubicBezTo>
                    <a:cubicBezTo>
                      <a:pt x="143486" y="3372426"/>
                      <a:pt x="98283" y="3348478"/>
                      <a:pt x="83857" y="3305848"/>
                    </a:cubicBezTo>
                    <a:lnTo>
                      <a:pt x="4231" y="3066968"/>
                    </a:lnTo>
                    <a:cubicBezTo>
                      <a:pt x="-2976" y="3045117"/>
                      <a:pt x="-913" y="3021266"/>
                      <a:pt x="9939" y="3000977"/>
                    </a:cubicBezTo>
                    <a:cubicBezTo>
                      <a:pt x="20791" y="2980687"/>
                      <a:pt x="39483" y="2965731"/>
                      <a:pt x="61660" y="2959595"/>
                    </a:cubicBezTo>
                    <a:cubicBezTo>
                      <a:pt x="1881463" y="2450053"/>
                      <a:pt x="3171797" y="1670017"/>
                      <a:pt x="4170279" y="530780"/>
                    </a:cubicBezTo>
                    <a:lnTo>
                      <a:pt x="3996228" y="400452"/>
                    </a:lnTo>
                    <a:cubicBezTo>
                      <a:pt x="3971135" y="381748"/>
                      <a:pt x="3958506" y="350655"/>
                      <a:pt x="3963451" y="319751"/>
                    </a:cubicBezTo>
                    <a:cubicBezTo>
                      <a:pt x="3968395" y="288848"/>
                      <a:pt x="3990095" y="263247"/>
                      <a:pt x="4019772" y="253307"/>
                    </a:cubicBezTo>
                    <a:close/>
                  </a:path>
                </a:pathLst>
              </a:custGeom>
              <a:grpFill/>
              <a:ln w="84083" cap="flat">
                <a:noFill/>
                <a:prstDash val="solid"/>
                <a:miter/>
              </a:ln>
            </p:spPr>
            <p:txBody>
              <a:bodyPr/>
              <a:lstStyle/>
              <a:p>
                <a:endParaRPr lang="en-US"/>
              </a:p>
            </p:txBody>
          </p:sp>
          <p:sp>
            <p:nvSpPr>
              <p:cNvPr id="187" name="Freeform: Shape 186">
                <a:extLst>
                  <a:ext uri="{FF2B5EF4-FFF2-40B4-BE49-F238E27FC236}">
                    <a16:creationId xmlns:a16="http://schemas.microsoft.com/office/drawing/2014/main" id="{0C8AF016-98AA-B0C5-9BD6-2C644EA096B8}"/>
                  </a:ext>
                </a:extLst>
              </p:cNvPr>
              <p:cNvSpPr/>
              <p:nvPr/>
            </p:nvSpPr>
            <p:spPr>
              <a:xfrm>
                <a:off x="3909820" y="990607"/>
                <a:ext cx="1849848" cy="2354708"/>
              </a:xfrm>
              <a:custGeom>
                <a:avLst/>
                <a:gdLst>
                  <a:gd name="csX0" fmla="*/ 988672 w 1849848"/>
                  <a:gd name="csY0" fmla="*/ 22190 h 2354708"/>
                  <a:gd name="csX1" fmla="*/ 861876 w 1849848"/>
                  <a:gd name="csY1" fmla="*/ 21685 h 2354708"/>
                  <a:gd name="csX2" fmla="*/ 26177 w 1849848"/>
                  <a:gd name="csY2" fmla="*/ 1657095 h 2354708"/>
                  <a:gd name="csX3" fmla="*/ 1036640 w 1849848"/>
                  <a:gd name="csY3" fmla="*/ 2347730 h 2354708"/>
                  <a:gd name="csX4" fmla="*/ 1849848 w 1849848"/>
                  <a:gd name="csY4" fmla="*/ 1433015 h 2354708"/>
                  <a:gd name="csX5" fmla="*/ 988672 w 1849848"/>
                  <a:gd name="csY5" fmla="*/ 22190 h 2354708"/>
                  <a:gd name="csX6" fmla="*/ 924938 w 1849848"/>
                  <a:gd name="csY6" fmla="*/ 2102061 h 2354708"/>
                  <a:gd name="csX7" fmla="*/ 808819 w 1849848"/>
                  <a:gd name="csY7" fmla="*/ 2092560 h 2354708"/>
                  <a:gd name="csX8" fmla="*/ 271615 w 1849848"/>
                  <a:gd name="csY8" fmla="*/ 1598658 h 2354708"/>
                  <a:gd name="csX9" fmla="*/ 333962 w 1849848"/>
                  <a:gd name="csY9" fmla="*/ 1497380 h 2354708"/>
                  <a:gd name="csX10" fmla="*/ 435240 w 1849848"/>
                  <a:gd name="csY10" fmla="*/ 1559727 h 2354708"/>
                  <a:gd name="csX11" fmla="*/ 835894 w 1849848"/>
                  <a:gd name="csY11" fmla="*/ 1926580 h 2354708"/>
                  <a:gd name="csX12" fmla="*/ 924938 w 1849848"/>
                  <a:gd name="csY12" fmla="*/ 1933896 h 2354708"/>
                  <a:gd name="csX13" fmla="*/ 1009020 w 1849848"/>
                  <a:gd name="csY13" fmla="*/ 2017978 h 2354708"/>
                  <a:gd name="csX14" fmla="*/ 924938 w 1849848"/>
                  <a:gd name="csY14" fmla="*/ 2102061 h 23547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1849848" h="2354708">
                    <a:moveTo>
                      <a:pt x="988672" y="22190"/>
                    </a:moveTo>
                    <a:cubicBezTo>
                      <a:pt x="951584" y="-7207"/>
                      <a:pt x="899197" y="-7416"/>
                      <a:pt x="861876" y="21685"/>
                    </a:cubicBezTo>
                    <a:cubicBezTo>
                      <a:pt x="630059" y="203472"/>
                      <a:pt x="-152078" y="908086"/>
                      <a:pt x="26177" y="1657095"/>
                    </a:cubicBezTo>
                    <a:cubicBezTo>
                      <a:pt x="141232" y="2108770"/>
                      <a:pt x="574021" y="2404573"/>
                      <a:pt x="1036640" y="2347730"/>
                    </a:cubicBezTo>
                    <a:cubicBezTo>
                      <a:pt x="1499259" y="2290886"/>
                      <a:pt x="1847562" y="1899107"/>
                      <a:pt x="1849848" y="1433015"/>
                    </a:cubicBezTo>
                    <a:cubicBezTo>
                      <a:pt x="1849848" y="776665"/>
                      <a:pt x="1197870" y="186320"/>
                      <a:pt x="988672" y="22190"/>
                    </a:cubicBezTo>
                    <a:close/>
                    <a:moveTo>
                      <a:pt x="924938" y="2102061"/>
                    </a:moveTo>
                    <a:cubicBezTo>
                      <a:pt x="886040" y="2102011"/>
                      <a:pt x="847208" y="2098834"/>
                      <a:pt x="808819" y="2092560"/>
                    </a:cubicBezTo>
                    <a:cubicBezTo>
                      <a:pt x="547366" y="2049610"/>
                      <a:pt x="336334" y="1855590"/>
                      <a:pt x="271615" y="1598658"/>
                    </a:cubicBezTo>
                    <a:cubicBezTo>
                      <a:pt x="260864" y="1553474"/>
                      <a:pt x="288778" y="1508130"/>
                      <a:pt x="333962" y="1497380"/>
                    </a:cubicBezTo>
                    <a:cubicBezTo>
                      <a:pt x="379146" y="1486630"/>
                      <a:pt x="424489" y="1514544"/>
                      <a:pt x="435240" y="1559727"/>
                    </a:cubicBezTo>
                    <a:cubicBezTo>
                      <a:pt x="483807" y="1750895"/>
                      <a:pt x="641197" y="1895007"/>
                      <a:pt x="835894" y="1926580"/>
                    </a:cubicBezTo>
                    <a:cubicBezTo>
                      <a:pt x="865329" y="1931416"/>
                      <a:pt x="895108" y="1933863"/>
                      <a:pt x="924938" y="1933896"/>
                    </a:cubicBezTo>
                    <a:cubicBezTo>
                      <a:pt x="971375" y="1933896"/>
                      <a:pt x="1009020" y="1971541"/>
                      <a:pt x="1009020" y="2017978"/>
                    </a:cubicBezTo>
                    <a:cubicBezTo>
                      <a:pt x="1009020" y="2064416"/>
                      <a:pt x="971375" y="2102061"/>
                      <a:pt x="924938" y="2102061"/>
                    </a:cubicBezTo>
                    <a:close/>
                  </a:path>
                </a:pathLst>
              </a:custGeom>
              <a:grpFill/>
              <a:ln w="84083" cap="flat">
                <a:noFill/>
                <a:prstDash val="solid"/>
                <a:miter/>
              </a:ln>
            </p:spPr>
            <p:txBody>
              <a:bodyPr/>
              <a:lstStyle/>
              <a:p>
                <a:endParaRPr lang="en-US"/>
              </a:p>
            </p:txBody>
          </p:sp>
        </p:grpSp>
      </p:grpSp>
    </p:spTree>
    <p:extLst>
      <p:ext uri="{BB962C8B-B14F-4D97-AF65-F5344CB8AC3E}">
        <p14:creationId xmlns:p14="http://schemas.microsoft.com/office/powerpoint/2010/main" val="10915365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00B9C45-3380-9C27-900B-40929B94A3BE}"/>
              </a:ext>
            </a:extLst>
          </p:cNvPr>
          <p:cNvGraphicFramePr>
            <a:graphicFrameLocks/>
          </p:cNvGraphicFramePr>
          <p:nvPr>
            <p:custDataLst>
              <p:tags r:id="rId1"/>
            </p:custDataLst>
            <p:extLst>
              <p:ext uri="{D42A27DB-BD31-4B8C-83A1-F6EECF244321}">
                <p14:modId xmlns:p14="http://schemas.microsoft.com/office/powerpoint/2010/main" val="196320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5" name="think-cell data - do not delete" hidden="1">
                        <a:extLst>
                          <a:ext uri="{FF2B5EF4-FFF2-40B4-BE49-F238E27FC236}">
                            <a16:creationId xmlns:a16="http://schemas.microsoft.com/office/drawing/2014/main" id="{700B9C45-3380-9C27-900B-40929B94A3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FDB826-E7F2-22D6-004E-929F9F0E68F2}"/>
              </a:ext>
            </a:extLst>
          </p:cNvPr>
          <p:cNvSpPr>
            <a:spLocks noGrp="1"/>
          </p:cNvSpPr>
          <p:nvPr>
            <p:ph type="ctrTitle"/>
          </p:nvPr>
        </p:nvSpPr>
        <p:spPr>
          <a:xfrm>
            <a:off x="304796" y="2286596"/>
            <a:ext cx="11582402" cy="2284807"/>
          </a:xfrm>
        </p:spPr>
        <p:txBody>
          <a:bodyPr vert="horz" rIns="0"/>
          <a:lstStyle/>
          <a:p>
            <a:r>
              <a:rPr lang="en-US"/>
              <a:t>Packaging</a:t>
            </a:r>
          </a:p>
        </p:txBody>
      </p:sp>
      <p:pic>
        <p:nvPicPr>
          <p:cNvPr id="7" name="Picture 6" descr="A green leaves on a black background&#10;&#10;Description automatically generated">
            <a:extLst>
              <a:ext uri="{FF2B5EF4-FFF2-40B4-BE49-F238E27FC236}">
                <a16:creationId xmlns:a16="http://schemas.microsoft.com/office/drawing/2014/main" id="{C6D8368B-21A3-F72A-B85B-46A48864D61C}"/>
              </a:ext>
            </a:extLst>
          </p:cNvPr>
          <p:cNvPicPr>
            <a:picLocks noChangeAspect="1"/>
          </p:cNvPicPr>
          <p:nvPr/>
        </p:nvPicPr>
        <p:blipFill>
          <a:blip r:embed="rId5">
            <a:alphaModFix amt="8000"/>
            <a:extLst>
              <a:ext uri="{BEBA8EAE-BF5A-486C-A8C5-ECC9F3942E4B}">
                <a14:imgProps xmlns:a14="http://schemas.microsoft.com/office/drawing/2010/main">
                  <a14:imgLayer r:embed="rId6">
                    <a14:imgEffect>
                      <a14:brightnessContrast bright="-100000"/>
                    </a14:imgEffect>
                  </a14:imgLayer>
                </a14:imgProps>
              </a:ext>
            </a:extLst>
          </a:blip>
          <a:srcRect l="143" t="22843" r="1127" b="-347"/>
          <a:stretch>
            <a:fillRect/>
          </a:stretch>
        </p:blipFill>
        <p:spPr>
          <a:xfrm rot="20940000" flipH="1">
            <a:off x="-347445" y="-295347"/>
            <a:ext cx="3909087" cy="3380830"/>
          </a:xfrm>
          <a:custGeom>
            <a:avLst/>
            <a:gdLst>
              <a:gd name="csX0" fmla="*/ 0 w 3387264"/>
              <a:gd name="csY0" fmla="*/ 547729 h 2929524"/>
              <a:gd name="csX1" fmla="*/ 2817822 w 3387264"/>
              <a:gd name="csY1" fmla="*/ 0 h 2929524"/>
              <a:gd name="csX2" fmla="*/ 3387264 w 3387264"/>
              <a:gd name="csY2" fmla="*/ 2929524 h 2929524"/>
              <a:gd name="csX3" fmla="*/ 0 w 3387264"/>
              <a:gd name="csY3" fmla="*/ 2929524 h 2929524"/>
            </a:gdLst>
            <a:ahLst/>
            <a:cxnLst>
              <a:cxn ang="0">
                <a:pos x="csX0" y="csY0"/>
              </a:cxn>
              <a:cxn ang="0">
                <a:pos x="csX1" y="csY1"/>
              </a:cxn>
              <a:cxn ang="0">
                <a:pos x="csX2" y="csY2"/>
              </a:cxn>
              <a:cxn ang="0">
                <a:pos x="csX3" y="csY3"/>
              </a:cxn>
            </a:cxnLst>
            <a:rect l="l" t="t" r="r" b="b"/>
            <a:pathLst>
              <a:path w="3387264" h="2929524">
                <a:moveTo>
                  <a:pt x="0" y="547729"/>
                </a:moveTo>
                <a:lnTo>
                  <a:pt x="2817822" y="0"/>
                </a:lnTo>
                <a:lnTo>
                  <a:pt x="3387264" y="2929524"/>
                </a:lnTo>
                <a:lnTo>
                  <a:pt x="0" y="2929524"/>
                </a:lnTo>
                <a:close/>
              </a:path>
            </a:pathLst>
          </a:custGeom>
        </p:spPr>
      </p:pic>
      <p:pic>
        <p:nvPicPr>
          <p:cNvPr id="9" name="Picture 8" descr="A green leaves on a black background&#10;&#10;Description automatically generated">
            <a:extLst>
              <a:ext uri="{FF2B5EF4-FFF2-40B4-BE49-F238E27FC236}">
                <a16:creationId xmlns:a16="http://schemas.microsoft.com/office/drawing/2014/main" id="{D21FAF26-1070-A3BC-02DE-0057A1490B4B}"/>
              </a:ext>
            </a:extLst>
          </p:cNvPr>
          <p:cNvPicPr>
            <a:picLocks noChangeAspect="1"/>
          </p:cNvPicPr>
          <p:nvPr/>
        </p:nvPicPr>
        <p:blipFill rotWithShape="1">
          <a:blip r:embed="rId7">
            <a:alphaModFix amt="8000"/>
            <a:extLst>
              <a:ext uri="{BEBA8EAE-BF5A-486C-A8C5-ECC9F3942E4B}">
                <a14:imgProps xmlns:a14="http://schemas.microsoft.com/office/drawing/2010/main">
                  <a14:imgLayer r:embed="rId8">
                    <a14:imgEffect>
                      <a14:brightnessContrast bright="-100000"/>
                    </a14:imgEffect>
                  </a14:imgLayer>
                </a14:imgProps>
              </a:ext>
            </a:extLst>
          </a:blip>
          <a:srcRect b="14982"/>
          <a:stretch/>
        </p:blipFill>
        <p:spPr>
          <a:xfrm flipH="1">
            <a:off x="8244114" y="4113638"/>
            <a:ext cx="3947886" cy="2744362"/>
          </a:xfrm>
          <a:prstGeom prst="rect">
            <a:avLst/>
          </a:prstGeom>
        </p:spPr>
      </p:pic>
      <p:pic>
        <p:nvPicPr>
          <p:cNvPr id="11" name="Graphic 10">
            <a:extLst>
              <a:ext uri="{FF2B5EF4-FFF2-40B4-BE49-F238E27FC236}">
                <a16:creationId xmlns:a16="http://schemas.microsoft.com/office/drawing/2014/main" id="{567B7851-D84E-9507-D254-47E51B30771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89550" y="820002"/>
            <a:ext cx="1612900" cy="1612900"/>
          </a:xfrm>
          <a:prstGeom prst="rect">
            <a:avLst/>
          </a:prstGeom>
        </p:spPr>
      </p:pic>
    </p:spTree>
    <p:extLst>
      <p:ext uri="{BB962C8B-B14F-4D97-AF65-F5344CB8AC3E}">
        <p14:creationId xmlns:p14="http://schemas.microsoft.com/office/powerpoint/2010/main" val="3999067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5D910A"/>
        </a:solidFill>
        <a:effectLst/>
      </p:bgPr>
    </p:bg>
    <p:spTree>
      <p:nvGrpSpPr>
        <p:cNvPr id="1" name=""/>
        <p:cNvGrpSpPr/>
        <p:nvPr/>
      </p:nvGrpSpPr>
      <p:grpSpPr>
        <a:xfrm>
          <a:off x="0" y="0"/>
          <a:ext cx="0" cy="0"/>
          <a:chOff x="0" y="0"/>
          <a:chExt cx="0" cy="0"/>
        </a:xfrm>
      </p:grpSpPr>
      <p:graphicFrame>
        <p:nvGraphicFramePr>
          <p:cNvPr id="202" name="think-cell data - do not delete" hidden="1">
            <a:extLst>
              <a:ext uri="{FF2B5EF4-FFF2-40B4-BE49-F238E27FC236}">
                <a16:creationId xmlns:a16="http://schemas.microsoft.com/office/drawing/2014/main" id="{1CE1417F-AA19-D9D7-56DA-2FC05BF13E22}"/>
              </a:ext>
            </a:extLst>
          </p:cNvPr>
          <p:cNvGraphicFramePr>
            <a:graphicFrameLocks/>
          </p:cNvGraphicFramePr>
          <p:nvPr>
            <p:custDataLst>
              <p:tags r:id="rId1"/>
            </p:custDataLst>
            <p:extLst>
              <p:ext uri="{D42A27DB-BD31-4B8C-83A1-F6EECF244321}">
                <p14:modId xmlns:p14="http://schemas.microsoft.com/office/powerpoint/2010/main" val="2142782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202" name="think-cell data - do not delete" hidden="1">
                        <a:extLst>
                          <a:ext uri="{FF2B5EF4-FFF2-40B4-BE49-F238E27FC236}">
                            <a16:creationId xmlns:a16="http://schemas.microsoft.com/office/drawing/2014/main" id="{1CE1417F-AA19-D9D7-56DA-2FC05BF13E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0" name="Rectangle: Rounded Corners 239">
            <a:extLst>
              <a:ext uri="{FF2B5EF4-FFF2-40B4-BE49-F238E27FC236}">
                <a16:creationId xmlns:a16="http://schemas.microsoft.com/office/drawing/2014/main" id="{497387FC-9517-FC00-1394-00FE99D37303}"/>
              </a:ext>
            </a:extLst>
          </p:cNvPr>
          <p:cNvSpPr/>
          <p:nvPr/>
        </p:nvSpPr>
        <p:spPr>
          <a:xfrm>
            <a:off x="304800" y="1371601"/>
            <a:ext cx="11582400" cy="4762500"/>
          </a:xfrm>
          <a:prstGeom prst="roundRect">
            <a:avLst>
              <a:gd name="adj" fmla="val 4065"/>
            </a:avLst>
          </a:prstGeom>
          <a:solidFill>
            <a:srgbClr val="2B660F"/>
          </a:solidFill>
          <a:ln w="6350">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14151" tIns="214151" rIns="214151" bIns="214151" numCol="1" spcCol="1270" anchor="ctr" anchorCtr="0">
            <a:noAutofit/>
          </a:bodyPr>
          <a:lstStyle/>
          <a:p>
            <a:pPr defTabSz="1911350">
              <a:lnSpc>
                <a:spcPct val="90000"/>
              </a:lnSpc>
              <a:spcBef>
                <a:spcPct val="0"/>
              </a:spcBef>
              <a:spcAft>
                <a:spcPct val="35000"/>
              </a:spcAft>
            </a:pPr>
            <a:endParaRPr lang="en-US" sz="2000">
              <a:solidFill>
                <a:schemeClr val="bg1"/>
              </a:solidFill>
            </a:endParaRPr>
          </a:p>
        </p:txBody>
      </p:sp>
      <p:sp>
        <p:nvSpPr>
          <p:cNvPr id="241" name="Rectangle: Rounded Corners 240">
            <a:extLst>
              <a:ext uri="{FF2B5EF4-FFF2-40B4-BE49-F238E27FC236}">
                <a16:creationId xmlns:a16="http://schemas.microsoft.com/office/drawing/2014/main" id="{0A98058D-0A7D-CAD4-839C-82DC4D515984}"/>
              </a:ext>
            </a:extLst>
          </p:cNvPr>
          <p:cNvSpPr/>
          <p:nvPr/>
        </p:nvSpPr>
        <p:spPr>
          <a:xfrm>
            <a:off x="6073140" y="1421131"/>
            <a:ext cx="45720" cy="4663440"/>
          </a:xfrm>
          <a:prstGeom prst="roundRect">
            <a:avLst>
              <a:gd name="adj" fmla="val 50000"/>
            </a:avLst>
          </a:prstGeom>
          <a:solidFill>
            <a:srgbClr val="5D91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4" name="Graphic 203">
            <a:extLst>
              <a:ext uri="{FF2B5EF4-FFF2-40B4-BE49-F238E27FC236}">
                <a16:creationId xmlns:a16="http://schemas.microsoft.com/office/drawing/2014/main" id="{CC40E1FC-4D61-40E8-4C86-31D8322B337A}"/>
              </a:ext>
            </a:extLst>
          </p:cNvPr>
          <p:cNvPicPr/>
          <p:nvPr/>
        </p:nvPicPr>
        <p:blipFill>
          <a:blip r:embed="rId5">
            <a:extLst>
              <a:ext uri="{96DAC541-7B7A-43D3-8B79-37D633B846F1}">
                <asvg:svgBlip xmlns:asvg="http://schemas.microsoft.com/office/drawing/2016/SVG/main" r:embed="rId6"/>
              </a:ext>
            </a:extLst>
          </a:blip>
          <a:srcRect l="8611" t="11392" r="56210" b="6663"/>
          <a:stretch>
            <a:fillRect/>
          </a:stretch>
        </p:blipFill>
        <p:spPr>
          <a:xfrm flipH="1">
            <a:off x="10833100" y="5245492"/>
            <a:ext cx="1357471" cy="1610737"/>
          </a:xfrm>
          <a:prstGeom prst="rect">
            <a:avLst/>
          </a:prstGeom>
        </p:spPr>
      </p:pic>
      <p:pic>
        <p:nvPicPr>
          <p:cNvPr id="205" name="Picture 204">
            <a:extLst>
              <a:ext uri="{FF2B5EF4-FFF2-40B4-BE49-F238E27FC236}">
                <a16:creationId xmlns:a16="http://schemas.microsoft.com/office/drawing/2014/main" id="{EA861E60-F962-BA7E-5C1E-EFE5F66BF7B3}"/>
              </a:ext>
            </a:extLst>
          </p:cNvPr>
          <p:cNvPicPr>
            <a:picLocks noChangeAspect="1"/>
          </p:cNvPicPr>
          <p:nvPr/>
        </p:nvPicPr>
        <p:blipFill rotWithShape="1">
          <a:blip r:embed="rId7"/>
          <a:srcRect t="7964" b="74305"/>
          <a:stretch>
            <a:fillRect/>
          </a:stretch>
        </p:blipFill>
        <p:spPr>
          <a:xfrm>
            <a:off x="0" y="0"/>
            <a:ext cx="12192000" cy="1216025"/>
          </a:xfrm>
          <a:prstGeom prst="rect">
            <a:avLst/>
          </a:prstGeom>
        </p:spPr>
      </p:pic>
      <p:sp>
        <p:nvSpPr>
          <p:cNvPr id="206" name="Rectangle 205">
            <a:extLst>
              <a:ext uri="{FF2B5EF4-FFF2-40B4-BE49-F238E27FC236}">
                <a16:creationId xmlns:a16="http://schemas.microsoft.com/office/drawing/2014/main" id="{C1FA0FF0-0C52-0F46-32B0-3928BA718570}"/>
              </a:ext>
            </a:extLst>
          </p:cNvPr>
          <p:cNvSpPr/>
          <p:nvPr/>
        </p:nvSpPr>
        <p:spPr>
          <a:xfrm>
            <a:off x="0" y="0"/>
            <a:ext cx="12192000" cy="1219200"/>
          </a:xfrm>
          <a:prstGeom prst="rect">
            <a:avLst/>
          </a:prstGeom>
          <a:solidFill>
            <a:schemeClr val="accent3">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TextBox 208">
            <a:extLst>
              <a:ext uri="{FF2B5EF4-FFF2-40B4-BE49-F238E27FC236}">
                <a16:creationId xmlns:a16="http://schemas.microsoft.com/office/drawing/2014/main" id="{BA40BB4C-5B16-36C2-85E8-73610AD2841C}"/>
              </a:ext>
            </a:extLst>
          </p:cNvPr>
          <p:cNvSpPr txBox="1"/>
          <p:nvPr/>
        </p:nvSpPr>
        <p:spPr>
          <a:xfrm>
            <a:off x="6610350" y="1463675"/>
            <a:ext cx="5191124" cy="1174681"/>
          </a:xfrm>
          <a:prstGeom prst="rect">
            <a:avLst/>
          </a:prstGeom>
          <a:noFill/>
        </p:spPr>
        <p:txBody>
          <a:bodyPr wrap="square" rtlCol="0">
            <a:noAutofit/>
          </a:bodyPr>
          <a:lstStyle/>
          <a:p>
            <a:pPr>
              <a:spcBef>
                <a:spcPts val="400"/>
              </a:spcBef>
            </a:pPr>
            <a:r>
              <a:rPr lang="en-US" sz="1200" b="1">
                <a:solidFill>
                  <a:schemeClr val="accent4"/>
                </a:solidFill>
                <a:latin typeface="+mj-lt"/>
              </a:rPr>
              <a:t>REUSABLE</a:t>
            </a:r>
          </a:p>
          <a:p>
            <a:pPr>
              <a:spcBef>
                <a:spcPts val="400"/>
              </a:spcBef>
            </a:pPr>
            <a:r>
              <a:rPr lang="en-US" sz="1100">
                <a:solidFill>
                  <a:schemeClr val="bg1"/>
                </a:solidFill>
                <a:ea typeface="Calibri" panose="020F0502020204030204" pitchFamily="34" charset="0"/>
                <a:cs typeface="Times New Roman" panose="02020603050405020304" pitchFamily="18" charset="0"/>
              </a:rPr>
              <a:t>Reusable packaging is packaging that allows either the business or the consumer to put the same type of purchased product back into the original packaging, is designed to be returnable and/or refillable, is free of chemicals of concern, and accomplishes a minimum number of reuses by being part of a system that enables reuse. </a:t>
            </a:r>
          </a:p>
        </p:txBody>
      </p:sp>
      <p:sp>
        <p:nvSpPr>
          <p:cNvPr id="210" name="TextBox 209">
            <a:extLst>
              <a:ext uri="{FF2B5EF4-FFF2-40B4-BE49-F238E27FC236}">
                <a16:creationId xmlns:a16="http://schemas.microsoft.com/office/drawing/2014/main" id="{F12ACA9A-7CF6-17BF-00AC-91790EA5C9A6}"/>
              </a:ext>
            </a:extLst>
          </p:cNvPr>
          <p:cNvSpPr txBox="1"/>
          <p:nvPr/>
        </p:nvSpPr>
        <p:spPr>
          <a:xfrm>
            <a:off x="6610350" y="2677850"/>
            <a:ext cx="5191124" cy="1005403"/>
          </a:xfrm>
          <a:prstGeom prst="rect">
            <a:avLst/>
          </a:prstGeom>
          <a:noFill/>
        </p:spPr>
        <p:txBody>
          <a:bodyPr wrap="square" rtlCol="0">
            <a:noAutofit/>
          </a:bodyPr>
          <a:lstStyle/>
          <a:p>
            <a:pPr>
              <a:spcBef>
                <a:spcPts val="400"/>
              </a:spcBef>
            </a:pPr>
            <a:r>
              <a:rPr lang="en-US" sz="1200" b="1">
                <a:solidFill>
                  <a:schemeClr val="accent4"/>
                </a:solidFill>
                <a:latin typeface="+mj-lt"/>
              </a:rPr>
              <a:t>PET</a:t>
            </a:r>
          </a:p>
          <a:p>
            <a:pPr>
              <a:spcBef>
                <a:spcPts val="400"/>
              </a:spcBef>
            </a:pPr>
            <a:r>
              <a:rPr lang="en-US" sz="1100">
                <a:solidFill>
                  <a:schemeClr val="bg1"/>
                </a:solidFill>
                <a:ea typeface="Calibri" panose="020F0502020204030204" pitchFamily="34" charset="0"/>
                <a:cs typeface="Times New Roman" panose="02020603050405020304" pitchFamily="18" charset="0"/>
              </a:rPr>
              <a:t>Polyethylene terephthalate, also called PET, is the name of a type of clear, strong, lightweight and 100% recyclable plastic. Unlike other types of plastic, PET plastic is not single-use -- it is 100% recyclable, versatile, and made to be remade.</a:t>
            </a:r>
          </a:p>
        </p:txBody>
      </p:sp>
      <p:sp>
        <p:nvSpPr>
          <p:cNvPr id="211" name="TextBox 210">
            <a:extLst>
              <a:ext uri="{FF2B5EF4-FFF2-40B4-BE49-F238E27FC236}">
                <a16:creationId xmlns:a16="http://schemas.microsoft.com/office/drawing/2014/main" id="{08B85867-E96A-B1E3-B3CD-9A4717F04000}"/>
              </a:ext>
            </a:extLst>
          </p:cNvPr>
          <p:cNvSpPr txBox="1"/>
          <p:nvPr/>
        </p:nvSpPr>
        <p:spPr>
          <a:xfrm>
            <a:off x="6610350" y="3722747"/>
            <a:ext cx="5191124" cy="666849"/>
          </a:xfrm>
          <a:prstGeom prst="rect">
            <a:avLst/>
          </a:prstGeom>
          <a:noFill/>
        </p:spPr>
        <p:txBody>
          <a:bodyPr wrap="square" rtlCol="0">
            <a:noAutofit/>
          </a:bodyPr>
          <a:lstStyle/>
          <a:p>
            <a:pPr>
              <a:spcBef>
                <a:spcPts val="400"/>
              </a:spcBef>
            </a:pPr>
            <a:r>
              <a:rPr lang="en-US" sz="1200" b="1" err="1">
                <a:solidFill>
                  <a:schemeClr val="accent4"/>
                </a:solidFill>
                <a:latin typeface="+mj-lt"/>
              </a:rPr>
              <a:t>rPET</a:t>
            </a:r>
            <a:endParaRPr lang="en-US" sz="1200" b="1">
              <a:solidFill>
                <a:schemeClr val="accent4"/>
              </a:solidFill>
              <a:latin typeface="+mj-lt"/>
            </a:endParaRPr>
          </a:p>
          <a:p>
            <a:pPr>
              <a:spcBef>
                <a:spcPts val="400"/>
              </a:spcBef>
            </a:pPr>
            <a:r>
              <a:rPr lang="en-US" sz="1100">
                <a:solidFill>
                  <a:schemeClr val="bg1"/>
                </a:solidFill>
                <a:ea typeface="Calibri" panose="020F0502020204030204" pitchFamily="34" charset="0"/>
                <a:cs typeface="Times New Roman" panose="02020603050405020304" pitchFamily="18" charset="0"/>
              </a:rPr>
              <a:t>Plastic recycled from post-consumer PET packaging (aka “recycled polyethylene terephthalate” or “</a:t>
            </a:r>
            <a:r>
              <a:rPr lang="en-US" sz="1100" err="1">
                <a:solidFill>
                  <a:schemeClr val="bg1"/>
                </a:solidFill>
                <a:ea typeface="Calibri" panose="020F0502020204030204" pitchFamily="34" charset="0"/>
                <a:cs typeface="Times New Roman" panose="02020603050405020304" pitchFamily="18" charset="0"/>
              </a:rPr>
              <a:t>rPET</a:t>
            </a:r>
            <a:r>
              <a:rPr lang="en-US" sz="1100">
                <a:solidFill>
                  <a:schemeClr val="bg1"/>
                </a:solidFill>
                <a:ea typeface="Calibri" panose="020F0502020204030204" pitchFamily="34" charset="0"/>
                <a:cs typeface="Times New Roman" panose="02020603050405020304" pitchFamily="18" charset="0"/>
              </a:rPr>
              <a:t>”). </a:t>
            </a:r>
          </a:p>
        </p:txBody>
      </p:sp>
      <p:sp>
        <p:nvSpPr>
          <p:cNvPr id="212" name="TextBox 211">
            <a:extLst>
              <a:ext uri="{FF2B5EF4-FFF2-40B4-BE49-F238E27FC236}">
                <a16:creationId xmlns:a16="http://schemas.microsoft.com/office/drawing/2014/main" id="{B89BF225-D511-7E3A-822C-881BCD88EF90}"/>
              </a:ext>
            </a:extLst>
          </p:cNvPr>
          <p:cNvSpPr txBox="1"/>
          <p:nvPr/>
        </p:nvSpPr>
        <p:spPr>
          <a:xfrm>
            <a:off x="6610350" y="4429090"/>
            <a:ext cx="5191124" cy="1012825"/>
          </a:xfrm>
          <a:prstGeom prst="rect">
            <a:avLst/>
          </a:prstGeom>
          <a:noFill/>
        </p:spPr>
        <p:txBody>
          <a:bodyPr wrap="square" rtlCol="0">
            <a:noAutofit/>
          </a:bodyPr>
          <a:lstStyle/>
          <a:p>
            <a:pPr>
              <a:spcBef>
                <a:spcPts val="400"/>
              </a:spcBef>
            </a:pPr>
            <a:r>
              <a:rPr lang="en-US" sz="1200" b="1">
                <a:solidFill>
                  <a:schemeClr val="accent4"/>
                </a:solidFill>
                <a:latin typeface="+mj-lt"/>
              </a:rPr>
              <a:t>BIO-BASED PLASTICS</a:t>
            </a:r>
          </a:p>
          <a:p>
            <a:pPr>
              <a:spcBef>
                <a:spcPts val="400"/>
              </a:spcBef>
            </a:pPr>
            <a:r>
              <a:rPr lang="en-US" sz="1100">
                <a:solidFill>
                  <a:schemeClr val="bg1"/>
                </a:solidFill>
                <a:ea typeface="Calibri" panose="020F0502020204030204" pitchFamily="34" charset="0"/>
                <a:cs typeface="Times New Roman" panose="02020603050405020304" pitchFamily="18" charset="0"/>
              </a:rPr>
              <a:t>Biobased plastics are produced from a renewable resource. Biobased plastics can be chemically identical to conventional plastics and some biobased plastics are biodegradable under specific EOL conditions. Examples of biobased plastics included </a:t>
            </a:r>
            <a:r>
              <a:rPr lang="en-US" sz="1100" err="1">
                <a:solidFill>
                  <a:schemeClr val="bg1"/>
                </a:solidFill>
                <a:ea typeface="Calibri" panose="020F0502020204030204" pitchFamily="34" charset="0"/>
                <a:cs typeface="Times New Roman" panose="02020603050405020304" pitchFamily="18" charset="0"/>
              </a:rPr>
              <a:t>BioPET</a:t>
            </a:r>
            <a:r>
              <a:rPr lang="en-US" sz="1100">
                <a:solidFill>
                  <a:schemeClr val="bg1"/>
                </a:solidFill>
                <a:ea typeface="Calibri" panose="020F0502020204030204" pitchFamily="34" charset="0"/>
                <a:cs typeface="Times New Roman" panose="02020603050405020304" pitchFamily="18" charset="0"/>
              </a:rPr>
              <a:t>, PLA and PHA.</a:t>
            </a:r>
          </a:p>
        </p:txBody>
      </p:sp>
      <p:cxnSp>
        <p:nvCxnSpPr>
          <p:cNvPr id="213" name="Straight Connector 212">
            <a:extLst>
              <a:ext uri="{FF2B5EF4-FFF2-40B4-BE49-F238E27FC236}">
                <a16:creationId xmlns:a16="http://schemas.microsoft.com/office/drawing/2014/main" id="{8339CA37-1638-2EA6-7804-561E88954EC1}"/>
              </a:ext>
            </a:extLst>
          </p:cNvPr>
          <p:cNvCxnSpPr>
            <a:cxnSpLocks/>
          </p:cNvCxnSpPr>
          <p:nvPr/>
        </p:nvCxnSpPr>
        <p:spPr>
          <a:xfrm>
            <a:off x="6610350" y="2658103"/>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4116952C-19F2-1B9C-C512-F3C1DDF29293}"/>
              </a:ext>
            </a:extLst>
          </p:cNvPr>
          <p:cNvCxnSpPr>
            <a:cxnSpLocks/>
          </p:cNvCxnSpPr>
          <p:nvPr/>
        </p:nvCxnSpPr>
        <p:spPr>
          <a:xfrm>
            <a:off x="6610350" y="3703000"/>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0DBF8FE8-1FA2-C80A-0BDF-BE1B0C7C74D9}"/>
              </a:ext>
            </a:extLst>
          </p:cNvPr>
          <p:cNvCxnSpPr>
            <a:cxnSpLocks/>
          </p:cNvCxnSpPr>
          <p:nvPr/>
        </p:nvCxnSpPr>
        <p:spPr>
          <a:xfrm>
            <a:off x="6610350" y="4409343"/>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AA4D93BD-55F6-FD17-919E-9101F97B132E}"/>
              </a:ext>
            </a:extLst>
          </p:cNvPr>
          <p:cNvSpPr txBox="1"/>
          <p:nvPr/>
        </p:nvSpPr>
        <p:spPr>
          <a:xfrm>
            <a:off x="731996" y="1463675"/>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VIRGIN PLASTIC</a:t>
            </a:r>
          </a:p>
          <a:p>
            <a:pPr>
              <a:spcBef>
                <a:spcPts val="400"/>
              </a:spcBef>
            </a:pPr>
            <a:r>
              <a:rPr lang="en-US" sz="1100">
                <a:solidFill>
                  <a:schemeClr val="bg1"/>
                </a:solidFill>
                <a:ea typeface="Calibri" panose="020F0502020204030204" pitchFamily="34" charset="0"/>
                <a:cs typeface="Times New Roman" panose="02020603050405020304" pitchFamily="18" charset="0"/>
              </a:rPr>
              <a:t>New plastic material entering the supply chain for the first time, rather than made from recycled or alternative materials. </a:t>
            </a:r>
          </a:p>
        </p:txBody>
      </p:sp>
      <p:sp>
        <p:nvSpPr>
          <p:cNvPr id="221" name="TextBox 220">
            <a:extLst>
              <a:ext uri="{FF2B5EF4-FFF2-40B4-BE49-F238E27FC236}">
                <a16:creationId xmlns:a16="http://schemas.microsoft.com/office/drawing/2014/main" id="{94F83F31-143B-D9E7-0AA5-7A426ECBEA59}"/>
              </a:ext>
            </a:extLst>
          </p:cNvPr>
          <p:cNvSpPr txBox="1"/>
          <p:nvPr/>
        </p:nvSpPr>
        <p:spPr>
          <a:xfrm>
            <a:off x="731996" y="2416014"/>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RECYCLABLE</a:t>
            </a:r>
          </a:p>
          <a:p>
            <a:pPr>
              <a:spcBef>
                <a:spcPts val="400"/>
              </a:spcBef>
            </a:pPr>
            <a:r>
              <a:rPr lang="en-US" sz="1100">
                <a:solidFill>
                  <a:schemeClr val="bg1"/>
                </a:solidFill>
                <a:ea typeface="Calibri" panose="020F0502020204030204" pitchFamily="34" charset="0"/>
                <a:cs typeface="Times New Roman" panose="02020603050405020304" pitchFamily="18" charset="0"/>
              </a:rPr>
              <a:t>The turning of materials that would otherwise become waste into materials that are processed and turned back into raw materials or products. </a:t>
            </a:r>
          </a:p>
        </p:txBody>
      </p:sp>
      <p:sp>
        <p:nvSpPr>
          <p:cNvPr id="222" name="TextBox 221">
            <a:extLst>
              <a:ext uri="{FF2B5EF4-FFF2-40B4-BE49-F238E27FC236}">
                <a16:creationId xmlns:a16="http://schemas.microsoft.com/office/drawing/2014/main" id="{8A27E5FA-5645-CBD5-A205-5AADCACBF09F}"/>
              </a:ext>
            </a:extLst>
          </p:cNvPr>
          <p:cNvSpPr txBox="1"/>
          <p:nvPr/>
        </p:nvSpPr>
        <p:spPr>
          <a:xfrm>
            <a:off x="731996" y="3368353"/>
            <a:ext cx="5191124" cy="1005403"/>
          </a:xfrm>
          <a:prstGeom prst="rect">
            <a:avLst/>
          </a:prstGeom>
          <a:noFill/>
        </p:spPr>
        <p:txBody>
          <a:bodyPr wrap="square" rtlCol="0">
            <a:noAutofit/>
          </a:bodyPr>
          <a:lstStyle/>
          <a:p>
            <a:pPr>
              <a:spcBef>
                <a:spcPts val="400"/>
              </a:spcBef>
            </a:pPr>
            <a:r>
              <a:rPr lang="en-US" sz="1200" b="1">
                <a:solidFill>
                  <a:schemeClr val="accent4"/>
                </a:solidFill>
                <a:latin typeface="+mj-lt"/>
              </a:rPr>
              <a:t>COMPOSTABLE</a:t>
            </a:r>
          </a:p>
          <a:p>
            <a:pPr>
              <a:spcBef>
                <a:spcPts val="400"/>
              </a:spcBef>
            </a:pPr>
            <a:r>
              <a:rPr lang="en-US" sz="1100">
                <a:solidFill>
                  <a:schemeClr val="bg1"/>
                </a:solidFill>
                <a:ea typeface="Calibri" panose="020F0502020204030204" pitchFamily="34" charset="0"/>
                <a:cs typeface="Times New Roman" panose="02020603050405020304" pitchFamily="18" charset="0"/>
              </a:rPr>
              <a:t>Compostable plastics are a subset of biodegradable plastics since composting is one specific environment where aerobic biodegradation occurs. To be considered compostable, plastic packaging must undergo rigorous testing and adhere to international standards. </a:t>
            </a:r>
          </a:p>
        </p:txBody>
      </p:sp>
      <p:sp>
        <p:nvSpPr>
          <p:cNvPr id="223" name="TextBox 222">
            <a:extLst>
              <a:ext uri="{FF2B5EF4-FFF2-40B4-BE49-F238E27FC236}">
                <a16:creationId xmlns:a16="http://schemas.microsoft.com/office/drawing/2014/main" id="{0593580E-4D20-8EF3-E29E-2B5F5E6C37D1}"/>
              </a:ext>
            </a:extLst>
          </p:cNvPr>
          <p:cNvSpPr txBox="1"/>
          <p:nvPr/>
        </p:nvSpPr>
        <p:spPr>
          <a:xfrm>
            <a:off x="731996" y="4659243"/>
            <a:ext cx="5191124" cy="1174681"/>
          </a:xfrm>
          <a:prstGeom prst="rect">
            <a:avLst/>
          </a:prstGeom>
          <a:noFill/>
        </p:spPr>
        <p:txBody>
          <a:bodyPr wrap="square" rtlCol="0">
            <a:noAutofit/>
          </a:bodyPr>
          <a:lstStyle/>
          <a:p>
            <a:pPr>
              <a:spcBef>
                <a:spcPts val="400"/>
              </a:spcBef>
            </a:pPr>
            <a:r>
              <a:rPr lang="en-US" sz="1200" b="1">
                <a:solidFill>
                  <a:schemeClr val="accent4"/>
                </a:solidFill>
                <a:latin typeface="+mj-lt"/>
              </a:rPr>
              <a:t>BIODEGRADABLE</a:t>
            </a:r>
          </a:p>
          <a:p>
            <a:pPr>
              <a:spcBef>
                <a:spcPts val="400"/>
              </a:spcBef>
            </a:pPr>
            <a:r>
              <a:rPr lang="en-US" sz="1100">
                <a:solidFill>
                  <a:schemeClr val="bg1"/>
                </a:solidFill>
                <a:ea typeface="Calibri" panose="020F0502020204030204" pitchFamily="34" charset="0"/>
                <a:cs typeface="Times New Roman" panose="02020603050405020304" pitchFamily="18" charset="0"/>
              </a:rPr>
              <a:t>Biodegradable refers to the end of life (EOL) of the concerned material. Biodegradable plastics can be fossil-based or biobased. They can be broken down completely by microorganisms through either aerobic or anaerobic degradation to yield carbon dioxide and water, or carbon dioxide, water, and methane, respectively, within a specified time and environment.</a:t>
            </a:r>
          </a:p>
        </p:txBody>
      </p:sp>
      <p:cxnSp>
        <p:nvCxnSpPr>
          <p:cNvPr id="229" name="Straight Connector 228">
            <a:extLst>
              <a:ext uri="{FF2B5EF4-FFF2-40B4-BE49-F238E27FC236}">
                <a16:creationId xmlns:a16="http://schemas.microsoft.com/office/drawing/2014/main" id="{AEB28351-5CFE-6AEB-5AD4-69AA88E0F4E7}"/>
              </a:ext>
            </a:extLst>
          </p:cNvPr>
          <p:cNvCxnSpPr>
            <a:cxnSpLocks/>
          </p:cNvCxnSpPr>
          <p:nvPr/>
        </p:nvCxnSpPr>
        <p:spPr>
          <a:xfrm>
            <a:off x="731996" y="2273269"/>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C9071964-F145-7AF8-85A4-9A7F3FB6057F}"/>
              </a:ext>
            </a:extLst>
          </p:cNvPr>
          <p:cNvCxnSpPr>
            <a:cxnSpLocks/>
          </p:cNvCxnSpPr>
          <p:nvPr/>
        </p:nvCxnSpPr>
        <p:spPr>
          <a:xfrm>
            <a:off x="731996" y="3225608"/>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9282A57A-D646-A289-81AF-3BBBD8F53A03}"/>
              </a:ext>
            </a:extLst>
          </p:cNvPr>
          <p:cNvCxnSpPr>
            <a:cxnSpLocks/>
          </p:cNvCxnSpPr>
          <p:nvPr/>
        </p:nvCxnSpPr>
        <p:spPr>
          <a:xfrm>
            <a:off x="731996" y="4516501"/>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pic>
        <p:nvPicPr>
          <p:cNvPr id="239" name="Graphic 238">
            <a:extLst>
              <a:ext uri="{FF2B5EF4-FFF2-40B4-BE49-F238E27FC236}">
                <a16:creationId xmlns:a16="http://schemas.microsoft.com/office/drawing/2014/main" id="{6C1FEEA7-E2DA-B9C9-1264-260A4B6799F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4800" y="140391"/>
            <a:ext cx="618170" cy="618170"/>
          </a:xfrm>
          <a:prstGeom prst="rect">
            <a:avLst/>
          </a:prstGeom>
        </p:spPr>
      </p:pic>
      <p:sp>
        <p:nvSpPr>
          <p:cNvPr id="4" name="Title 3">
            <a:extLst>
              <a:ext uri="{FF2B5EF4-FFF2-40B4-BE49-F238E27FC236}">
                <a16:creationId xmlns:a16="http://schemas.microsoft.com/office/drawing/2014/main" id="{B15D0B8F-4376-9D46-9B62-21EEFCE8C7CD}"/>
              </a:ext>
            </a:extLst>
          </p:cNvPr>
          <p:cNvSpPr>
            <a:spLocks noGrp="1"/>
          </p:cNvSpPr>
          <p:nvPr>
            <p:ph type="title"/>
          </p:nvPr>
        </p:nvSpPr>
        <p:spPr>
          <a:xfrm>
            <a:off x="304798" y="246888"/>
            <a:ext cx="11585448" cy="969264"/>
          </a:xfrm>
        </p:spPr>
        <p:txBody>
          <a:bodyPr vert="horz" lIns="822960" rIns="91440"/>
          <a:lstStyle/>
          <a:p>
            <a:r>
              <a:rPr lang="en-US" b="1" cap="none">
                <a:solidFill>
                  <a:srgbClr val="8DBD29"/>
                </a:solidFill>
              </a:rPr>
              <a:t>PACKAGING</a:t>
            </a:r>
            <a:endParaRPr lang="en-MX" b="1" cap="none">
              <a:solidFill>
                <a:srgbClr val="8DBD29"/>
              </a:solidFill>
            </a:endParaRPr>
          </a:p>
        </p:txBody>
      </p:sp>
      <p:sp>
        <p:nvSpPr>
          <p:cNvPr id="235" name="TextBox 234">
            <a:extLst>
              <a:ext uri="{FF2B5EF4-FFF2-40B4-BE49-F238E27FC236}">
                <a16:creationId xmlns:a16="http://schemas.microsoft.com/office/drawing/2014/main" id="{64CF1EFA-2382-FAA9-C9F6-FF7318609F73}"/>
              </a:ext>
            </a:extLst>
          </p:cNvPr>
          <p:cNvSpPr txBox="1"/>
          <p:nvPr/>
        </p:nvSpPr>
        <p:spPr>
          <a:xfrm>
            <a:off x="6610350" y="5481405"/>
            <a:ext cx="5191124" cy="666849"/>
          </a:xfrm>
          <a:prstGeom prst="rect">
            <a:avLst/>
          </a:prstGeom>
          <a:noFill/>
        </p:spPr>
        <p:txBody>
          <a:bodyPr wrap="square" rtlCol="0">
            <a:spAutoFit/>
          </a:bodyPr>
          <a:lstStyle/>
          <a:p>
            <a:pPr>
              <a:spcBef>
                <a:spcPts val="400"/>
              </a:spcBef>
            </a:pPr>
            <a:r>
              <a:rPr lang="en-US" sz="1200" b="1">
                <a:solidFill>
                  <a:schemeClr val="accent4"/>
                </a:solidFill>
                <a:latin typeface="+mj-lt"/>
              </a:rPr>
              <a:t>PRODUCT LIFE CYCLE ENVIRONMENTAL IMPACT/ LIFECYCLE ANALYSIS (LCA)</a:t>
            </a:r>
          </a:p>
          <a:p>
            <a:pPr>
              <a:spcBef>
                <a:spcPts val="400"/>
              </a:spcBef>
            </a:pPr>
            <a:r>
              <a:rPr lang="en-US" sz="1100">
                <a:solidFill>
                  <a:schemeClr val="bg1"/>
                </a:solidFill>
                <a:ea typeface="Calibri" panose="020F0502020204030204" pitchFamily="34" charset="0"/>
                <a:cs typeface="Times New Roman" panose="02020603050405020304" pitchFamily="18" charset="0"/>
              </a:rPr>
              <a:t>A way of calculating the environmental impact of a product across the full lifetime of that product. </a:t>
            </a:r>
          </a:p>
        </p:txBody>
      </p:sp>
      <p:cxnSp>
        <p:nvCxnSpPr>
          <p:cNvPr id="236" name="Straight Connector 235">
            <a:extLst>
              <a:ext uri="{FF2B5EF4-FFF2-40B4-BE49-F238E27FC236}">
                <a16:creationId xmlns:a16="http://schemas.microsoft.com/office/drawing/2014/main" id="{CC14D5A9-85C4-5A28-33FA-47169618002B}"/>
              </a:ext>
            </a:extLst>
          </p:cNvPr>
          <p:cNvCxnSpPr>
            <a:cxnSpLocks/>
          </p:cNvCxnSpPr>
          <p:nvPr/>
        </p:nvCxnSpPr>
        <p:spPr>
          <a:xfrm>
            <a:off x="6610350" y="5461662"/>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45" name="Group 244">
            <a:extLst>
              <a:ext uri="{FF2B5EF4-FFF2-40B4-BE49-F238E27FC236}">
                <a16:creationId xmlns:a16="http://schemas.microsoft.com/office/drawing/2014/main" id="{BDD6F39A-72EE-4C4F-BC6D-C5B8F6A79CA9}"/>
              </a:ext>
            </a:extLst>
          </p:cNvPr>
          <p:cNvGrpSpPr/>
          <p:nvPr/>
        </p:nvGrpSpPr>
        <p:grpSpPr>
          <a:xfrm>
            <a:off x="372424" y="1440815"/>
            <a:ext cx="354334" cy="354334"/>
            <a:chOff x="372424" y="1440815"/>
            <a:chExt cx="354334" cy="354334"/>
          </a:xfrm>
        </p:grpSpPr>
        <p:sp>
          <p:nvSpPr>
            <p:cNvPr id="224" name="Oval 223">
              <a:extLst>
                <a:ext uri="{FF2B5EF4-FFF2-40B4-BE49-F238E27FC236}">
                  <a16:creationId xmlns:a16="http://schemas.microsoft.com/office/drawing/2014/main" id="{623C8C12-8FEB-A413-4C94-A683F852765F}"/>
                </a:ext>
              </a:extLst>
            </p:cNvPr>
            <p:cNvSpPr/>
            <p:nvPr/>
          </p:nvSpPr>
          <p:spPr>
            <a:xfrm>
              <a:off x="372424"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Graphic 242">
              <a:extLst>
                <a:ext uri="{FF2B5EF4-FFF2-40B4-BE49-F238E27FC236}">
                  <a16:creationId xmlns:a16="http://schemas.microsoft.com/office/drawing/2014/main" id="{91426786-FEDF-1EEF-1053-0B6BB0B9D097}"/>
                </a:ext>
              </a:extLst>
            </p:cNvPr>
            <p:cNvSpPr/>
            <p:nvPr/>
          </p:nvSpPr>
          <p:spPr>
            <a:xfrm>
              <a:off x="463389" y="1518388"/>
              <a:ext cx="172406" cy="199190"/>
            </a:xfrm>
            <a:custGeom>
              <a:avLst/>
              <a:gdLst>
                <a:gd name="csX0" fmla="*/ 3735272 w 4221012"/>
                <a:gd name="csY0" fmla="*/ 0 h 4876800"/>
                <a:gd name="csX1" fmla="*/ 3185755 w 4221012"/>
                <a:gd name="csY1" fmla="*/ 0 h 4876800"/>
                <a:gd name="csX2" fmla="*/ 3185755 w 4221012"/>
                <a:gd name="csY2" fmla="*/ 1267787 h 4876800"/>
                <a:gd name="csX3" fmla="*/ 1035258 w 4221012"/>
                <a:gd name="csY3" fmla="*/ 1267787 h 4876800"/>
                <a:gd name="csX4" fmla="*/ 1035258 w 4221012"/>
                <a:gd name="csY4" fmla="*/ 0 h 4876800"/>
                <a:gd name="csX5" fmla="*/ 485741 w 4221012"/>
                <a:gd name="csY5" fmla="*/ 0 h 4876800"/>
                <a:gd name="csX6" fmla="*/ 178284 w 4221012"/>
                <a:gd name="csY6" fmla="*/ 4876800 h 4876800"/>
                <a:gd name="csX7" fmla="*/ 4042729 w 4221012"/>
                <a:gd name="csY7" fmla="*/ 4876800 h 4876800"/>
                <a:gd name="csX8" fmla="*/ 3735272 w 4221012"/>
                <a:gd name="csY8" fmla="*/ 0 h 4876800"/>
                <a:gd name="csX9" fmla="*/ 1795677 w 4221012"/>
                <a:gd name="csY9" fmla="*/ 1642948 h 4876800"/>
                <a:gd name="csX10" fmla="*/ 2449720 w 4221012"/>
                <a:gd name="csY10" fmla="*/ 1642948 h 4876800"/>
                <a:gd name="csX11" fmla="*/ 2978063 w 4221012"/>
                <a:gd name="csY11" fmla="*/ 2549033 h 4876800"/>
                <a:gd name="csX12" fmla="*/ 2731184 w 4221012"/>
                <a:gd name="csY12" fmla="*/ 2692927 h 4876800"/>
                <a:gd name="csX13" fmla="*/ 2285890 w 4221012"/>
                <a:gd name="csY13" fmla="*/ 1928698 h 4876800"/>
                <a:gd name="csX14" fmla="*/ 1962126 w 4221012"/>
                <a:gd name="csY14" fmla="*/ 1928698 h 4876800"/>
                <a:gd name="csX15" fmla="*/ 1527415 w 4221012"/>
                <a:gd name="csY15" fmla="*/ 2691689 h 4876800"/>
                <a:gd name="csX16" fmla="*/ 1279117 w 4221012"/>
                <a:gd name="csY16" fmla="*/ 2550262 h 4876800"/>
                <a:gd name="csX17" fmla="*/ 2121584 w 4221012"/>
                <a:gd name="csY17" fmla="*/ 2927919 h 4876800"/>
                <a:gd name="csX18" fmla="*/ 1994187 w 4221012"/>
                <a:gd name="csY18" fmla="*/ 3055315 h 4876800"/>
                <a:gd name="csX19" fmla="*/ 1994187 w 4221012"/>
                <a:gd name="csY19" fmla="*/ 3083424 h 4876800"/>
                <a:gd name="csX20" fmla="*/ 1708437 w 4221012"/>
                <a:gd name="csY20" fmla="*/ 3083424 h 4876800"/>
                <a:gd name="csX21" fmla="*/ 1708437 w 4221012"/>
                <a:gd name="csY21" fmla="*/ 3055315 h 4876800"/>
                <a:gd name="csX22" fmla="*/ 2121584 w 4221012"/>
                <a:gd name="csY22" fmla="*/ 2642169 h 4876800"/>
                <a:gd name="csX23" fmla="*/ 2534731 w 4221012"/>
                <a:gd name="csY23" fmla="*/ 3055315 h 4876800"/>
                <a:gd name="csX24" fmla="*/ 2417278 w 4221012"/>
                <a:gd name="csY24" fmla="*/ 3366668 h 4876800"/>
                <a:gd name="csX25" fmla="*/ 2412678 w 4221012"/>
                <a:gd name="csY25" fmla="*/ 3371907 h 4876800"/>
                <a:gd name="csX26" fmla="*/ 2145397 w 4221012"/>
                <a:gd name="csY26" fmla="*/ 3621748 h 4876800"/>
                <a:gd name="csX27" fmla="*/ 2541217 w 4221012"/>
                <a:gd name="csY27" fmla="*/ 3621748 h 4876800"/>
                <a:gd name="csX28" fmla="*/ 2541217 w 4221012"/>
                <a:gd name="csY28" fmla="*/ 3907498 h 4876800"/>
                <a:gd name="csX29" fmla="*/ 1708085 w 4221012"/>
                <a:gd name="csY29" fmla="*/ 3907498 h 4876800"/>
                <a:gd name="csX30" fmla="*/ 1708637 w 4221012"/>
                <a:gd name="csY30" fmla="*/ 3638874 h 4876800"/>
                <a:gd name="csX31" fmla="*/ 2206614 w 4221012"/>
                <a:gd name="csY31" fmla="*/ 3173378 h 4876800"/>
                <a:gd name="csX32" fmla="*/ 2248981 w 4221012"/>
                <a:gd name="csY32" fmla="*/ 3055315 h 4876800"/>
                <a:gd name="csX33" fmla="*/ 2121584 w 4221012"/>
                <a:gd name="csY33" fmla="*/ 2927919 h 4876800"/>
                <a:gd name="csX34" fmla="*/ 1820651 w 4221012"/>
                <a:gd name="csY34" fmla="*/ 4532386 h 4876800"/>
                <a:gd name="csX35" fmla="*/ 775168 w 4221012"/>
                <a:gd name="csY35" fmla="*/ 4532386 h 4876800"/>
                <a:gd name="csX36" fmla="*/ 446965 w 4221012"/>
                <a:gd name="csY36" fmla="*/ 3969439 h 4876800"/>
                <a:gd name="csX37" fmla="*/ 942608 w 4221012"/>
                <a:gd name="csY37" fmla="*/ 3093958 h 4876800"/>
                <a:gd name="csX38" fmla="*/ 1191268 w 4221012"/>
                <a:gd name="csY38" fmla="*/ 3234738 h 4876800"/>
                <a:gd name="csX39" fmla="*/ 776511 w 4221012"/>
                <a:gd name="csY39" fmla="*/ 3967344 h 4876800"/>
                <a:gd name="csX40" fmla="*/ 939341 w 4221012"/>
                <a:gd name="csY40" fmla="*/ 4246636 h 4876800"/>
                <a:gd name="csX41" fmla="*/ 1820651 w 4221012"/>
                <a:gd name="csY41" fmla="*/ 4246636 h 4876800"/>
                <a:gd name="csX42" fmla="*/ 3445235 w 4221012"/>
                <a:gd name="csY42" fmla="*/ 4532386 h 4876800"/>
                <a:gd name="csX43" fmla="*/ 2422365 w 4221012"/>
                <a:gd name="csY43" fmla="*/ 4532386 h 4876800"/>
                <a:gd name="csX44" fmla="*/ 2422365 w 4221012"/>
                <a:gd name="csY44" fmla="*/ 4246636 h 4876800"/>
                <a:gd name="csX45" fmla="*/ 3281377 w 4221012"/>
                <a:gd name="csY45" fmla="*/ 4246636 h 4876800"/>
                <a:gd name="csX46" fmla="*/ 3444588 w 4221012"/>
                <a:gd name="csY46" fmla="*/ 3967744 h 4876800"/>
                <a:gd name="csX47" fmla="*/ 3032546 w 4221012"/>
                <a:gd name="csY47" fmla="*/ 3234328 h 4876800"/>
                <a:gd name="csX48" fmla="*/ 3281672 w 4221012"/>
                <a:gd name="csY48" fmla="*/ 3094368 h 4876800"/>
                <a:gd name="csX49" fmla="*/ 3773972 w 4221012"/>
                <a:gd name="csY49" fmla="*/ 3970649 h 48768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Lst>
              <a:rect l="l" t="t" r="r" b="b"/>
              <a:pathLst>
                <a:path w="4221012" h="4876800">
                  <a:moveTo>
                    <a:pt x="3735272" y="0"/>
                  </a:moveTo>
                  <a:lnTo>
                    <a:pt x="3185755" y="0"/>
                  </a:lnTo>
                  <a:lnTo>
                    <a:pt x="3185755" y="1267787"/>
                  </a:lnTo>
                  <a:lnTo>
                    <a:pt x="1035258" y="1267787"/>
                  </a:lnTo>
                  <a:lnTo>
                    <a:pt x="1035258" y="0"/>
                  </a:lnTo>
                  <a:lnTo>
                    <a:pt x="485741" y="0"/>
                  </a:lnTo>
                  <a:cubicBezTo>
                    <a:pt x="-32180" y="1570939"/>
                    <a:pt x="-138022" y="3254074"/>
                    <a:pt x="178284" y="4876800"/>
                  </a:cubicBezTo>
                  <a:lnTo>
                    <a:pt x="4042729" y="4876800"/>
                  </a:lnTo>
                  <a:cubicBezTo>
                    <a:pt x="4359035" y="3254074"/>
                    <a:pt x="4253194" y="1570939"/>
                    <a:pt x="3735272" y="0"/>
                  </a:cubicBezTo>
                  <a:close/>
                  <a:moveTo>
                    <a:pt x="1795677" y="1642948"/>
                  </a:moveTo>
                  <a:lnTo>
                    <a:pt x="2449720" y="1642948"/>
                  </a:lnTo>
                  <a:lnTo>
                    <a:pt x="2978063" y="2549033"/>
                  </a:lnTo>
                  <a:lnTo>
                    <a:pt x="2731184" y="2692927"/>
                  </a:lnTo>
                  <a:lnTo>
                    <a:pt x="2285890" y="1928698"/>
                  </a:lnTo>
                  <a:lnTo>
                    <a:pt x="1962126" y="1928698"/>
                  </a:lnTo>
                  <a:lnTo>
                    <a:pt x="1527415" y="2691689"/>
                  </a:lnTo>
                  <a:lnTo>
                    <a:pt x="1279117" y="2550262"/>
                  </a:lnTo>
                  <a:close/>
                  <a:moveTo>
                    <a:pt x="2121584" y="2927919"/>
                  </a:moveTo>
                  <a:cubicBezTo>
                    <a:pt x="2051337" y="2927919"/>
                    <a:pt x="1994187" y="2985069"/>
                    <a:pt x="1994187" y="3055315"/>
                  </a:cubicBezTo>
                  <a:lnTo>
                    <a:pt x="1994187" y="3083424"/>
                  </a:lnTo>
                  <a:lnTo>
                    <a:pt x="1708437" y="3083424"/>
                  </a:lnTo>
                  <a:lnTo>
                    <a:pt x="1708437" y="3055315"/>
                  </a:lnTo>
                  <a:cubicBezTo>
                    <a:pt x="1708437" y="2827506"/>
                    <a:pt x="1893775" y="2642169"/>
                    <a:pt x="2121584" y="2642169"/>
                  </a:cubicBezTo>
                  <a:cubicBezTo>
                    <a:pt x="2349393" y="2642169"/>
                    <a:pt x="2534731" y="2827506"/>
                    <a:pt x="2534731" y="3055315"/>
                  </a:cubicBezTo>
                  <a:cubicBezTo>
                    <a:pt x="2534731" y="3169987"/>
                    <a:pt x="2493021" y="3280553"/>
                    <a:pt x="2417278" y="3366668"/>
                  </a:cubicBezTo>
                  <a:lnTo>
                    <a:pt x="2412678" y="3371907"/>
                  </a:lnTo>
                  <a:lnTo>
                    <a:pt x="2145397" y="3621748"/>
                  </a:lnTo>
                  <a:lnTo>
                    <a:pt x="2541217" y="3621748"/>
                  </a:lnTo>
                  <a:lnTo>
                    <a:pt x="2541217" y="3907498"/>
                  </a:lnTo>
                  <a:lnTo>
                    <a:pt x="1708085" y="3907498"/>
                  </a:lnTo>
                  <a:lnTo>
                    <a:pt x="1708637" y="3638874"/>
                  </a:lnTo>
                  <a:lnTo>
                    <a:pt x="2206614" y="3173378"/>
                  </a:lnTo>
                  <a:cubicBezTo>
                    <a:pt x="2233979" y="3140164"/>
                    <a:pt x="2248981" y="3098483"/>
                    <a:pt x="2248981" y="3055315"/>
                  </a:cubicBezTo>
                  <a:cubicBezTo>
                    <a:pt x="2248981" y="2985069"/>
                    <a:pt x="2191831" y="2927919"/>
                    <a:pt x="2121584" y="2927919"/>
                  </a:cubicBezTo>
                  <a:close/>
                  <a:moveTo>
                    <a:pt x="1820651" y="4532386"/>
                  </a:moveTo>
                  <a:lnTo>
                    <a:pt x="775168" y="4532386"/>
                  </a:lnTo>
                  <a:lnTo>
                    <a:pt x="446965" y="3969439"/>
                  </a:lnTo>
                  <a:lnTo>
                    <a:pt x="942608" y="3093958"/>
                  </a:lnTo>
                  <a:lnTo>
                    <a:pt x="1191268" y="3234738"/>
                  </a:lnTo>
                  <a:lnTo>
                    <a:pt x="776511" y="3967344"/>
                  </a:lnTo>
                  <a:lnTo>
                    <a:pt x="939341" y="4246636"/>
                  </a:lnTo>
                  <a:lnTo>
                    <a:pt x="1820651" y="4246636"/>
                  </a:lnTo>
                  <a:close/>
                  <a:moveTo>
                    <a:pt x="3445235" y="4532386"/>
                  </a:moveTo>
                  <a:lnTo>
                    <a:pt x="2422365" y="4532386"/>
                  </a:lnTo>
                  <a:lnTo>
                    <a:pt x="2422365" y="4246636"/>
                  </a:lnTo>
                  <a:lnTo>
                    <a:pt x="3281377" y="4246636"/>
                  </a:lnTo>
                  <a:lnTo>
                    <a:pt x="3444588" y="3967744"/>
                  </a:lnTo>
                  <a:lnTo>
                    <a:pt x="3032546" y="3234328"/>
                  </a:lnTo>
                  <a:lnTo>
                    <a:pt x="3281672" y="3094368"/>
                  </a:lnTo>
                  <a:lnTo>
                    <a:pt x="3773972" y="3970649"/>
                  </a:lnTo>
                  <a:close/>
                </a:path>
              </a:pathLst>
            </a:custGeom>
            <a:solidFill>
              <a:srgbClr val="2B660F"/>
            </a:solidFill>
            <a:ln w="9525" cap="flat">
              <a:noFill/>
              <a:prstDash val="solid"/>
              <a:miter/>
            </a:ln>
          </p:spPr>
          <p:txBody>
            <a:bodyPr/>
            <a:lstStyle/>
            <a:p>
              <a:endParaRPr lang="en-US"/>
            </a:p>
          </p:txBody>
        </p:sp>
      </p:grpSp>
      <p:grpSp>
        <p:nvGrpSpPr>
          <p:cNvPr id="252" name="Group 251">
            <a:extLst>
              <a:ext uri="{FF2B5EF4-FFF2-40B4-BE49-F238E27FC236}">
                <a16:creationId xmlns:a16="http://schemas.microsoft.com/office/drawing/2014/main" id="{85CEA3FE-408C-16B1-615E-03B10311B7AA}"/>
              </a:ext>
            </a:extLst>
          </p:cNvPr>
          <p:cNvGrpSpPr/>
          <p:nvPr/>
        </p:nvGrpSpPr>
        <p:grpSpPr>
          <a:xfrm>
            <a:off x="372424" y="2414696"/>
            <a:ext cx="354334" cy="354334"/>
            <a:chOff x="372424" y="2414696"/>
            <a:chExt cx="354334" cy="354334"/>
          </a:xfrm>
        </p:grpSpPr>
        <p:sp>
          <p:nvSpPr>
            <p:cNvPr id="225" name="Oval 224">
              <a:extLst>
                <a:ext uri="{FF2B5EF4-FFF2-40B4-BE49-F238E27FC236}">
                  <a16:creationId xmlns:a16="http://schemas.microsoft.com/office/drawing/2014/main" id="{831803DE-EC59-FE7B-7A0F-156397B6996B}"/>
                </a:ext>
              </a:extLst>
            </p:cNvPr>
            <p:cNvSpPr/>
            <p:nvPr/>
          </p:nvSpPr>
          <p:spPr>
            <a:xfrm>
              <a:off x="372424" y="2414696"/>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8" name="Graphic 246">
              <a:extLst>
                <a:ext uri="{FF2B5EF4-FFF2-40B4-BE49-F238E27FC236}">
                  <a16:creationId xmlns:a16="http://schemas.microsoft.com/office/drawing/2014/main" id="{FBB35890-442B-9A94-1828-BEDB6C657686}"/>
                </a:ext>
              </a:extLst>
            </p:cNvPr>
            <p:cNvGrpSpPr/>
            <p:nvPr/>
          </p:nvGrpSpPr>
          <p:grpSpPr>
            <a:xfrm>
              <a:off x="434600" y="2485771"/>
              <a:ext cx="229982" cy="212186"/>
              <a:chOff x="3734225" y="1245934"/>
              <a:chExt cx="4723783" cy="4358229"/>
            </a:xfrm>
            <a:solidFill>
              <a:srgbClr val="2B660F"/>
            </a:solidFill>
          </p:grpSpPr>
          <p:sp>
            <p:nvSpPr>
              <p:cNvPr id="249" name="Freeform: Shape 248">
                <a:extLst>
                  <a:ext uri="{FF2B5EF4-FFF2-40B4-BE49-F238E27FC236}">
                    <a16:creationId xmlns:a16="http://schemas.microsoft.com/office/drawing/2014/main" id="{B225795B-ECEB-E28C-D4FF-518BBFEE8BB1}"/>
                  </a:ext>
                </a:extLst>
              </p:cNvPr>
              <p:cNvSpPr/>
              <p:nvPr/>
            </p:nvSpPr>
            <p:spPr>
              <a:xfrm>
                <a:off x="4598323" y="1245934"/>
                <a:ext cx="2996221" cy="1717300"/>
              </a:xfrm>
              <a:custGeom>
                <a:avLst/>
                <a:gdLst>
                  <a:gd name="csX0" fmla="*/ 1808018 w 2996221"/>
                  <a:gd name="csY0" fmla="*/ 1288986 h 1717300"/>
                  <a:gd name="csX1" fmla="*/ 1475509 w 2996221"/>
                  <a:gd name="csY1" fmla="*/ 793917 h 1717300"/>
                  <a:gd name="csX2" fmla="*/ 950884 w 2996221"/>
                  <a:gd name="csY2" fmla="*/ 1680608 h 1717300"/>
                  <a:gd name="csX3" fmla="*/ 847436 w 2996221"/>
                  <a:gd name="csY3" fmla="*/ 1710164 h 1717300"/>
                  <a:gd name="csX4" fmla="*/ 34636 w 2996221"/>
                  <a:gd name="csY4" fmla="*/ 1229873 h 1717300"/>
                  <a:gd name="csX5" fmla="*/ 12469 w 2996221"/>
                  <a:gd name="csY5" fmla="*/ 1126426 h 1717300"/>
                  <a:gd name="csX6" fmla="*/ 529705 w 2996221"/>
                  <a:gd name="csY6" fmla="*/ 254513 h 1717300"/>
                  <a:gd name="csX7" fmla="*/ 936105 w 2996221"/>
                  <a:gd name="csY7" fmla="*/ 3284 h 1717300"/>
                  <a:gd name="csX8" fmla="*/ 2022302 w 2996221"/>
                  <a:gd name="csY8" fmla="*/ 3284 h 1717300"/>
                  <a:gd name="csX9" fmla="*/ 2413924 w 2996221"/>
                  <a:gd name="csY9" fmla="*/ 224957 h 1717300"/>
                  <a:gd name="csX10" fmla="*/ 2716876 w 2996221"/>
                  <a:gd name="csY10" fmla="*/ 668302 h 1717300"/>
                  <a:gd name="csX11" fmla="*/ 2879437 w 2996221"/>
                  <a:gd name="csY11" fmla="*/ 557466 h 1717300"/>
                  <a:gd name="csX12" fmla="*/ 2968106 w 2996221"/>
                  <a:gd name="csY12" fmla="*/ 557466 h 1717300"/>
                  <a:gd name="csX13" fmla="*/ 2990273 w 2996221"/>
                  <a:gd name="csY13" fmla="*/ 638746 h 1717300"/>
                  <a:gd name="csX14" fmla="*/ 2694709 w 2996221"/>
                  <a:gd name="csY14" fmla="*/ 1525437 h 1717300"/>
                  <a:gd name="csX15" fmla="*/ 2620818 w 2996221"/>
                  <a:gd name="csY15" fmla="*/ 1577160 h 1717300"/>
                  <a:gd name="csX16" fmla="*/ 1689793 w 2996221"/>
                  <a:gd name="csY16" fmla="*/ 1525437 h 1717300"/>
                  <a:gd name="csX17" fmla="*/ 1623291 w 2996221"/>
                  <a:gd name="csY17" fmla="*/ 1473713 h 1717300"/>
                  <a:gd name="csX18" fmla="*/ 1652847 w 2996221"/>
                  <a:gd name="csY18" fmla="*/ 1392433 h 17173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2996221" h="1717300">
                    <a:moveTo>
                      <a:pt x="1808018" y="1288986"/>
                    </a:moveTo>
                    <a:lnTo>
                      <a:pt x="1475509" y="793917"/>
                    </a:lnTo>
                    <a:lnTo>
                      <a:pt x="950884" y="1680608"/>
                    </a:lnTo>
                    <a:cubicBezTo>
                      <a:pt x="928716" y="1717553"/>
                      <a:pt x="884382" y="1724942"/>
                      <a:pt x="847436" y="1710164"/>
                    </a:cubicBezTo>
                    <a:lnTo>
                      <a:pt x="34636" y="1229873"/>
                    </a:lnTo>
                    <a:cubicBezTo>
                      <a:pt x="-2309" y="1207706"/>
                      <a:pt x="-9698" y="1163371"/>
                      <a:pt x="12469" y="1126426"/>
                    </a:cubicBezTo>
                    <a:lnTo>
                      <a:pt x="529705" y="254513"/>
                    </a:lnTo>
                    <a:cubicBezTo>
                      <a:pt x="610985" y="114120"/>
                      <a:pt x="766156" y="18062"/>
                      <a:pt x="936105" y="3284"/>
                    </a:cubicBezTo>
                    <a:cubicBezTo>
                      <a:pt x="943495" y="3284"/>
                      <a:pt x="1970578" y="-4105"/>
                      <a:pt x="2022302" y="3284"/>
                    </a:cubicBezTo>
                    <a:cubicBezTo>
                      <a:pt x="2177473" y="10673"/>
                      <a:pt x="2325255" y="91953"/>
                      <a:pt x="2413924" y="224957"/>
                    </a:cubicBezTo>
                    <a:lnTo>
                      <a:pt x="2716876" y="668302"/>
                    </a:lnTo>
                    <a:lnTo>
                      <a:pt x="2879437" y="557466"/>
                    </a:lnTo>
                    <a:cubicBezTo>
                      <a:pt x="2908993" y="542688"/>
                      <a:pt x="2938549" y="542688"/>
                      <a:pt x="2968106" y="557466"/>
                    </a:cubicBezTo>
                    <a:cubicBezTo>
                      <a:pt x="2990273" y="579633"/>
                      <a:pt x="3005051" y="609190"/>
                      <a:pt x="2990273" y="638746"/>
                    </a:cubicBezTo>
                    <a:lnTo>
                      <a:pt x="2694709" y="1525437"/>
                    </a:lnTo>
                    <a:cubicBezTo>
                      <a:pt x="2687320" y="1554993"/>
                      <a:pt x="2657764" y="1577160"/>
                      <a:pt x="2620818" y="1577160"/>
                    </a:cubicBezTo>
                    <a:lnTo>
                      <a:pt x="1689793" y="1525437"/>
                    </a:lnTo>
                    <a:cubicBezTo>
                      <a:pt x="1660236" y="1525437"/>
                      <a:pt x="1630680" y="1503269"/>
                      <a:pt x="1623291" y="1473713"/>
                    </a:cubicBezTo>
                    <a:cubicBezTo>
                      <a:pt x="1615902" y="1444157"/>
                      <a:pt x="1623291" y="1407211"/>
                      <a:pt x="1652847" y="1392433"/>
                    </a:cubicBezTo>
                    <a:close/>
                  </a:path>
                </a:pathLst>
              </a:custGeom>
              <a:grpFill/>
              <a:ln w="73891" cap="flat">
                <a:noFill/>
                <a:prstDash val="solid"/>
                <a:miter/>
              </a:ln>
            </p:spPr>
            <p:txBody>
              <a:bodyPr/>
              <a:lstStyle/>
              <a:p>
                <a:endParaRPr lang="en-US"/>
              </a:p>
            </p:txBody>
          </p:sp>
          <p:sp>
            <p:nvSpPr>
              <p:cNvPr id="250" name="Freeform: Shape 249">
                <a:extLst>
                  <a:ext uri="{FF2B5EF4-FFF2-40B4-BE49-F238E27FC236}">
                    <a16:creationId xmlns:a16="http://schemas.microsoft.com/office/drawing/2014/main" id="{EFC611AA-3CA6-79B3-63BA-A21C9D820F1E}"/>
                  </a:ext>
                </a:extLst>
              </p:cNvPr>
              <p:cNvSpPr/>
              <p:nvPr/>
            </p:nvSpPr>
            <p:spPr>
              <a:xfrm>
                <a:off x="6116320" y="2817431"/>
                <a:ext cx="2341688" cy="2786732"/>
              </a:xfrm>
              <a:custGeom>
                <a:avLst/>
                <a:gdLst>
                  <a:gd name="csX0" fmla="*/ 2270298 w 2341688"/>
                  <a:gd name="csY0" fmla="*/ 1431758 h 2786732"/>
                  <a:gd name="csX1" fmla="*/ 1657004 w 2341688"/>
                  <a:gd name="csY1" fmla="*/ 2318449 h 2786732"/>
                  <a:gd name="csX2" fmla="*/ 1250604 w 2341688"/>
                  <a:gd name="csY2" fmla="*/ 2517954 h 2786732"/>
                  <a:gd name="csX3" fmla="*/ 711200 w 2341688"/>
                  <a:gd name="csY3" fmla="*/ 2517954 h 2786732"/>
                  <a:gd name="csX4" fmla="*/ 711200 w 2341688"/>
                  <a:gd name="csY4" fmla="*/ 2717460 h 2786732"/>
                  <a:gd name="csX5" fmla="*/ 659476 w 2341688"/>
                  <a:gd name="csY5" fmla="*/ 2783961 h 2786732"/>
                  <a:gd name="csX6" fmla="*/ 578196 w 2341688"/>
                  <a:gd name="csY6" fmla="*/ 2761794 h 2786732"/>
                  <a:gd name="csX7" fmla="*/ 16625 w 2341688"/>
                  <a:gd name="csY7" fmla="*/ 2015496 h 2786732"/>
                  <a:gd name="csX8" fmla="*/ 16625 w 2341688"/>
                  <a:gd name="csY8" fmla="*/ 1926827 h 2786732"/>
                  <a:gd name="csX9" fmla="*/ 585585 w 2341688"/>
                  <a:gd name="csY9" fmla="*/ 1187918 h 2786732"/>
                  <a:gd name="csX10" fmla="*/ 666865 w 2341688"/>
                  <a:gd name="csY10" fmla="*/ 1165750 h 2786732"/>
                  <a:gd name="csX11" fmla="*/ 718589 w 2341688"/>
                  <a:gd name="csY11" fmla="*/ 1239641 h 2786732"/>
                  <a:gd name="csX12" fmla="*/ 718589 w 2341688"/>
                  <a:gd name="csY12" fmla="*/ 1439147 h 2786732"/>
                  <a:gd name="csX13" fmla="*/ 1309716 w 2341688"/>
                  <a:gd name="csY13" fmla="*/ 1439147 h 2786732"/>
                  <a:gd name="csX14" fmla="*/ 873760 w 2341688"/>
                  <a:gd name="csY14" fmla="*/ 500732 h 2786732"/>
                  <a:gd name="csX15" fmla="*/ 910705 w 2341688"/>
                  <a:gd name="csY15" fmla="*/ 404674 h 2786732"/>
                  <a:gd name="csX16" fmla="*/ 1760451 w 2341688"/>
                  <a:gd name="csY16" fmla="*/ 5663 h 2786732"/>
                  <a:gd name="csX17" fmla="*/ 1856509 w 2341688"/>
                  <a:gd name="csY17" fmla="*/ 42608 h 2786732"/>
                  <a:gd name="csX18" fmla="*/ 2285076 w 2341688"/>
                  <a:gd name="csY18" fmla="*/ 966245 h 2786732"/>
                  <a:gd name="csX19" fmla="*/ 2270298 w 2341688"/>
                  <a:gd name="csY19" fmla="*/ 1431758 h 278673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Lst>
                <a:rect l="l" t="t" r="r" b="b"/>
                <a:pathLst>
                  <a:path w="2341688" h="2786732">
                    <a:moveTo>
                      <a:pt x="2270298" y="1431758"/>
                    </a:moveTo>
                    <a:cubicBezTo>
                      <a:pt x="2270298" y="1439147"/>
                      <a:pt x="1671782" y="2311060"/>
                      <a:pt x="1657004" y="2318449"/>
                    </a:cubicBezTo>
                    <a:cubicBezTo>
                      <a:pt x="1560946" y="2444063"/>
                      <a:pt x="1413164" y="2517954"/>
                      <a:pt x="1250604" y="2517954"/>
                    </a:cubicBezTo>
                    <a:lnTo>
                      <a:pt x="711200" y="2517954"/>
                    </a:lnTo>
                    <a:lnTo>
                      <a:pt x="711200" y="2717460"/>
                    </a:lnTo>
                    <a:cubicBezTo>
                      <a:pt x="711200" y="2747016"/>
                      <a:pt x="689033" y="2776572"/>
                      <a:pt x="659476" y="2783961"/>
                    </a:cubicBezTo>
                    <a:cubicBezTo>
                      <a:pt x="629920" y="2791350"/>
                      <a:pt x="600364" y="2783961"/>
                      <a:pt x="578196" y="2761794"/>
                    </a:cubicBezTo>
                    <a:lnTo>
                      <a:pt x="16625" y="2015496"/>
                    </a:lnTo>
                    <a:cubicBezTo>
                      <a:pt x="-5542" y="1985939"/>
                      <a:pt x="-5542" y="1948994"/>
                      <a:pt x="16625" y="1926827"/>
                    </a:cubicBezTo>
                    <a:lnTo>
                      <a:pt x="585585" y="1187918"/>
                    </a:lnTo>
                    <a:cubicBezTo>
                      <a:pt x="607753" y="1165750"/>
                      <a:pt x="637309" y="1150972"/>
                      <a:pt x="666865" y="1165750"/>
                    </a:cubicBezTo>
                    <a:cubicBezTo>
                      <a:pt x="696422" y="1173139"/>
                      <a:pt x="718589" y="1202696"/>
                      <a:pt x="718589" y="1239641"/>
                    </a:cubicBezTo>
                    <a:lnTo>
                      <a:pt x="718589" y="1439147"/>
                    </a:lnTo>
                    <a:lnTo>
                      <a:pt x="1309716" y="1439147"/>
                    </a:lnTo>
                    <a:lnTo>
                      <a:pt x="873760" y="500732"/>
                    </a:lnTo>
                    <a:cubicBezTo>
                      <a:pt x="858982" y="463787"/>
                      <a:pt x="873760" y="419452"/>
                      <a:pt x="910705" y="404674"/>
                    </a:cubicBezTo>
                    <a:lnTo>
                      <a:pt x="1760451" y="5663"/>
                    </a:lnTo>
                    <a:cubicBezTo>
                      <a:pt x="1797396" y="-9115"/>
                      <a:pt x="1841731" y="5663"/>
                      <a:pt x="1856509" y="42608"/>
                    </a:cubicBezTo>
                    <a:lnTo>
                      <a:pt x="2285076" y="966245"/>
                    </a:lnTo>
                    <a:cubicBezTo>
                      <a:pt x="2366357" y="1106638"/>
                      <a:pt x="2358967" y="1283976"/>
                      <a:pt x="2270298" y="1431758"/>
                    </a:cubicBezTo>
                    <a:close/>
                  </a:path>
                </a:pathLst>
              </a:custGeom>
              <a:grpFill/>
              <a:ln w="73891" cap="flat">
                <a:noFill/>
                <a:prstDash val="solid"/>
                <a:miter/>
              </a:ln>
            </p:spPr>
            <p:txBody>
              <a:bodyPr/>
              <a:lstStyle/>
              <a:p>
                <a:endParaRPr lang="en-US"/>
              </a:p>
            </p:txBody>
          </p:sp>
          <p:sp>
            <p:nvSpPr>
              <p:cNvPr id="251" name="Freeform: Shape 250">
                <a:extLst>
                  <a:ext uri="{FF2B5EF4-FFF2-40B4-BE49-F238E27FC236}">
                    <a16:creationId xmlns:a16="http://schemas.microsoft.com/office/drawing/2014/main" id="{B45F89E0-D1B3-B85B-C388-5A04DCA96386}"/>
                  </a:ext>
                </a:extLst>
              </p:cNvPr>
              <p:cNvSpPr/>
              <p:nvPr/>
            </p:nvSpPr>
            <p:spPr>
              <a:xfrm>
                <a:off x="3734225" y="2858156"/>
                <a:ext cx="2110545" cy="2506784"/>
              </a:xfrm>
              <a:custGeom>
                <a:avLst/>
                <a:gdLst>
                  <a:gd name="csX0" fmla="*/ 2110546 w 2110545"/>
                  <a:gd name="csY0" fmla="*/ 1494479 h 2506784"/>
                  <a:gd name="csX1" fmla="*/ 2110546 w 2110545"/>
                  <a:gd name="csY1" fmla="*/ 2432894 h 2506784"/>
                  <a:gd name="csX2" fmla="*/ 2088378 w 2110545"/>
                  <a:gd name="csY2" fmla="*/ 2484618 h 2506784"/>
                  <a:gd name="csX3" fmla="*/ 2036655 w 2110545"/>
                  <a:gd name="csY3" fmla="*/ 2506785 h 2506784"/>
                  <a:gd name="csX4" fmla="*/ 1024349 w 2110545"/>
                  <a:gd name="csY4" fmla="*/ 2506785 h 2506784"/>
                  <a:gd name="csX5" fmla="*/ 610560 w 2110545"/>
                  <a:gd name="csY5" fmla="*/ 2292501 h 2506784"/>
                  <a:gd name="csX6" fmla="*/ 56378 w 2110545"/>
                  <a:gd name="csY6" fmla="*/ 1346698 h 2506784"/>
                  <a:gd name="csX7" fmla="*/ 48989 w 2110545"/>
                  <a:gd name="csY7" fmla="*/ 895963 h 2506784"/>
                  <a:gd name="csX8" fmla="*/ 278051 w 2110545"/>
                  <a:gd name="csY8" fmla="*/ 408283 h 2506784"/>
                  <a:gd name="csX9" fmla="*/ 100713 w 2110545"/>
                  <a:gd name="csY9" fmla="*/ 327003 h 2506784"/>
                  <a:gd name="csX10" fmla="*/ 56378 w 2110545"/>
                  <a:gd name="csY10" fmla="*/ 253112 h 2506784"/>
                  <a:gd name="csX11" fmla="*/ 115491 w 2110545"/>
                  <a:gd name="csY11" fmla="*/ 186610 h 2506784"/>
                  <a:gd name="csX12" fmla="*/ 1031738 w 2110545"/>
                  <a:gd name="csY12" fmla="*/ 1883 h 2506784"/>
                  <a:gd name="csX13" fmla="*/ 1113018 w 2110545"/>
                  <a:gd name="csY13" fmla="*/ 38828 h 2506784"/>
                  <a:gd name="csX14" fmla="*/ 1534196 w 2110545"/>
                  <a:gd name="csY14" fmla="*/ 866407 h 2506784"/>
                  <a:gd name="csX15" fmla="*/ 1519418 w 2110545"/>
                  <a:gd name="csY15" fmla="*/ 955076 h 2506784"/>
                  <a:gd name="csX16" fmla="*/ 1438138 w 2110545"/>
                  <a:gd name="csY16" fmla="*/ 969854 h 2506784"/>
                  <a:gd name="csX17" fmla="*/ 1260800 w 2110545"/>
                  <a:gd name="csY17" fmla="*/ 888574 h 2506784"/>
                  <a:gd name="csX18" fmla="*/ 1002182 w 2110545"/>
                  <a:gd name="csY18" fmla="*/ 1427978 h 2506784"/>
                  <a:gd name="csX19" fmla="*/ 2036655 w 2110545"/>
                  <a:gd name="csY19" fmla="*/ 1427978 h 2506784"/>
                  <a:gd name="csX20" fmla="*/ 2110546 w 2110545"/>
                  <a:gd name="csY20" fmla="*/ 1494479 h 250678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Lst>
                <a:rect l="l" t="t" r="r" b="b"/>
                <a:pathLst>
                  <a:path w="2110545" h="2506784">
                    <a:moveTo>
                      <a:pt x="2110546" y="1494479"/>
                    </a:moveTo>
                    <a:lnTo>
                      <a:pt x="2110546" y="2432894"/>
                    </a:lnTo>
                    <a:cubicBezTo>
                      <a:pt x="2110546" y="2455061"/>
                      <a:pt x="2103157" y="2469840"/>
                      <a:pt x="2088378" y="2484618"/>
                    </a:cubicBezTo>
                    <a:cubicBezTo>
                      <a:pt x="2073600" y="2499396"/>
                      <a:pt x="2058822" y="2506785"/>
                      <a:pt x="2036655" y="2506785"/>
                    </a:cubicBezTo>
                    <a:lnTo>
                      <a:pt x="1024349" y="2506785"/>
                    </a:lnTo>
                    <a:cubicBezTo>
                      <a:pt x="861789" y="2506785"/>
                      <a:pt x="706618" y="2425505"/>
                      <a:pt x="610560" y="2292501"/>
                    </a:cubicBezTo>
                    <a:cubicBezTo>
                      <a:pt x="603171" y="2285112"/>
                      <a:pt x="78546" y="1398421"/>
                      <a:pt x="56378" y="1346698"/>
                    </a:cubicBezTo>
                    <a:cubicBezTo>
                      <a:pt x="-17513" y="1206305"/>
                      <a:pt x="-17513" y="1043745"/>
                      <a:pt x="48989" y="895963"/>
                    </a:cubicBezTo>
                    <a:lnTo>
                      <a:pt x="278051" y="408283"/>
                    </a:lnTo>
                    <a:lnTo>
                      <a:pt x="100713" y="327003"/>
                    </a:lnTo>
                    <a:cubicBezTo>
                      <a:pt x="71156" y="312225"/>
                      <a:pt x="56378" y="282669"/>
                      <a:pt x="56378" y="253112"/>
                    </a:cubicBezTo>
                    <a:cubicBezTo>
                      <a:pt x="63767" y="223556"/>
                      <a:pt x="85935" y="193999"/>
                      <a:pt x="115491" y="186610"/>
                    </a:cubicBezTo>
                    <a:lnTo>
                      <a:pt x="1031738" y="1883"/>
                    </a:lnTo>
                    <a:cubicBezTo>
                      <a:pt x="1061295" y="-5506"/>
                      <a:pt x="1098240" y="9272"/>
                      <a:pt x="1113018" y="38828"/>
                    </a:cubicBezTo>
                    <a:lnTo>
                      <a:pt x="1534196" y="866407"/>
                    </a:lnTo>
                    <a:cubicBezTo>
                      <a:pt x="1548975" y="895963"/>
                      <a:pt x="1541586" y="932909"/>
                      <a:pt x="1519418" y="955076"/>
                    </a:cubicBezTo>
                    <a:cubicBezTo>
                      <a:pt x="1497251" y="977243"/>
                      <a:pt x="1460306" y="984632"/>
                      <a:pt x="1438138" y="969854"/>
                    </a:cubicBezTo>
                    <a:lnTo>
                      <a:pt x="1260800" y="888574"/>
                    </a:lnTo>
                    <a:lnTo>
                      <a:pt x="1002182" y="1427978"/>
                    </a:lnTo>
                    <a:lnTo>
                      <a:pt x="2036655" y="1427978"/>
                    </a:lnTo>
                    <a:cubicBezTo>
                      <a:pt x="2080989" y="1420589"/>
                      <a:pt x="2110546" y="1457534"/>
                      <a:pt x="2110546" y="1494479"/>
                    </a:cubicBezTo>
                    <a:close/>
                  </a:path>
                </a:pathLst>
              </a:custGeom>
              <a:grpFill/>
              <a:ln w="73891" cap="flat">
                <a:noFill/>
                <a:prstDash val="solid"/>
                <a:miter/>
              </a:ln>
            </p:spPr>
            <p:txBody>
              <a:bodyPr/>
              <a:lstStyle/>
              <a:p>
                <a:endParaRPr lang="en-US"/>
              </a:p>
            </p:txBody>
          </p:sp>
        </p:grpSp>
      </p:grpSp>
      <p:grpSp>
        <p:nvGrpSpPr>
          <p:cNvPr id="260" name="Group 259">
            <a:extLst>
              <a:ext uri="{FF2B5EF4-FFF2-40B4-BE49-F238E27FC236}">
                <a16:creationId xmlns:a16="http://schemas.microsoft.com/office/drawing/2014/main" id="{86BD2631-09BC-2B73-65D0-D1038A94E3C0}"/>
              </a:ext>
            </a:extLst>
          </p:cNvPr>
          <p:cNvGrpSpPr/>
          <p:nvPr/>
        </p:nvGrpSpPr>
        <p:grpSpPr>
          <a:xfrm>
            <a:off x="372424" y="3341188"/>
            <a:ext cx="354334" cy="354334"/>
            <a:chOff x="372424" y="3341188"/>
            <a:chExt cx="354334" cy="354334"/>
          </a:xfrm>
        </p:grpSpPr>
        <p:sp>
          <p:nvSpPr>
            <p:cNvPr id="226" name="Oval 225">
              <a:extLst>
                <a:ext uri="{FF2B5EF4-FFF2-40B4-BE49-F238E27FC236}">
                  <a16:creationId xmlns:a16="http://schemas.microsoft.com/office/drawing/2014/main" id="{845190E2-FCD7-2CD4-E31B-62A7493D8657}"/>
                </a:ext>
              </a:extLst>
            </p:cNvPr>
            <p:cNvSpPr/>
            <p:nvPr/>
          </p:nvSpPr>
          <p:spPr>
            <a:xfrm>
              <a:off x="372424" y="3341188"/>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9" name="Group 258">
              <a:extLst>
                <a:ext uri="{FF2B5EF4-FFF2-40B4-BE49-F238E27FC236}">
                  <a16:creationId xmlns:a16="http://schemas.microsoft.com/office/drawing/2014/main" id="{20EDFA33-5CC4-EACD-DC41-CD112E518DFE}"/>
                </a:ext>
              </a:extLst>
            </p:cNvPr>
            <p:cNvGrpSpPr/>
            <p:nvPr/>
          </p:nvGrpSpPr>
          <p:grpSpPr>
            <a:xfrm>
              <a:off x="407905" y="3388577"/>
              <a:ext cx="283371" cy="255270"/>
              <a:chOff x="3886200" y="1438340"/>
              <a:chExt cx="4419599" cy="3981319"/>
            </a:xfrm>
            <a:solidFill>
              <a:srgbClr val="2B660F"/>
            </a:solidFill>
          </p:grpSpPr>
          <p:sp>
            <p:nvSpPr>
              <p:cNvPr id="256" name="Freeform: Shape 255">
                <a:extLst>
                  <a:ext uri="{FF2B5EF4-FFF2-40B4-BE49-F238E27FC236}">
                    <a16:creationId xmlns:a16="http://schemas.microsoft.com/office/drawing/2014/main" id="{8DA7E906-4BD8-9A56-A92A-89CF4CEFAD67}"/>
                  </a:ext>
                </a:extLst>
              </p:cNvPr>
              <p:cNvSpPr/>
              <p:nvPr/>
            </p:nvSpPr>
            <p:spPr>
              <a:xfrm>
                <a:off x="4757166" y="1975028"/>
                <a:ext cx="2677670" cy="3053409"/>
              </a:xfrm>
              <a:custGeom>
                <a:avLst/>
                <a:gdLst>
                  <a:gd name="csX0" fmla="*/ 0 w 2677670"/>
                  <a:gd name="csY0" fmla="*/ 1714575 h 3053409"/>
                  <a:gd name="csX1" fmla="*/ 1338834 w 2677670"/>
                  <a:gd name="csY1" fmla="*/ 3053409 h 3053409"/>
                  <a:gd name="csX2" fmla="*/ 2677668 w 2677670"/>
                  <a:gd name="csY2" fmla="*/ 1714575 h 3053409"/>
                  <a:gd name="csX3" fmla="*/ 2504694 w 2677670"/>
                  <a:gd name="csY3" fmla="*/ 1354911 h 3053409"/>
                  <a:gd name="csX4" fmla="*/ 1491234 w 2677670"/>
                  <a:gd name="csY4" fmla="*/ 1383106 h 3053409"/>
                  <a:gd name="csX5" fmla="*/ 1582674 w 2677670"/>
                  <a:gd name="csY5" fmla="*/ 1437208 h 3053409"/>
                  <a:gd name="csX6" fmla="*/ 2389632 w 2677670"/>
                  <a:gd name="csY6" fmla="*/ 1522552 h 3053409"/>
                  <a:gd name="csX7" fmla="*/ 2117598 w 2677670"/>
                  <a:gd name="csY7" fmla="*/ 1655902 h 3053409"/>
                  <a:gd name="csX8" fmla="*/ 1417320 w 2677670"/>
                  <a:gd name="csY8" fmla="*/ 1525599 h 3053409"/>
                  <a:gd name="csX9" fmla="*/ 1417320 w 2677670"/>
                  <a:gd name="csY9" fmla="*/ 787222 h 3053409"/>
                  <a:gd name="csX10" fmla="*/ 1472946 w 2677670"/>
                  <a:gd name="csY10" fmla="*/ 669873 h 3053409"/>
                  <a:gd name="csX11" fmla="*/ 1983486 w 2677670"/>
                  <a:gd name="csY11" fmla="*/ 310972 h 3053409"/>
                  <a:gd name="csX12" fmla="*/ 1671828 w 2677670"/>
                  <a:gd name="csY12" fmla="*/ 691972 h 3053409"/>
                  <a:gd name="csX13" fmla="*/ 1576578 w 2677670"/>
                  <a:gd name="csY13" fmla="*/ 838276 h 3053409"/>
                  <a:gd name="csX14" fmla="*/ 1576578 w 2677670"/>
                  <a:gd name="csY14" fmla="*/ 859612 h 3053409"/>
                  <a:gd name="csX15" fmla="*/ 2302448 w 2677670"/>
                  <a:gd name="csY15" fmla="*/ 327830 h 3053409"/>
                  <a:gd name="csX16" fmla="*/ 2307336 w 2677670"/>
                  <a:gd name="csY16" fmla="*/ 173812 h 3053409"/>
                  <a:gd name="csX17" fmla="*/ 2275332 w 2677670"/>
                  <a:gd name="csY17" fmla="*/ 118948 h 3053409"/>
                  <a:gd name="csX18" fmla="*/ 1387934 w 2677670"/>
                  <a:gd name="csY18" fmla="*/ 267957 h 3053409"/>
                  <a:gd name="csX19" fmla="*/ 1339596 w 2677670"/>
                  <a:gd name="csY19" fmla="*/ 347548 h 3053409"/>
                  <a:gd name="csX20" fmla="*/ 486274 w 2677670"/>
                  <a:gd name="csY20" fmla="*/ 68895 h 3053409"/>
                  <a:gd name="csX21" fmla="*/ 403860 w 2677670"/>
                  <a:gd name="csY21" fmla="*/ 118948 h 3053409"/>
                  <a:gd name="csX22" fmla="*/ 371856 w 2677670"/>
                  <a:gd name="csY22" fmla="*/ 173812 h 3053409"/>
                  <a:gd name="csX23" fmla="*/ 950342 w 2677670"/>
                  <a:gd name="csY23" fmla="*/ 864444 h 3053409"/>
                  <a:gd name="csX24" fmla="*/ 1102614 w 2677670"/>
                  <a:gd name="csY24" fmla="*/ 859612 h 3053409"/>
                  <a:gd name="csX25" fmla="*/ 1102614 w 2677670"/>
                  <a:gd name="csY25" fmla="*/ 838276 h 3053409"/>
                  <a:gd name="csX26" fmla="*/ 1007364 w 2677670"/>
                  <a:gd name="csY26" fmla="*/ 691972 h 3053409"/>
                  <a:gd name="csX27" fmla="*/ 695706 w 2677670"/>
                  <a:gd name="csY27" fmla="*/ 310972 h 3053409"/>
                  <a:gd name="csX28" fmla="*/ 1106424 w 2677670"/>
                  <a:gd name="csY28" fmla="*/ 578434 h 3053409"/>
                  <a:gd name="csX29" fmla="*/ 1264158 w 2677670"/>
                  <a:gd name="csY29" fmla="*/ 784935 h 3053409"/>
                  <a:gd name="csX30" fmla="*/ 1264158 w 2677670"/>
                  <a:gd name="csY30" fmla="*/ 1425777 h 3053409"/>
                  <a:gd name="csX31" fmla="*/ 0 w 2677670"/>
                  <a:gd name="csY31" fmla="*/ 1714575 h 305340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Lst>
                <a:rect l="l" t="t" r="r" b="b"/>
                <a:pathLst>
                  <a:path w="2677670" h="3053409">
                    <a:moveTo>
                      <a:pt x="0" y="1714575"/>
                    </a:moveTo>
                    <a:cubicBezTo>
                      <a:pt x="0" y="2453993"/>
                      <a:pt x="599416" y="3053409"/>
                      <a:pt x="1338834" y="3053409"/>
                    </a:cubicBezTo>
                    <a:cubicBezTo>
                      <a:pt x="2078252" y="3053409"/>
                      <a:pt x="2677668" y="2453993"/>
                      <a:pt x="2677668" y="1714575"/>
                    </a:cubicBezTo>
                    <a:cubicBezTo>
                      <a:pt x="2678142" y="1574522"/>
                      <a:pt x="2614397" y="1441978"/>
                      <a:pt x="2504694" y="1354911"/>
                    </a:cubicBezTo>
                    <a:cubicBezTo>
                      <a:pt x="2239518" y="1141552"/>
                      <a:pt x="1796034" y="1207846"/>
                      <a:pt x="1491234" y="1383106"/>
                    </a:cubicBezTo>
                    <a:cubicBezTo>
                      <a:pt x="1522476" y="1402156"/>
                      <a:pt x="1552956" y="1420444"/>
                      <a:pt x="1582674" y="1437208"/>
                    </a:cubicBezTo>
                    <a:cubicBezTo>
                      <a:pt x="1842516" y="1581988"/>
                      <a:pt x="2099310" y="1578940"/>
                      <a:pt x="2389632" y="1522552"/>
                    </a:cubicBezTo>
                    <a:cubicBezTo>
                      <a:pt x="2308062" y="1583575"/>
                      <a:pt x="2215798" y="1628803"/>
                      <a:pt x="2117598" y="1655902"/>
                    </a:cubicBezTo>
                    <a:cubicBezTo>
                      <a:pt x="1840230" y="1724481"/>
                      <a:pt x="1644396" y="1668094"/>
                      <a:pt x="1417320" y="1525599"/>
                    </a:cubicBezTo>
                    <a:lnTo>
                      <a:pt x="1417320" y="787222"/>
                    </a:lnTo>
                    <a:cubicBezTo>
                      <a:pt x="1426029" y="744159"/>
                      <a:pt x="1445124" y="703876"/>
                      <a:pt x="1472946" y="669873"/>
                    </a:cubicBezTo>
                    <a:cubicBezTo>
                      <a:pt x="1626875" y="528647"/>
                      <a:pt x="1798489" y="408004"/>
                      <a:pt x="1983486" y="310972"/>
                    </a:cubicBezTo>
                    <a:cubicBezTo>
                      <a:pt x="1892543" y="448030"/>
                      <a:pt x="1788139" y="575664"/>
                      <a:pt x="1671828" y="691972"/>
                    </a:cubicBezTo>
                    <a:cubicBezTo>
                      <a:pt x="1621536" y="746073"/>
                      <a:pt x="1580388" y="768172"/>
                      <a:pt x="1576578" y="838276"/>
                    </a:cubicBezTo>
                    <a:lnTo>
                      <a:pt x="1576578" y="859612"/>
                    </a:lnTo>
                    <a:cubicBezTo>
                      <a:pt x="1923869" y="913207"/>
                      <a:pt x="2248852" y="675121"/>
                      <a:pt x="2302448" y="327830"/>
                    </a:cubicBezTo>
                    <a:cubicBezTo>
                      <a:pt x="2310311" y="276878"/>
                      <a:pt x="2311953" y="225159"/>
                      <a:pt x="2307336" y="173812"/>
                    </a:cubicBezTo>
                    <a:cubicBezTo>
                      <a:pt x="2305162" y="151737"/>
                      <a:pt x="2293477" y="131706"/>
                      <a:pt x="2275332" y="118948"/>
                    </a:cubicBezTo>
                    <a:cubicBezTo>
                      <a:pt x="1989136" y="-84953"/>
                      <a:pt x="1591835" y="-18239"/>
                      <a:pt x="1387934" y="267957"/>
                    </a:cubicBezTo>
                    <a:cubicBezTo>
                      <a:pt x="1369899" y="293271"/>
                      <a:pt x="1353743" y="319872"/>
                      <a:pt x="1339596" y="347548"/>
                    </a:cubicBezTo>
                    <a:cubicBezTo>
                      <a:pt x="1180905" y="34962"/>
                      <a:pt x="798860" y="-89796"/>
                      <a:pt x="486274" y="68895"/>
                    </a:cubicBezTo>
                    <a:cubicBezTo>
                      <a:pt x="457574" y="83465"/>
                      <a:pt x="430023" y="100198"/>
                      <a:pt x="403860" y="118948"/>
                    </a:cubicBezTo>
                    <a:cubicBezTo>
                      <a:pt x="385715" y="131706"/>
                      <a:pt x="374030" y="151737"/>
                      <a:pt x="371856" y="173812"/>
                    </a:cubicBezTo>
                    <a:cubicBezTo>
                      <a:pt x="340887" y="524269"/>
                      <a:pt x="599884" y="833476"/>
                      <a:pt x="950342" y="864444"/>
                    </a:cubicBezTo>
                    <a:cubicBezTo>
                      <a:pt x="1001110" y="868931"/>
                      <a:pt x="1052233" y="867308"/>
                      <a:pt x="1102614" y="859612"/>
                    </a:cubicBezTo>
                    <a:lnTo>
                      <a:pt x="1102614" y="838276"/>
                    </a:lnTo>
                    <a:cubicBezTo>
                      <a:pt x="1098804" y="769696"/>
                      <a:pt x="1058418" y="746835"/>
                      <a:pt x="1007364" y="691972"/>
                    </a:cubicBezTo>
                    <a:cubicBezTo>
                      <a:pt x="891053" y="575664"/>
                      <a:pt x="786649" y="448030"/>
                      <a:pt x="695706" y="310972"/>
                    </a:cubicBezTo>
                    <a:cubicBezTo>
                      <a:pt x="841139" y="386290"/>
                      <a:pt x="978722" y="475885"/>
                      <a:pt x="1106424" y="578434"/>
                    </a:cubicBezTo>
                    <a:cubicBezTo>
                      <a:pt x="1164336" y="628726"/>
                      <a:pt x="1237488" y="663016"/>
                      <a:pt x="1264158" y="784935"/>
                    </a:cubicBezTo>
                    <a:lnTo>
                      <a:pt x="1264158" y="1425777"/>
                    </a:lnTo>
                    <a:cubicBezTo>
                      <a:pt x="601980" y="1012773"/>
                      <a:pt x="1524" y="1270330"/>
                      <a:pt x="0" y="1714575"/>
                    </a:cubicBezTo>
                    <a:close/>
                  </a:path>
                </a:pathLst>
              </a:custGeom>
              <a:grpFill/>
              <a:ln w="76200" cap="flat">
                <a:noFill/>
                <a:prstDash val="solid"/>
                <a:miter/>
              </a:ln>
            </p:spPr>
            <p:txBody>
              <a:bodyPr/>
              <a:lstStyle/>
              <a:p>
                <a:endParaRPr lang="en-US"/>
              </a:p>
            </p:txBody>
          </p:sp>
          <p:sp>
            <p:nvSpPr>
              <p:cNvPr id="257" name="Freeform: Shape 256">
                <a:extLst>
                  <a:ext uri="{FF2B5EF4-FFF2-40B4-BE49-F238E27FC236}">
                    <a16:creationId xmlns:a16="http://schemas.microsoft.com/office/drawing/2014/main" id="{B0818BC3-5F12-6C9F-0412-F87F7921E0E4}"/>
                  </a:ext>
                </a:extLst>
              </p:cNvPr>
              <p:cNvSpPr/>
              <p:nvPr/>
            </p:nvSpPr>
            <p:spPr>
              <a:xfrm>
                <a:off x="3886200" y="1438340"/>
                <a:ext cx="4162806" cy="2219259"/>
              </a:xfrm>
              <a:custGeom>
                <a:avLst/>
                <a:gdLst>
                  <a:gd name="csX0" fmla="*/ 609600 w 4162806"/>
                  <a:gd name="csY0" fmla="*/ 1838259 h 2219259"/>
                  <a:gd name="csX1" fmla="*/ 387858 w 4162806"/>
                  <a:gd name="csY1" fmla="*/ 1838259 h 2219259"/>
                  <a:gd name="csX2" fmla="*/ 2363863 w 4162806"/>
                  <a:gd name="csY2" fmla="*/ 169600 h 2219259"/>
                  <a:gd name="csX3" fmla="*/ 4010406 w 4162806"/>
                  <a:gd name="csY3" fmla="*/ 1669857 h 2219259"/>
                  <a:gd name="csX4" fmla="*/ 4162806 w 4162806"/>
                  <a:gd name="csY4" fmla="*/ 1643187 h 2219259"/>
                  <a:gd name="csX5" fmla="*/ 1872372 w 4162806"/>
                  <a:gd name="csY5" fmla="*/ 29428 h 2219259"/>
                  <a:gd name="csX6" fmla="*/ 234696 w 4162806"/>
                  <a:gd name="csY6" fmla="*/ 1838259 h 2219259"/>
                  <a:gd name="csX7" fmla="*/ 0 w 4162806"/>
                  <a:gd name="csY7" fmla="*/ 1838259 h 2219259"/>
                  <a:gd name="csX8" fmla="*/ 304800 w 4162806"/>
                  <a:gd name="csY8" fmla="*/ 2219260 h 221925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162806" h="2219259">
                    <a:moveTo>
                      <a:pt x="609600" y="1838259"/>
                    </a:moveTo>
                    <a:lnTo>
                      <a:pt x="387858" y="1838259"/>
                    </a:lnTo>
                    <a:cubicBezTo>
                      <a:pt x="472729" y="831813"/>
                      <a:pt x="1357416" y="84729"/>
                      <a:pt x="2363863" y="169600"/>
                    </a:cubicBezTo>
                    <a:cubicBezTo>
                      <a:pt x="3189091" y="239189"/>
                      <a:pt x="3864557" y="854644"/>
                      <a:pt x="4010406" y="1669857"/>
                    </a:cubicBezTo>
                    <a:lnTo>
                      <a:pt x="4162806" y="1643187"/>
                    </a:lnTo>
                    <a:cubicBezTo>
                      <a:pt x="3975948" y="565074"/>
                      <a:pt x="2950486" y="-157431"/>
                      <a:pt x="1872372" y="29428"/>
                    </a:cubicBezTo>
                    <a:cubicBezTo>
                      <a:pt x="975899" y="184804"/>
                      <a:pt x="300489" y="930803"/>
                      <a:pt x="234696" y="1838259"/>
                    </a:cubicBezTo>
                    <a:lnTo>
                      <a:pt x="0" y="1838259"/>
                    </a:lnTo>
                    <a:lnTo>
                      <a:pt x="304800" y="2219260"/>
                    </a:lnTo>
                    <a:close/>
                  </a:path>
                </a:pathLst>
              </a:custGeom>
              <a:grpFill/>
              <a:ln w="76200" cap="flat">
                <a:noFill/>
                <a:prstDash val="solid"/>
                <a:miter/>
              </a:ln>
            </p:spPr>
            <p:txBody>
              <a:bodyPr/>
              <a:lstStyle/>
              <a:p>
                <a:endParaRPr lang="en-US"/>
              </a:p>
            </p:txBody>
          </p:sp>
          <p:sp>
            <p:nvSpPr>
              <p:cNvPr id="258" name="Freeform: Shape 257">
                <a:extLst>
                  <a:ext uri="{FF2B5EF4-FFF2-40B4-BE49-F238E27FC236}">
                    <a16:creationId xmlns:a16="http://schemas.microsoft.com/office/drawing/2014/main" id="{1E514D71-BE44-844A-AD15-C4D1B883141A}"/>
                  </a:ext>
                </a:extLst>
              </p:cNvPr>
              <p:cNvSpPr/>
              <p:nvPr/>
            </p:nvSpPr>
            <p:spPr>
              <a:xfrm>
                <a:off x="4142993" y="3200400"/>
                <a:ext cx="4162806" cy="2219259"/>
              </a:xfrm>
              <a:custGeom>
                <a:avLst/>
                <a:gdLst>
                  <a:gd name="csX0" fmla="*/ 4162806 w 4162806"/>
                  <a:gd name="csY0" fmla="*/ 381000 h 2219259"/>
                  <a:gd name="csX1" fmla="*/ 3858006 w 4162806"/>
                  <a:gd name="csY1" fmla="*/ 0 h 2219259"/>
                  <a:gd name="csX2" fmla="*/ 3553206 w 4162806"/>
                  <a:gd name="csY2" fmla="*/ 381000 h 2219259"/>
                  <a:gd name="csX3" fmla="*/ 3774948 w 4162806"/>
                  <a:gd name="csY3" fmla="*/ 381000 h 2219259"/>
                  <a:gd name="csX4" fmla="*/ 1798943 w 4162806"/>
                  <a:gd name="csY4" fmla="*/ 2049660 h 2219259"/>
                  <a:gd name="csX5" fmla="*/ 152400 w 4162806"/>
                  <a:gd name="csY5" fmla="*/ 549402 h 2219259"/>
                  <a:gd name="csX6" fmla="*/ 0 w 4162806"/>
                  <a:gd name="csY6" fmla="*/ 576072 h 2219259"/>
                  <a:gd name="csX7" fmla="*/ 2290434 w 4162806"/>
                  <a:gd name="csY7" fmla="*/ 2189832 h 2219259"/>
                  <a:gd name="csX8" fmla="*/ 3928110 w 4162806"/>
                  <a:gd name="csY8" fmla="*/ 381000 h 221925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4162806" h="2219259">
                    <a:moveTo>
                      <a:pt x="4162806" y="381000"/>
                    </a:moveTo>
                    <a:lnTo>
                      <a:pt x="3858006" y="0"/>
                    </a:lnTo>
                    <a:lnTo>
                      <a:pt x="3553206" y="381000"/>
                    </a:lnTo>
                    <a:lnTo>
                      <a:pt x="3774948" y="381000"/>
                    </a:lnTo>
                    <a:cubicBezTo>
                      <a:pt x="3690077" y="1387446"/>
                      <a:pt x="2805390" y="2134531"/>
                      <a:pt x="1798943" y="2049660"/>
                    </a:cubicBezTo>
                    <a:cubicBezTo>
                      <a:pt x="973715" y="1980070"/>
                      <a:pt x="298249" y="1364615"/>
                      <a:pt x="152400" y="549402"/>
                    </a:cubicBezTo>
                    <a:lnTo>
                      <a:pt x="0" y="576072"/>
                    </a:lnTo>
                    <a:cubicBezTo>
                      <a:pt x="186858" y="1654185"/>
                      <a:pt x="1212320" y="2376690"/>
                      <a:pt x="2290434" y="2189832"/>
                    </a:cubicBezTo>
                    <a:cubicBezTo>
                      <a:pt x="3186907" y="2034455"/>
                      <a:pt x="3862317" y="1288457"/>
                      <a:pt x="3928110" y="381000"/>
                    </a:cubicBezTo>
                    <a:close/>
                  </a:path>
                </a:pathLst>
              </a:custGeom>
              <a:grpFill/>
              <a:ln w="76200" cap="flat">
                <a:noFill/>
                <a:prstDash val="solid"/>
                <a:miter/>
              </a:ln>
            </p:spPr>
            <p:txBody>
              <a:bodyPr/>
              <a:lstStyle/>
              <a:p>
                <a:endParaRPr lang="en-US"/>
              </a:p>
            </p:txBody>
          </p:sp>
        </p:grpSp>
      </p:grpSp>
      <p:grpSp>
        <p:nvGrpSpPr>
          <p:cNvPr id="267" name="Group 266">
            <a:extLst>
              <a:ext uri="{FF2B5EF4-FFF2-40B4-BE49-F238E27FC236}">
                <a16:creationId xmlns:a16="http://schemas.microsoft.com/office/drawing/2014/main" id="{DAEA42CC-300C-ADEB-3AC4-AE7758ACEFA2}"/>
              </a:ext>
            </a:extLst>
          </p:cNvPr>
          <p:cNvGrpSpPr/>
          <p:nvPr/>
        </p:nvGrpSpPr>
        <p:grpSpPr>
          <a:xfrm>
            <a:off x="372424" y="4618201"/>
            <a:ext cx="354334" cy="354334"/>
            <a:chOff x="372424" y="4618201"/>
            <a:chExt cx="354334" cy="354334"/>
          </a:xfrm>
        </p:grpSpPr>
        <p:sp>
          <p:nvSpPr>
            <p:cNvPr id="233" name="Oval 232">
              <a:extLst>
                <a:ext uri="{FF2B5EF4-FFF2-40B4-BE49-F238E27FC236}">
                  <a16:creationId xmlns:a16="http://schemas.microsoft.com/office/drawing/2014/main" id="{09F323F8-3843-9F77-C09D-55145530EA20}"/>
                </a:ext>
              </a:extLst>
            </p:cNvPr>
            <p:cNvSpPr/>
            <p:nvPr/>
          </p:nvSpPr>
          <p:spPr>
            <a:xfrm>
              <a:off x="372424" y="4618201"/>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6" name="Group 265">
              <a:extLst>
                <a:ext uri="{FF2B5EF4-FFF2-40B4-BE49-F238E27FC236}">
                  <a16:creationId xmlns:a16="http://schemas.microsoft.com/office/drawing/2014/main" id="{4496A926-A925-DFA3-A541-C92C94F96AD3}"/>
                </a:ext>
              </a:extLst>
            </p:cNvPr>
            <p:cNvGrpSpPr/>
            <p:nvPr/>
          </p:nvGrpSpPr>
          <p:grpSpPr>
            <a:xfrm>
              <a:off x="451246" y="4697023"/>
              <a:ext cx="196691" cy="196691"/>
              <a:chOff x="5781675" y="3114675"/>
              <a:chExt cx="628650" cy="628650"/>
            </a:xfrm>
            <a:solidFill>
              <a:srgbClr val="2B660F"/>
            </a:solidFill>
          </p:grpSpPr>
          <p:sp>
            <p:nvSpPr>
              <p:cNvPr id="264" name="Freeform: Shape 263">
                <a:extLst>
                  <a:ext uri="{FF2B5EF4-FFF2-40B4-BE49-F238E27FC236}">
                    <a16:creationId xmlns:a16="http://schemas.microsoft.com/office/drawing/2014/main" id="{1B949853-318B-D830-8763-8EB40B196BDA}"/>
                  </a:ext>
                </a:extLst>
              </p:cNvPr>
              <p:cNvSpPr/>
              <p:nvPr/>
            </p:nvSpPr>
            <p:spPr>
              <a:xfrm>
                <a:off x="5781675" y="3114675"/>
                <a:ext cx="628650" cy="628650"/>
              </a:xfrm>
              <a:custGeom>
                <a:avLst/>
                <a:gdLst>
                  <a:gd name="csX0" fmla="*/ 615125 w 628650"/>
                  <a:gd name="csY0" fmla="*/ 277749 h 628650"/>
                  <a:gd name="csX1" fmla="*/ 537115 w 628650"/>
                  <a:gd name="csY1" fmla="*/ 20288 h 628650"/>
                  <a:gd name="csX2" fmla="*/ 509778 w 628650"/>
                  <a:gd name="csY2" fmla="*/ 0 h 628650"/>
                  <a:gd name="csX3" fmla="*/ 485775 w 628650"/>
                  <a:gd name="csY3" fmla="*/ 0 h 628650"/>
                  <a:gd name="csX4" fmla="*/ 457200 w 628650"/>
                  <a:gd name="csY4" fmla="*/ 28575 h 628650"/>
                  <a:gd name="csX5" fmla="*/ 457200 w 628650"/>
                  <a:gd name="csY5" fmla="*/ 133350 h 628650"/>
                  <a:gd name="csX6" fmla="*/ 428625 w 628650"/>
                  <a:gd name="csY6" fmla="*/ 161925 h 628650"/>
                  <a:gd name="csX7" fmla="*/ 200025 w 628650"/>
                  <a:gd name="csY7" fmla="*/ 161925 h 628650"/>
                  <a:gd name="csX8" fmla="*/ 171450 w 628650"/>
                  <a:gd name="csY8" fmla="*/ 133350 h 628650"/>
                  <a:gd name="csX9" fmla="*/ 171450 w 628650"/>
                  <a:gd name="csY9" fmla="*/ 28575 h 628650"/>
                  <a:gd name="csX10" fmla="*/ 142875 w 628650"/>
                  <a:gd name="csY10" fmla="*/ 0 h 628650"/>
                  <a:gd name="csX11" fmla="*/ 118872 w 628650"/>
                  <a:gd name="csY11" fmla="*/ 0 h 628650"/>
                  <a:gd name="csX12" fmla="*/ 91535 w 628650"/>
                  <a:gd name="csY12" fmla="*/ 20288 h 628650"/>
                  <a:gd name="csX13" fmla="*/ 13526 w 628650"/>
                  <a:gd name="csY13" fmla="*/ 277749 h 628650"/>
                  <a:gd name="csX14" fmla="*/ 0 w 628650"/>
                  <a:gd name="csY14" fmla="*/ 369094 h 628650"/>
                  <a:gd name="csX15" fmla="*/ 69056 w 628650"/>
                  <a:gd name="csY15" fmla="*/ 565880 h 628650"/>
                  <a:gd name="csX16" fmla="*/ 199644 w 628650"/>
                  <a:gd name="csY16" fmla="*/ 628650 h 628650"/>
                  <a:gd name="csX17" fmla="*/ 429006 w 628650"/>
                  <a:gd name="csY17" fmla="*/ 628650 h 628650"/>
                  <a:gd name="csX18" fmla="*/ 559594 w 628650"/>
                  <a:gd name="csY18" fmla="*/ 565880 h 628650"/>
                  <a:gd name="csX19" fmla="*/ 628650 w 628650"/>
                  <a:gd name="csY19" fmla="*/ 369094 h 628650"/>
                  <a:gd name="csX20" fmla="*/ 615125 w 628650"/>
                  <a:gd name="csY20" fmla="*/ 277749 h 628650"/>
                  <a:gd name="csX21" fmla="*/ 386715 w 628650"/>
                  <a:gd name="csY21" fmla="*/ 521970 h 628650"/>
                  <a:gd name="csX22" fmla="*/ 295751 w 628650"/>
                  <a:gd name="csY22" fmla="*/ 552450 h 628650"/>
                  <a:gd name="csX23" fmla="*/ 286608 w 628650"/>
                  <a:gd name="csY23" fmla="*/ 552640 h 628650"/>
                  <a:gd name="csX24" fmla="*/ 196501 w 628650"/>
                  <a:gd name="csY24" fmla="*/ 528923 h 628650"/>
                  <a:gd name="csX25" fmla="*/ 190310 w 628650"/>
                  <a:gd name="csY25" fmla="*/ 554355 h 628650"/>
                  <a:gd name="csX26" fmla="*/ 180975 w 628650"/>
                  <a:gd name="csY26" fmla="*/ 561975 h 628650"/>
                  <a:gd name="csX27" fmla="*/ 179070 w 628650"/>
                  <a:gd name="csY27" fmla="*/ 561784 h 628650"/>
                  <a:gd name="csX28" fmla="*/ 171641 w 628650"/>
                  <a:gd name="csY28" fmla="*/ 550545 h 628650"/>
                  <a:gd name="csX29" fmla="*/ 180499 w 628650"/>
                  <a:gd name="csY29" fmla="*/ 515874 h 628650"/>
                  <a:gd name="csX30" fmla="*/ 162687 w 628650"/>
                  <a:gd name="csY30" fmla="*/ 348710 h 628650"/>
                  <a:gd name="csX31" fmla="*/ 479584 w 628650"/>
                  <a:gd name="csY31" fmla="*/ 257747 h 628650"/>
                  <a:gd name="csX32" fmla="*/ 485584 w 628650"/>
                  <a:gd name="csY32" fmla="*/ 268795 h 628650"/>
                  <a:gd name="csX33" fmla="*/ 466534 w 628650"/>
                  <a:gd name="csY33" fmla="*/ 354425 h 628650"/>
                  <a:gd name="csX34" fmla="*/ 463391 w 628650"/>
                  <a:gd name="csY34" fmla="*/ 368618 h 628650"/>
                  <a:gd name="csX35" fmla="*/ 447008 w 628650"/>
                  <a:gd name="csY35" fmla="*/ 432054 h 628650"/>
                  <a:gd name="csX36" fmla="*/ 386715 w 628650"/>
                  <a:gd name="csY36" fmla="*/ 521970 h 6286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Lst>
                <a:rect l="l" t="t" r="r" b="b"/>
                <a:pathLst>
                  <a:path w="628650" h="628650">
                    <a:moveTo>
                      <a:pt x="615125" y="277749"/>
                    </a:moveTo>
                    <a:lnTo>
                      <a:pt x="537115" y="20288"/>
                    </a:lnTo>
                    <a:cubicBezTo>
                      <a:pt x="533400" y="8191"/>
                      <a:pt x="522446" y="0"/>
                      <a:pt x="509778" y="0"/>
                    </a:cubicBezTo>
                    <a:lnTo>
                      <a:pt x="485775" y="0"/>
                    </a:lnTo>
                    <a:cubicBezTo>
                      <a:pt x="470059" y="0"/>
                      <a:pt x="457200" y="12859"/>
                      <a:pt x="457200" y="28575"/>
                    </a:cubicBezTo>
                    <a:lnTo>
                      <a:pt x="457200" y="133350"/>
                    </a:lnTo>
                    <a:cubicBezTo>
                      <a:pt x="457200" y="149066"/>
                      <a:pt x="444341" y="161925"/>
                      <a:pt x="428625" y="161925"/>
                    </a:cubicBezTo>
                    <a:lnTo>
                      <a:pt x="200025" y="161925"/>
                    </a:lnTo>
                    <a:cubicBezTo>
                      <a:pt x="184309" y="161925"/>
                      <a:pt x="171450" y="149066"/>
                      <a:pt x="171450" y="133350"/>
                    </a:cubicBezTo>
                    <a:lnTo>
                      <a:pt x="171450" y="28575"/>
                    </a:lnTo>
                    <a:cubicBezTo>
                      <a:pt x="171450" y="12859"/>
                      <a:pt x="158591" y="0"/>
                      <a:pt x="142875" y="0"/>
                    </a:cubicBezTo>
                    <a:lnTo>
                      <a:pt x="118872" y="0"/>
                    </a:lnTo>
                    <a:cubicBezTo>
                      <a:pt x="106204" y="0"/>
                      <a:pt x="95250" y="8191"/>
                      <a:pt x="91535" y="20288"/>
                    </a:cubicBezTo>
                    <a:lnTo>
                      <a:pt x="13526" y="277749"/>
                    </a:lnTo>
                    <a:cubicBezTo>
                      <a:pt x="4572" y="307371"/>
                      <a:pt x="0" y="338138"/>
                      <a:pt x="0" y="369094"/>
                    </a:cubicBezTo>
                    <a:cubicBezTo>
                      <a:pt x="0" y="440341"/>
                      <a:pt x="24479" y="510254"/>
                      <a:pt x="69056" y="565880"/>
                    </a:cubicBezTo>
                    <a:cubicBezTo>
                      <a:pt x="100965" y="605790"/>
                      <a:pt x="148590" y="628650"/>
                      <a:pt x="199644" y="628650"/>
                    </a:cubicBezTo>
                    <a:lnTo>
                      <a:pt x="429006" y="628650"/>
                    </a:lnTo>
                    <a:cubicBezTo>
                      <a:pt x="480060" y="628650"/>
                      <a:pt x="527685" y="605790"/>
                      <a:pt x="559594" y="565880"/>
                    </a:cubicBezTo>
                    <a:cubicBezTo>
                      <a:pt x="604171" y="510254"/>
                      <a:pt x="628650" y="440341"/>
                      <a:pt x="628650" y="369094"/>
                    </a:cubicBezTo>
                    <a:cubicBezTo>
                      <a:pt x="628650" y="338138"/>
                      <a:pt x="624078" y="307371"/>
                      <a:pt x="615125" y="277749"/>
                    </a:cubicBezTo>
                    <a:close/>
                    <a:moveTo>
                      <a:pt x="386715" y="521970"/>
                    </a:moveTo>
                    <a:cubicBezTo>
                      <a:pt x="349472" y="549687"/>
                      <a:pt x="309086" y="551783"/>
                      <a:pt x="295751" y="552450"/>
                    </a:cubicBezTo>
                    <a:cubicBezTo>
                      <a:pt x="292704" y="552640"/>
                      <a:pt x="289560" y="552640"/>
                      <a:pt x="286608" y="552640"/>
                    </a:cubicBezTo>
                    <a:cubicBezTo>
                      <a:pt x="247745" y="552640"/>
                      <a:pt x="216408" y="539877"/>
                      <a:pt x="196501" y="528923"/>
                    </a:cubicBezTo>
                    <a:cubicBezTo>
                      <a:pt x="194120" y="537020"/>
                      <a:pt x="192120" y="545496"/>
                      <a:pt x="190310" y="554355"/>
                    </a:cubicBezTo>
                    <a:cubicBezTo>
                      <a:pt x="189452" y="558832"/>
                      <a:pt x="185452" y="561975"/>
                      <a:pt x="180975" y="561975"/>
                    </a:cubicBezTo>
                    <a:cubicBezTo>
                      <a:pt x="180404" y="561975"/>
                      <a:pt x="179737" y="561880"/>
                      <a:pt x="179070" y="561784"/>
                    </a:cubicBezTo>
                    <a:cubicBezTo>
                      <a:pt x="173927" y="560737"/>
                      <a:pt x="170593" y="555784"/>
                      <a:pt x="171641" y="550545"/>
                    </a:cubicBezTo>
                    <a:cubicBezTo>
                      <a:pt x="174117" y="538353"/>
                      <a:pt x="177070" y="526828"/>
                      <a:pt x="180499" y="515874"/>
                    </a:cubicBezTo>
                    <a:cubicBezTo>
                      <a:pt x="164306" y="485680"/>
                      <a:pt x="134398" y="415385"/>
                      <a:pt x="162687" y="348710"/>
                    </a:cubicBezTo>
                    <a:cubicBezTo>
                      <a:pt x="199644" y="261652"/>
                      <a:pt x="331375" y="202120"/>
                      <a:pt x="479584" y="257747"/>
                    </a:cubicBezTo>
                    <a:cubicBezTo>
                      <a:pt x="484061" y="259461"/>
                      <a:pt x="486633" y="264128"/>
                      <a:pt x="485584" y="268795"/>
                    </a:cubicBezTo>
                    <a:cubicBezTo>
                      <a:pt x="481584" y="286512"/>
                      <a:pt x="474821" y="316611"/>
                      <a:pt x="466534" y="354425"/>
                    </a:cubicBezTo>
                    <a:lnTo>
                      <a:pt x="463391" y="368618"/>
                    </a:lnTo>
                    <a:cubicBezTo>
                      <a:pt x="454628" y="408908"/>
                      <a:pt x="452818" y="417290"/>
                      <a:pt x="447008" y="432054"/>
                    </a:cubicBezTo>
                    <a:cubicBezTo>
                      <a:pt x="436055" y="460343"/>
                      <a:pt x="422433" y="495490"/>
                      <a:pt x="386715" y="521970"/>
                    </a:cubicBezTo>
                    <a:close/>
                  </a:path>
                </a:pathLst>
              </a:custGeom>
              <a:grpFill/>
              <a:ln w="9525" cap="flat">
                <a:noFill/>
                <a:prstDash val="solid"/>
                <a:miter/>
              </a:ln>
            </p:spPr>
            <p:txBody>
              <a:bodyPr/>
              <a:lstStyle/>
              <a:p>
                <a:endParaRPr lang="en-US"/>
              </a:p>
            </p:txBody>
          </p:sp>
          <p:sp>
            <p:nvSpPr>
              <p:cNvPr id="265" name="Freeform: Shape 264">
                <a:extLst>
                  <a:ext uri="{FF2B5EF4-FFF2-40B4-BE49-F238E27FC236}">
                    <a16:creationId xmlns:a16="http://schemas.microsoft.com/office/drawing/2014/main" id="{83D20F37-7301-C65B-44E4-26E3FBB7F382}"/>
                  </a:ext>
                </a:extLst>
              </p:cNvPr>
              <p:cNvSpPr/>
              <p:nvPr/>
            </p:nvSpPr>
            <p:spPr>
              <a:xfrm>
                <a:off x="5951913" y="3370440"/>
                <a:ext cx="294867" cy="277860"/>
              </a:xfrm>
              <a:custGeom>
                <a:avLst/>
                <a:gdLst>
                  <a:gd name="csX0" fmla="*/ 294867 w 294867"/>
                  <a:gd name="csY0" fmla="*/ 17031 h 277860"/>
                  <a:gd name="csX1" fmla="*/ 9975 w 294867"/>
                  <a:gd name="csY1" fmla="*/ 100375 h 277860"/>
                  <a:gd name="csX2" fmla="*/ 19119 w 294867"/>
                  <a:gd name="csY2" fmla="*/ 234772 h 277860"/>
                  <a:gd name="csX3" fmla="*/ 139515 w 294867"/>
                  <a:gd name="csY3" fmla="*/ 88278 h 277860"/>
                  <a:gd name="csX4" fmla="*/ 152469 w 294867"/>
                  <a:gd name="csY4" fmla="*/ 92088 h 277860"/>
                  <a:gd name="csX5" fmla="*/ 148659 w 294867"/>
                  <a:gd name="csY5" fmla="*/ 105042 h 277860"/>
                  <a:gd name="csX6" fmla="*/ 32168 w 294867"/>
                  <a:gd name="csY6" fmla="*/ 254679 h 277860"/>
                  <a:gd name="csX7" fmla="*/ 124560 w 294867"/>
                  <a:gd name="csY7" fmla="*/ 277635 h 277860"/>
                  <a:gd name="csX8" fmla="*/ 205047 w 294867"/>
                  <a:gd name="csY8" fmla="*/ 250965 h 277860"/>
                  <a:gd name="csX9" fmla="*/ 259053 w 294867"/>
                  <a:gd name="csY9" fmla="*/ 169431 h 277860"/>
                  <a:gd name="csX10" fmla="*/ 274579 w 294867"/>
                  <a:gd name="csY10" fmla="*/ 108756 h 277860"/>
                  <a:gd name="csX11" fmla="*/ 277627 w 294867"/>
                  <a:gd name="csY11" fmla="*/ 94659 h 277860"/>
                  <a:gd name="csX12" fmla="*/ 294867 w 294867"/>
                  <a:gd name="csY12" fmla="*/ 17031 h 2778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294867" h="277860">
                    <a:moveTo>
                      <a:pt x="294867" y="17031"/>
                    </a:moveTo>
                    <a:cubicBezTo>
                      <a:pt x="164470" y="-28213"/>
                      <a:pt x="43026" y="22555"/>
                      <a:pt x="9975" y="100375"/>
                    </a:cubicBezTo>
                    <a:cubicBezTo>
                      <a:pt x="-11075" y="149904"/>
                      <a:pt x="5689" y="204102"/>
                      <a:pt x="19119" y="234772"/>
                    </a:cubicBezTo>
                    <a:cubicBezTo>
                      <a:pt x="59791" y="132855"/>
                      <a:pt x="135800" y="90373"/>
                      <a:pt x="139515" y="88278"/>
                    </a:cubicBezTo>
                    <a:cubicBezTo>
                      <a:pt x="144086" y="85801"/>
                      <a:pt x="149897" y="87516"/>
                      <a:pt x="152469" y="92088"/>
                    </a:cubicBezTo>
                    <a:cubicBezTo>
                      <a:pt x="154945" y="96660"/>
                      <a:pt x="153231" y="102470"/>
                      <a:pt x="148659" y="105042"/>
                    </a:cubicBezTo>
                    <a:cubicBezTo>
                      <a:pt x="147801" y="105518"/>
                      <a:pt x="69125" y="149809"/>
                      <a:pt x="32168" y="254679"/>
                    </a:cubicBezTo>
                    <a:cubicBezTo>
                      <a:pt x="51122" y="265633"/>
                      <a:pt x="83603" y="279825"/>
                      <a:pt x="124560" y="277635"/>
                    </a:cubicBezTo>
                    <a:cubicBezTo>
                      <a:pt x="137610" y="276968"/>
                      <a:pt x="172471" y="275158"/>
                      <a:pt x="205047" y="250965"/>
                    </a:cubicBezTo>
                    <a:cubicBezTo>
                      <a:pt x="236384" y="227724"/>
                      <a:pt x="248385" y="196768"/>
                      <a:pt x="259053" y="169431"/>
                    </a:cubicBezTo>
                    <a:cubicBezTo>
                      <a:pt x="264292" y="156000"/>
                      <a:pt x="266006" y="147904"/>
                      <a:pt x="274579" y="108756"/>
                    </a:cubicBezTo>
                    <a:lnTo>
                      <a:pt x="277627" y="94659"/>
                    </a:lnTo>
                    <a:cubicBezTo>
                      <a:pt x="284771" y="61989"/>
                      <a:pt x="290772" y="35223"/>
                      <a:pt x="294867" y="17031"/>
                    </a:cubicBezTo>
                    <a:close/>
                  </a:path>
                </a:pathLst>
              </a:custGeom>
              <a:grpFill/>
              <a:ln w="9525" cap="flat">
                <a:noFill/>
                <a:prstDash val="solid"/>
                <a:miter/>
              </a:ln>
            </p:spPr>
            <p:txBody>
              <a:bodyPr/>
              <a:lstStyle/>
              <a:p>
                <a:endParaRPr lang="en-US"/>
              </a:p>
            </p:txBody>
          </p:sp>
        </p:grpSp>
      </p:grpSp>
      <p:grpSp>
        <p:nvGrpSpPr>
          <p:cNvPr id="274" name="Group 273">
            <a:extLst>
              <a:ext uri="{FF2B5EF4-FFF2-40B4-BE49-F238E27FC236}">
                <a16:creationId xmlns:a16="http://schemas.microsoft.com/office/drawing/2014/main" id="{4DD40A64-5756-F7A1-FC7B-8D23ABDEFD49}"/>
              </a:ext>
            </a:extLst>
          </p:cNvPr>
          <p:cNvGrpSpPr/>
          <p:nvPr/>
        </p:nvGrpSpPr>
        <p:grpSpPr>
          <a:xfrm>
            <a:off x="6250778" y="1440815"/>
            <a:ext cx="354334" cy="354334"/>
            <a:chOff x="6250778" y="1440815"/>
            <a:chExt cx="354334" cy="354334"/>
          </a:xfrm>
        </p:grpSpPr>
        <p:sp>
          <p:nvSpPr>
            <p:cNvPr id="216" name="Oval 215">
              <a:extLst>
                <a:ext uri="{FF2B5EF4-FFF2-40B4-BE49-F238E27FC236}">
                  <a16:creationId xmlns:a16="http://schemas.microsoft.com/office/drawing/2014/main" id="{142382CF-0C4B-E838-3E77-CC23B20B1256}"/>
                </a:ext>
              </a:extLst>
            </p:cNvPr>
            <p:cNvSpPr/>
            <p:nvPr/>
          </p:nvSpPr>
          <p:spPr>
            <a:xfrm>
              <a:off x="6250778"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0" name="Graphic 268">
              <a:extLst>
                <a:ext uri="{FF2B5EF4-FFF2-40B4-BE49-F238E27FC236}">
                  <a16:creationId xmlns:a16="http://schemas.microsoft.com/office/drawing/2014/main" id="{2502F93A-9647-4942-6E6D-78200EB26E6C}"/>
                </a:ext>
              </a:extLst>
            </p:cNvPr>
            <p:cNvGrpSpPr/>
            <p:nvPr/>
          </p:nvGrpSpPr>
          <p:grpSpPr>
            <a:xfrm>
              <a:off x="6343172" y="1508184"/>
              <a:ext cx="169548" cy="219598"/>
              <a:chOff x="4213689" y="990600"/>
              <a:chExt cx="3767566" cy="4879754"/>
            </a:xfrm>
            <a:solidFill>
              <a:srgbClr val="2B660F"/>
            </a:solidFill>
          </p:grpSpPr>
          <p:sp>
            <p:nvSpPr>
              <p:cNvPr id="271" name="Freeform: Shape 270">
                <a:extLst>
                  <a:ext uri="{FF2B5EF4-FFF2-40B4-BE49-F238E27FC236}">
                    <a16:creationId xmlns:a16="http://schemas.microsoft.com/office/drawing/2014/main" id="{12A48806-4E20-8368-5F81-9E325192E623}"/>
                  </a:ext>
                </a:extLst>
              </p:cNvPr>
              <p:cNvSpPr/>
              <p:nvPr/>
            </p:nvSpPr>
            <p:spPr>
              <a:xfrm>
                <a:off x="5198611" y="990600"/>
                <a:ext cx="1797722" cy="705787"/>
              </a:xfrm>
              <a:custGeom>
                <a:avLst/>
                <a:gdLst>
                  <a:gd name="csX0" fmla="*/ 286871 w 1797722"/>
                  <a:gd name="csY0" fmla="*/ 286871 h 705787"/>
                  <a:gd name="csX1" fmla="*/ 1510852 w 1797722"/>
                  <a:gd name="csY1" fmla="*/ 286871 h 705787"/>
                  <a:gd name="csX2" fmla="*/ 1510852 w 1797722"/>
                  <a:gd name="csY2" fmla="*/ 705788 h 705787"/>
                  <a:gd name="csX3" fmla="*/ 1797722 w 1797722"/>
                  <a:gd name="csY3" fmla="*/ 705788 h 705787"/>
                  <a:gd name="csX4" fmla="*/ 1797722 w 1797722"/>
                  <a:gd name="csY4" fmla="*/ 0 h 705787"/>
                  <a:gd name="csX5" fmla="*/ 0 w 1797722"/>
                  <a:gd name="csY5" fmla="*/ 0 h 705787"/>
                  <a:gd name="csX6" fmla="*/ 0 w 1797722"/>
                  <a:gd name="csY6" fmla="*/ 705788 h 705787"/>
                  <a:gd name="csX7" fmla="*/ 286871 w 1797722"/>
                  <a:gd name="csY7" fmla="*/ 705788 h 7057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797722" h="705787">
                    <a:moveTo>
                      <a:pt x="286871" y="286871"/>
                    </a:moveTo>
                    <a:lnTo>
                      <a:pt x="1510852" y="286871"/>
                    </a:lnTo>
                    <a:lnTo>
                      <a:pt x="1510852" y="705788"/>
                    </a:lnTo>
                    <a:lnTo>
                      <a:pt x="1797722" y="705788"/>
                    </a:lnTo>
                    <a:lnTo>
                      <a:pt x="1797722" y="0"/>
                    </a:lnTo>
                    <a:lnTo>
                      <a:pt x="0" y="0"/>
                    </a:lnTo>
                    <a:lnTo>
                      <a:pt x="0" y="705788"/>
                    </a:lnTo>
                    <a:lnTo>
                      <a:pt x="286871" y="705788"/>
                    </a:lnTo>
                    <a:close/>
                  </a:path>
                </a:pathLst>
              </a:custGeom>
              <a:grpFill/>
              <a:ln w="9562" cap="flat">
                <a:noFill/>
                <a:prstDash val="solid"/>
                <a:miter/>
              </a:ln>
            </p:spPr>
            <p:txBody>
              <a:bodyPr/>
              <a:lstStyle/>
              <a:p>
                <a:endParaRPr lang="en-US"/>
              </a:p>
            </p:txBody>
          </p:sp>
          <p:sp>
            <p:nvSpPr>
              <p:cNvPr id="272" name="Freeform: Shape 271">
                <a:extLst>
                  <a:ext uri="{FF2B5EF4-FFF2-40B4-BE49-F238E27FC236}">
                    <a16:creationId xmlns:a16="http://schemas.microsoft.com/office/drawing/2014/main" id="{0F9C2C43-0A71-2C96-010F-E89F267745E5}"/>
                  </a:ext>
                </a:extLst>
              </p:cNvPr>
              <p:cNvSpPr/>
              <p:nvPr/>
            </p:nvSpPr>
            <p:spPr>
              <a:xfrm>
                <a:off x="4213689" y="1983258"/>
                <a:ext cx="3767566" cy="3887096"/>
              </a:xfrm>
              <a:custGeom>
                <a:avLst/>
                <a:gdLst>
                  <a:gd name="csX0" fmla="*/ 0 w 3767566"/>
                  <a:gd name="csY0" fmla="*/ 0 h 3887096"/>
                  <a:gd name="csX1" fmla="*/ 0 w 3767566"/>
                  <a:gd name="csY1" fmla="*/ 3374459 h 3887096"/>
                  <a:gd name="csX2" fmla="*/ 512638 w 3767566"/>
                  <a:gd name="csY2" fmla="*/ 3887097 h 3887096"/>
                  <a:gd name="csX3" fmla="*/ 3254930 w 3767566"/>
                  <a:gd name="csY3" fmla="*/ 3887097 h 3887096"/>
                  <a:gd name="csX4" fmla="*/ 3767567 w 3767566"/>
                  <a:gd name="csY4" fmla="*/ 3374459 h 3887096"/>
                  <a:gd name="csX5" fmla="*/ 3767567 w 3767566"/>
                  <a:gd name="csY5" fmla="*/ 0 h 3887096"/>
                  <a:gd name="csX6" fmla="*/ 1924615 w 3767566"/>
                  <a:gd name="csY6" fmla="*/ 2866985 h 3887096"/>
                  <a:gd name="csX7" fmla="*/ 1022789 w 3767566"/>
                  <a:gd name="csY7" fmla="*/ 1965159 h 3887096"/>
                  <a:gd name="csX8" fmla="*/ 1030917 w 3767566"/>
                  <a:gd name="csY8" fmla="*/ 1847160 h 3887096"/>
                  <a:gd name="csX9" fmla="*/ 692601 w 3767566"/>
                  <a:gd name="csY9" fmla="*/ 1743599 h 3887096"/>
                  <a:gd name="csX10" fmla="*/ 1396486 w 3767566"/>
                  <a:gd name="csY10" fmla="*/ 1199597 h 3887096"/>
                  <a:gd name="csX11" fmla="*/ 1675037 w 3767566"/>
                  <a:gd name="csY11" fmla="*/ 2044527 h 3887096"/>
                  <a:gd name="csX12" fmla="*/ 1310616 w 3767566"/>
                  <a:gd name="csY12" fmla="*/ 1932838 h 3887096"/>
                  <a:gd name="csX13" fmla="*/ 1309660 w 3767566"/>
                  <a:gd name="csY13" fmla="*/ 1965159 h 3887096"/>
                  <a:gd name="csX14" fmla="*/ 1924615 w 3767566"/>
                  <a:gd name="csY14" fmla="*/ 2580114 h 3887096"/>
                  <a:gd name="csX15" fmla="*/ 2083541 w 3767566"/>
                  <a:gd name="csY15" fmla="*/ 2559459 h 3887096"/>
                  <a:gd name="csX16" fmla="*/ 2157458 w 3767566"/>
                  <a:gd name="csY16" fmla="*/ 2836672 h 3887096"/>
                  <a:gd name="csX17" fmla="*/ 1924615 w 3767566"/>
                  <a:gd name="csY17" fmla="*/ 2866985 h 3887096"/>
                  <a:gd name="csX18" fmla="*/ 2451692 w 3767566"/>
                  <a:gd name="csY18" fmla="*/ 2740475 h 3887096"/>
                  <a:gd name="csX19" fmla="*/ 2225925 w 3767566"/>
                  <a:gd name="csY19" fmla="*/ 1879959 h 3887096"/>
                  <a:gd name="csX20" fmla="*/ 2552575 w 3767566"/>
                  <a:gd name="csY20" fmla="*/ 2002644 h 3887096"/>
                  <a:gd name="csX21" fmla="*/ 2552766 w 3767566"/>
                  <a:gd name="csY21" fmla="*/ 1990499 h 3887096"/>
                  <a:gd name="csX22" fmla="*/ 1937715 w 3767566"/>
                  <a:gd name="csY22" fmla="*/ 1375449 h 3887096"/>
                  <a:gd name="csX23" fmla="*/ 1778789 w 3767566"/>
                  <a:gd name="csY23" fmla="*/ 1396199 h 3887096"/>
                  <a:gd name="csX24" fmla="*/ 1704872 w 3767566"/>
                  <a:gd name="csY24" fmla="*/ 1118987 h 3887096"/>
                  <a:gd name="csX25" fmla="*/ 1937715 w 3767566"/>
                  <a:gd name="csY25" fmla="*/ 1088578 h 3887096"/>
                  <a:gd name="csX26" fmla="*/ 2839637 w 3767566"/>
                  <a:gd name="csY26" fmla="*/ 1990499 h 3887096"/>
                  <a:gd name="csX27" fmla="*/ 2832560 w 3767566"/>
                  <a:gd name="csY27" fmla="*/ 2107734 h 3887096"/>
                  <a:gd name="csX28" fmla="*/ 3187897 w 3767566"/>
                  <a:gd name="csY28" fmla="*/ 2241033 h 388709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3767566" h="3887096">
                    <a:moveTo>
                      <a:pt x="0" y="0"/>
                    </a:moveTo>
                    <a:lnTo>
                      <a:pt x="0" y="3374459"/>
                    </a:lnTo>
                    <a:lnTo>
                      <a:pt x="512638" y="3887097"/>
                    </a:lnTo>
                    <a:lnTo>
                      <a:pt x="3254930" y="3887097"/>
                    </a:lnTo>
                    <a:lnTo>
                      <a:pt x="3767567" y="3374459"/>
                    </a:lnTo>
                    <a:lnTo>
                      <a:pt x="3767567" y="0"/>
                    </a:lnTo>
                    <a:close/>
                    <a:moveTo>
                      <a:pt x="1924615" y="2866985"/>
                    </a:moveTo>
                    <a:cubicBezTo>
                      <a:pt x="1427372" y="2866985"/>
                      <a:pt x="1022789" y="2462497"/>
                      <a:pt x="1022789" y="1965159"/>
                    </a:cubicBezTo>
                    <a:cubicBezTo>
                      <a:pt x="1022789" y="1925380"/>
                      <a:pt x="1025562" y="1886270"/>
                      <a:pt x="1030917" y="1847160"/>
                    </a:cubicBezTo>
                    <a:lnTo>
                      <a:pt x="692601" y="1743599"/>
                    </a:lnTo>
                    <a:lnTo>
                      <a:pt x="1396486" y="1199597"/>
                    </a:lnTo>
                    <a:lnTo>
                      <a:pt x="1675037" y="2044527"/>
                    </a:lnTo>
                    <a:lnTo>
                      <a:pt x="1310616" y="1932838"/>
                    </a:lnTo>
                    <a:cubicBezTo>
                      <a:pt x="1310042" y="1943548"/>
                      <a:pt x="1309660" y="1954258"/>
                      <a:pt x="1309660" y="1965159"/>
                    </a:cubicBezTo>
                    <a:cubicBezTo>
                      <a:pt x="1309660" y="2304240"/>
                      <a:pt x="1585534" y="2580114"/>
                      <a:pt x="1924615" y="2580114"/>
                    </a:cubicBezTo>
                    <a:cubicBezTo>
                      <a:pt x="1978546" y="2580114"/>
                      <a:pt x="2032096" y="2573229"/>
                      <a:pt x="2083541" y="2559459"/>
                    </a:cubicBezTo>
                    <a:lnTo>
                      <a:pt x="2157458" y="2836672"/>
                    </a:lnTo>
                    <a:cubicBezTo>
                      <a:pt x="2081915" y="2856849"/>
                      <a:pt x="2003504" y="2866985"/>
                      <a:pt x="1924615" y="2866985"/>
                    </a:cubicBezTo>
                    <a:close/>
                    <a:moveTo>
                      <a:pt x="2451692" y="2740475"/>
                    </a:moveTo>
                    <a:lnTo>
                      <a:pt x="2225925" y="1879959"/>
                    </a:lnTo>
                    <a:lnTo>
                      <a:pt x="2552575" y="2002644"/>
                    </a:lnTo>
                    <a:cubicBezTo>
                      <a:pt x="2552670" y="1998532"/>
                      <a:pt x="2552766" y="1994611"/>
                      <a:pt x="2552766" y="1990499"/>
                    </a:cubicBezTo>
                    <a:cubicBezTo>
                      <a:pt x="2552766" y="1651323"/>
                      <a:pt x="2276892" y="1375449"/>
                      <a:pt x="1937715" y="1375449"/>
                    </a:cubicBezTo>
                    <a:cubicBezTo>
                      <a:pt x="1883784" y="1375449"/>
                      <a:pt x="1830330" y="1382429"/>
                      <a:pt x="1778789" y="1396199"/>
                    </a:cubicBezTo>
                    <a:lnTo>
                      <a:pt x="1704872" y="1118987"/>
                    </a:lnTo>
                    <a:cubicBezTo>
                      <a:pt x="1780510" y="1098810"/>
                      <a:pt x="1858826" y="1088578"/>
                      <a:pt x="1937715" y="1088578"/>
                    </a:cubicBezTo>
                    <a:cubicBezTo>
                      <a:pt x="2435053" y="1088578"/>
                      <a:pt x="2839637" y="1493162"/>
                      <a:pt x="2839637" y="1990499"/>
                    </a:cubicBezTo>
                    <a:cubicBezTo>
                      <a:pt x="2839637" y="2032000"/>
                      <a:pt x="2837246" y="2070441"/>
                      <a:pt x="2832560" y="2107734"/>
                    </a:cubicBezTo>
                    <a:lnTo>
                      <a:pt x="3187897" y="2241033"/>
                    </a:lnTo>
                    <a:close/>
                  </a:path>
                </a:pathLst>
              </a:custGeom>
              <a:grpFill/>
              <a:ln w="9562" cap="flat">
                <a:noFill/>
                <a:prstDash val="solid"/>
                <a:miter/>
              </a:ln>
            </p:spPr>
            <p:txBody>
              <a:bodyPr/>
              <a:lstStyle/>
              <a:p>
                <a:endParaRPr lang="en-US"/>
              </a:p>
            </p:txBody>
          </p:sp>
        </p:grpSp>
      </p:grpSp>
      <p:grpSp>
        <p:nvGrpSpPr>
          <p:cNvPr id="283" name="Group 282">
            <a:extLst>
              <a:ext uri="{FF2B5EF4-FFF2-40B4-BE49-F238E27FC236}">
                <a16:creationId xmlns:a16="http://schemas.microsoft.com/office/drawing/2014/main" id="{1093AF58-0F53-80D0-7A2E-5776BB44AF75}"/>
              </a:ext>
            </a:extLst>
          </p:cNvPr>
          <p:cNvGrpSpPr/>
          <p:nvPr/>
        </p:nvGrpSpPr>
        <p:grpSpPr>
          <a:xfrm>
            <a:off x="6250778" y="2654515"/>
            <a:ext cx="354334" cy="354334"/>
            <a:chOff x="6250778" y="2654515"/>
            <a:chExt cx="354334" cy="354334"/>
          </a:xfrm>
        </p:grpSpPr>
        <p:sp>
          <p:nvSpPr>
            <p:cNvPr id="217" name="Oval 216">
              <a:extLst>
                <a:ext uri="{FF2B5EF4-FFF2-40B4-BE49-F238E27FC236}">
                  <a16:creationId xmlns:a16="http://schemas.microsoft.com/office/drawing/2014/main" id="{9B9F85BE-ACAB-FFED-FB2D-D480960C25EE}"/>
                </a:ext>
              </a:extLst>
            </p:cNvPr>
            <p:cNvSpPr/>
            <p:nvPr/>
          </p:nvSpPr>
          <p:spPr>
            <a:xfrm>
              <a:off x="6250778" y="26545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7" name="Graphic 275">
              <a:extLst>
                <a:ext uri="{FF2B5EF4-FFF2-40B4-BE49-F238E27FC236}">
                  <a16:creationId xmlns:a16="http://schemas.microsoft.com/office/drawing/2014/main" id="{2CF88023-534F-2F64-ECBB-D88164D9B057}"/>
                </a:ext>
              </a:extLst>
            </p:cNvPr>
            <p:cNvGrpSpPr/>
            <p:nvPr/>
          </p:nvGrpSpPr>
          <p:grpSpPr>
            <a:xfrm>
              <a:off x="6333886" y="2737623"/>
              <a:ext cx="188119" cy="188119"/>
              <a:chOff x="3657600" y="990600"/>
              <a:chExt cx="4876800" cy="4876800"/>
            </a:xfrm>
            <a:solidFill>
              <a:srgbClr val="2B660F"/>
            </a:solidFill>
          </p:grpSpPr>
          <p:sp>
            <p:nvSpPr>
              <p:cNvPr id="278" name="Freeform: Shape 277">
                <a:extLst>
                  <a:ext uri="{FF2B5EF4-FFF2-40B4-BE49-F238E27FC236}">
                    <a16:creationId xmlns:a16="http://schemas.microsoft.com/office/drawing/2014/main" id="{0AEFFD1D-C6F4-A587-F813-982439155930}"/>
                  </a:ext>
                </a:extLst>
              </p:cNvPr>
              <p:cNvSpPr/>
              <p:nvPr/>
            </p:nvSpPr>
            <p:spPr>
              <a:xfrm>
                <a:off x="6357337" y="2381250"/>
                <a:ext cx="2177062" cy="2095509"/>
              </a:xfrm>
              <a:custGeom>
                <a:avLst/>
                <a:gdLst>
                  <a:gd name="csX0" fmla="*/ 1891313 w 2177062"/>
                  <a:gd name="csY0" fmla="*/ 1167574 h 2095509"/>
                  <a:gd name="csX1" fmla="*/ 1891313 w 2177062"/>
                  <a:gd name="csY1" fmla="*/ 809625 h 2095509"/>
                  <a:gd name="csX2" fmla="*/ 1819875 w 2177062"/>
                  <a:gd name="csY2" fmla="*/ 685895 h 2095509"/>
                  <a:gd name="csX3" fmla="*/ 1509855 w 2177062"/>
                  <a:gd name="csY3" fmla="*/ 506901 h 2095509"/>
                  <a:gd name="csX4" fmla="*/ 1517151 w 2177062"/>
                  <a:gd name="csY4" fmla="*/ 428625 h 2095509"/>
                  <a:gd name="csX5" fmla="*/ 1088526 w 2177062"/>
                  <a:gd name="csY5" fmla="*/ 0 h 2095509"/>
                  <a:gd name="csX6" fmla="*/ 659901 w 2177062"/>
                  <a:gd name="csY6" fmla="*/ 428625 h 2095509"/>
                  <a:gd name="csX7" fmla="*/ 667198 w 2177062"/>
                  <a:gd name="csY7" fmla="*/ 506901 h 2095509"/>
                  <a:gd name="csX8" fmla="*/ 357188 w 2177062"/>
                  <a:gd name="csY8" fmla="*/ 685895 h 2095509"/>
                  <a:gd name="csX9" fmla="*/ 285750 w 2177062"/>
                  <a:gd name="csY9" fmla="*/ 809625 h 2095509"/>
                  <a:gd name="csX10" fmla="*/ 285750 w 2177062"/>
                  <a:gd name="csY10" fmla="*/ 1167574 h 2095509"/>
                  <a:gd name="csX11" fmla="*/ 0 w 2177062"/>
                  <a:gd name="csY11" fmla="*/ 1571625 h 2095509"/>
                  <a:gd name="csX12" fmla="*/ 428625 w 2177062"/>
                  <a:gd name="csY12" fmla="*/ 2000250 h 2095509"/>
                  <a:gd name="csX13" fmla="*/ 706879 w 2177062"/>
                  <a:gd name="csY13" fmla="*/ 1897256 h 2095509"/>
                  <a:gd name="csX14" fmla="*/ 1017089 w 2177062"/>
                  <a:gd name="csY14" fmla="*/ 2076364 h 2095509"/>
                  <a:gd name="csX15" fmla="*/ 1159964 w 2177062"/>
                  <a:gd name="csY15" fmla="*/ 2076364 h 2095509"/>
                  <a:gd name="csX16" fmla="*/ 1470184 w 2177062"/>
                  <a:gd name="csY16" fmla="*/ 1897256 h 2095509"/>
                  <a:gd name="csX17" fmla="*/ 1748438 w 2177062"/>
                  <a:gd name="csY17" fmla="*/ 2000250 h 2095509"/>
                  <a:gd name="csX18" fmla="*/ 2177063 w 2177062"/>
                  <a:gd name="csY18" fmla="*/ 1571625 h 2095509"/>
                  <a:gd name="csX19" fmla="*/ 1891313 w 2177062"/>
                  <a:gd name="csY19" fmla="*/ 1167574 h 2095509"/>
                  <a:gd name="csX20" fmla="*/ 1605563 w 2177062"/>
                  <a:gd name="csY20" fmla="*/ 1167574 h 2095509"/>
                  <a:gd name="csX21" fmla="*/ 1319813 w 2177062"/>
                  <a:gd name="csY21" fmla="*/ 1571625 h 2095509"/>
                  <a:gd name="csX22" fmla="*/ 1327109 w 2177062"/>
                  <a:gd name="csY22" fmla="*/ 1649901 h 2095509"/>
                  <a:gd name="csX23" fmla="*/ 1088526 w 2177062"/>
                  <a:gd name="csY23" fmla="*/ 1787642 h 2095509"/>
                  <a:gd name="csX24" fmla="*/ 849954 w 2177062"/>
                  <a:gd name="csY24" fmla="*/ 1649901 h 2095509"/>
                  <a:gd name="csX25" fmla="*/ 857250 w 2177062"/>
                  <a:gd name="csY25" fmla="*/ 1571625 h 2095509"/>
                  <a:gd name="csX26" fmla="*/ 571500 w 2177062"/>
                  <a:gd name="csY26" fmla="*/ 1167574 h 2095509"/>
                  <a:gd name="csX27" fmla="*/ 571500 w 2177062"/>
                  <a:gd name="csY27" fmla="*/ 892112 h 2095509"/>
                  <a:gd name="csX28" fmla="*/ 810273 w 2177062"/>
                  <a:gd name="csY28" fmla="*/ 754247 h 2095509"/>
                  <a:gd name="csX29" fmla="*/ 1088526 w 2177062"/>
                  <a:gd name="csY29" fmla="*/ 857240 h 2095509"/>
                  <a:gd name="csX30" fmla="*/ 1366780 w 2177062"/>
                  <a:gd name="csY30" fmla="*/ 754247 h 2095509"/>
                  <a:gd name="csX31" fmla="*/ 1605563 w 2177062"/>
                  <a:gd name="csY31" fmla="*/ 892112 h 209550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Lst>
                <a:rect l="l" t="t" r="r" b="b"/>
                <a:pathLst>
                  <a:path w="2177062" h="2095509">
                    <a:moveTo>
                      <a:pt x="1891313" y="1167574"/>
                    </a:moveTo>
                    <a:lnTo>
                      <a:pt x="1891313" y="809625"/>
                    </a:lnTo>
                    <a:cubicBezTo>
                      <a:pt x="1891313" y="758581"/>
                      <a:pt x="1864080" y="711413"/>
                      <a:pt x="1819875" y="685895"/>
                    </a:cubicBezTo>
                    <a:lnTo>
                      <a:pt x="1509855" y="506901"/>
                    </a:lnTo>
                    <a:cubicBezTo>
                      <a:pt x="1514561" y="481498"/>
                      <a:pt x="1517151" y="455362"/>
                      <a:pt x="1517151" y="428625"/>
                    </a:cubicBezTo>
                    <a:cubicBezTo>
                      <a:pt x="1517151" y="192281"/>
                      <a:pt x="1324870" y="0"/>
                      <a:pt x="1088526" y="0"/>
                    </a:cubicBezTo>
                    <a:cubicBezTo>
                      <a:pt x="852183" y="0"/>
                      <a:pt x="659901" y="192281"/>
                      <a:pt x="659901" y="428625"/>
                    </a:cubicBezTo>
                    <a:cubicBezTo>
                      <a:pt x="659901" y="455371"/>
                      <a:pt x="662483" y="481508"/>
                      <a:pt x="667198" y="506901"/>
                    </a:cubicBezTo>
                    <a:lnTo>
                      <a:pt x="357188" y="685895"/>
                    </a:lnTo>
                    <a:cubicBezTo>
                      <a:pt x="312982" y="711422"/>
                      <a:pt x="285750" y="758581"/>
                      <a:pt x="285750" y="809625"/>
                    </a:cubicBezTo>
                    <a:lnTo>
                      <a:pt x="285750" y="1167574"/>
                    </a:lnTo>
                    <a:cubicBezTo>
                      <a:pt x="119453" y="1226553"/>
                      <a:pt x="0" y="1385364"/>
                      <a:pt x="0" y="1571625"/>
                    </a:cubicBezTo>
                    <a:cubicBezTo>
                      <a:pt x="0" y="1807969"/>
                      <a:pt x="192281" y="2000250"/>
                      <a:pt x="428625" y="2000250"/>
                    </a:cubicBezTo>
                    <a:cubicBezTo>
                      <a:pt x="534762" y="2000250"/>
                      <a:pt x="631936" y="1961388"/>
                      <a:pt x="706879" y="1897256"/>
                    </a:cubicBezTo>
                    <a:lnTo>
                      <a:pt x="1017089" y="2076364"/>
                    </a:lnTo>
                    <a:cubicBezTo>
                      <a:pt x="1061295" y="2101891"/>
                      <a:pt x="1115758" y="2101891"/>
                      <a:pt x="1159964" y="2076364"/>
                    </a:cubicBezTo>
                    <a:lnTo>
                      <a:pt x="1470184" y="1897256"/>
                    </a:lnTo>
                    <a:cubicBezTo>
                      <a:pt x="1545126" y="1961388"/>
                      <a:pt x="1642300" y="2000250"/>
                      <a:pt x="1748438" y="2000250"/>
                    </a:cubicBezTo>
                    <a:cubicBezTo>
                      <a:pt x="1984781" y="2000250"/>
                      <a:pt x="2177063" y="1807969"/>
                      <a:pt x="2177063" y="1571625"/>
                    </a:cubicBezTo>
                    <a:cubicBezTo>
                      <a:pt x="2177063" y="1385364"/>
                      <a:pt x="2057610" y="1226553"/>
                      <a:pt x="1891313" y="1167574"/>
                    </a:cubicBezTo>
                    <a:close/>
                    <a:moveTo>
                      <a:pt x="1605563" y="1167574"/>
                    </a:moveTo>
                    <a:cubicBezTo>
                      <a:pt x="1439265" y="1226553"/>
                      <a:pt x="1319813" y="1385364"/>
                      <a:pt x="1319813" y="1571625"/>
                    </a:cubicBezTo>
                    <a:cubicBezTo>
                      <a:pt x="1319813" y="1598371"/>
                      <a:pt x="1322394" y="1624508"/>
                      <a:pt x="1327109" y="1649901"/>
                    </a:cubicBezTo>
                    <a:lnTo>
                      <a:pt x="1088526" y="1787642"/>
                    </a:lnTo>
                    <a:lnTo>
                      <a:pt x="849954" y="1649901"/>
                    </a:lnTo>
                    <a:cubicBezTo>
                      <a:pt x="854659" y="1624498"/>
                      <a:pt x="857250" y="1598362"/>
                      <a:pt x="857250" y="1571625"/>
                    </a:cubicBezTo>
                    <a:cubicBezTo>
                      <a:pt x="857250" y="1385364"/>
                      <a:pt x="737797" y="1226553"/>
                      <a:pt x="571500" y="1167574"/>
                    </a:cubicBezTo>
                    <a:lnTo>
                      <a:pt x="571500" y="892112"/>
                    </a:lnTo>
                    <a:lnTo>
                      <a:pt x="810273" y="754247"/>
                    </a:lnTo>
                    <a:cubicBezTo>
                      <a:pt x="885215" y="818379"/>
                      <a:pt x="982389" y="857240"/>
                      <a:pt x="1088526" y="857240"/>
                    </a:cubicBezTo>
                    <a:cubicBezTo>
                      <a:pt x="1194663" y="857240"/>
                      <a:pt x="1291847" y="818379"/>
                      <a:pt x="1366780" y="754247"/>
                    </a:cubicBezTo>
                    <a:lnTo>
                      <a:pt x="1605563" y="892112"/>
                    </a:lnTo>
                    <a:close/>
                  </a:path>
                </a:pathLst>
              </a:custGeom>
              <a:grpFill/>
              <a:ln w="9525" cap="flat">
                <a:noFill/>
                <a:prstDash val="solid"/>
                <a:miter/>
              </a:ln>
            </p:spPr>
            <p:txBody>
              <a:bodyPr/>
              <a:lstStyle/>
              <a:p>
                <a:endParaRPr lang="en-US"/>
              </a:p>
            </p:txBody>
          </p:sp>
          <p:sp>
            <p:nvSpPr>
              <p:cNvPr id="279" name="Freeform: Shape 278">
                <a:extLst>
                  <a:ext uri="{FF2B5EF4-FFF2-40B4-BE49-F238E27FC236}">
                    <a16:creationId xmlns:a16="http://schemas.microsoft.com/office/drawing/2014/main" id="{70363EAB-3E8D-B9E7-E4BA-E5C79ECBA1F8}"/>
                  </a:ext>
                </a:extLst>
              </p:cNvPr>
              <p:cNvSpPr/>
              <p:nvPr/>
            </p:nvSpPr>
            <p:spPr>
              <a:xfrm>
                <a:off x="3657600" y="4438650"/>
                <a:ext cx="2571750" cy="1428750"/>
              </a:xfrm>
              <a:custGeom>
                <a:avLst/>
                <a:gdLst>
                  <a:gd name="csX0" fmla="*/ 2381250 w 2571750"/>
                  <a:gd name="csY0" fmla="*/ 317983 h 1428750"/>
                  <a:gd name="csX1" fmla="*/ 2381250 w 2571750"/>
                  <a:gd name="csY1" fmla="*/ 0 h 1428750"/>
                  <a:gd name="csX2" fmla="*/ 190500 w 2571750"/>
                  <a:gd name="csY2" fmla="*/ 0 h 1428750"/>
                  <a:gd name="csX3" fmla="*/ 190500 w 2571750"/>
                  <a:gd name="csY3" fmla="*/ 317983 h 1428750"/>
                  <a:gd name="csX4" fmla="*/ 0 w 2571750"/>
                  <a:gd name="csY4" fmla="*/ 619125 h 1428750"/>
                  <a:gd name="csX5" fmla="*/ 0 w 2571750"/>
                  <a:gd name="csY5" fmla="*/ 809625 h 1428750"/>
                  <a:gd name="csX6" fmla="*/ 619125 w 2571750"/>
                  <a:gd name="csY6" fmla="*/ 1428750 h 1428750"/>
                  <a:gd name="csX7" fmla="*/ 1952625 w 2571750"/>
                  <a:gd name="csY7" fmla="*/ 1428750 h 1428750"/>
                  <a:gd name="csX8" fmla="*/ 2571750 w 2571750"/>
                  <a:gd name="csY8" fmla="*/ 809625 h 1428750"/>
                  <a:gd name="csX9" fmla="*/ 2571750 w 2571750"/>
                  <a:gd name="csY9" fmla="*/ 619125 h 1428750"/>
                  <a:gd name="csX10" fmla="*/ 2381250 w 2571750"/>
                  <a:gd name="csY10" fmla="*/ 317983 h 14287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2571750" h="1428750">
                    <a:moveTo>
                      <a:pt x="2381250" y="317983"/>
                    </a:moveTo>
                    <a:lnTo>
                      <a:pt x="2381250" y="0"/>
                    </a:lnTo>
                    <a:lnTo>
                      <a:pt x="190500" y="0"/>
                    </a:lnTo>
                    <a:lnTo>
                      <a:pt x="190500" y="317983"/>
                    </a:lnTo>
                    <a:cubicBezTo>
                      <a:pt x="77972" y="371589"/>
                      <a:pt x="0" y="486404"/>
                      <a:pt x="0" y="619125"/>
                    </a:cubicBezTo>
                    <a:lnTo>
                      <a:pt x="0" y="809625"/>
                    </a:lnTo>
                    <a:cubicBezTo>
                      <a:pt x="0" y="1151011"/>
                      <a:pt x="277739" y="1428750"/>
                      <a:pt x="619125" y="1428750"/>
                    </a:cubicBezTo>
                    <a:lnTo>
                      <a:pt x="1952625" y="1428750"/>
                    </a:lnTo>
                    <a:cubicBezTo>
                      <a:pt x="2294011" y="1428750"/>
                      <a:pt x="2571750" y="1151011"/>
                      <a:pt x="2571750" y="809625"/>
                    </a:cubicBezTo>
                    <a:lnTo>
                      <a:pt x="2571750" y="619125"/>
                    </a:lnTo>
                    <a:cubicBezTo>
                      <a:pt x="2571750" y="486404"/>
                      <a:pt x="2493778" y="371589"/>
                      <a:pt x="2381250" y="317983"/>
                    </a:cubicBezTo>
                    <a:close/>
                  </a:path>
                </a:pathLst>
              </a:custGeom>
              <a:grpFill/>
              <a:ln w="9525" cap="flat">
                <a:noFill/>
                <a:prstDash val="solid"/>
                <a:miter/>
              </a:ln>
            </p:spPr>
            <p:txBody>
              <a:bodyPr/>
              <a:lstStyle/>
              <a:p>
                <a:endParaRPr lang="en-US"/>
              </a:p>
            </p:txBody>
          </p:sp>
          <p:sp>
            <p:nvSpPr>
              <p:cNvPr id="280" name="Freeform: Shape 279">
                <a:extLst>
                  <a:ext uri="{FF2B5EF4-FFF2-40B4-BE49-F238E27FC236}">
                    <a16:creationId xmlns:a16="http://schemas.microsoft.com/office/drawing/2014/main" id="{964D66EC-BD26-D10E-FFF5-7FD1B038514E}"/>
                  </a:ext>
                </a:extLst>
              </p:cNvPr>
              <p:cNvSpPr/>
              <p:nvPr/>
            </p:nvSpPr>
            <p:spPr>
              <a:xfrm>
                <a:off x="3848100" y="3771900"/>
                <a:ext cx="2190750" cy="381000"/>
              </a:xfrm>
              <a:custGeom>
                <a:avLst/>
                <a:gdLst>
                  <a:gd name="csX0" fmla="*/ 0 w 2190750"/>
                  <a:gd name="csY0" fmla="*/ 0 h 381000"/>
                  <a:gd name="csX1" fmla="*/ 2190750 w 2190750"/>
                  <a:gd name="csY1" fmla="*/ 0 h 381000"/>
                  <a:gd name="csX2" fmla="*/ 2190750 w 2190750"/>
                  <a:gd name="csY2" fmla="*/ 381000 h 381000"/>
                  <a:gd name="csX3" fmla="*/ 0 w 2190750"/>
                  <a:gd name="csY3" fmla="*/ 381000 h 381000"/>
                </a:gdLst>
                <a:ahLst/>
                <a:cxnLst>
                  <a:cxn ang="0">
                    <a:pos x="csX0" y="csY0"/>
                  </a:cxn>
                  <a:cxn ang="0">
                    <a:pos x="csX1" y="csY1"/>
                  </a:cxn>
                  <a:cxn ang="0">
                    <a:pos x="csX2" y="csY2"/>
                  </a:cxn>
                  <a:cxn ang="0">
                    <a:pos x="csX3" y="csY3"/>
                  </a:cxn>
                </a:cxnLst>
                <a:rect l="l" t="t" r="r" b="b"/>
                <a:pathLst>
                  <a:path w="2190750" h="381000">
                    <a:moveTo>
                      <a:pt x="0" y="0"/>
                    </a:moveTo>
                    <a:lnTo>
                      <a:pt x="2190750" y="0"/>
                    </a:lnTo>
                    <a:lnTo>
                      <a:pt x="2190750" y="381000"/>
                    </a:lnTo>
                    <a:lnTo>
                      <a:pt x="0" y="381000"/>
                    </a:lnTo>
                    <a:close/>
                  </a:path>
                </a:pathLst>
              </a:custGeom>
              <a:grpFill/>
              <a:ln w="9525" cap="flat">
                <a:noFill/>
                <a:prstDash val="solid"/>
                <a:miter/>
              </a:ln>
            </p:spPr>
            <p:txBody>
              <a:bodyPr/>
              <a:lstStyle/>
              <a:p>
                <a:endParaRPr lang="en-US"/>
              </a:p>
            </p:txBody>
          </p:sp>
          <p:sp>
            <p:nvSpPr>
              <p:cNvPr id="281" name="Freeform: Shape 280">
                <a:extLst>
                  <a:ext uri="{FF2B5EF4-FFF2-40B4-BE49-F238E27FC236}">
                    <a16:creationId xmlns:a16="http://schemas.microsoft.com/office/drawing/2014/main" id="{9656B1EC-20AE-A99D-C2E7-A509900EA3BA}"/>
                  </a:ext>
                </a:extLst>
              </p:cNvPr>
              <p:cNvSpPr/>
              <p:nvPr/>
            </p:nvSpPr>
            <p:spPr>
              <a:xfrm>
                <a:off x="4324350" y="990600"/>
                <a:ext cx="1238250" cy="571500"/>
              </a:xfrm>
              <a:custGeom>
                <a:avLst/>
                <a:gdLst>
                  <a:gd name="csX0" fmla="*/ 142875 w 1238250"/>
                  <a:gd name="csY0" fmla="*/ 571500 h 571500"/>
                  <a:gd name="csX1" fmla="*/ 1095375 w 1238250"/>
                  <a:gd name="csY1" fmla="*/ 571500 h 571500"/>
                  <a:gd name="csX2" fmla="*/ 1238250 w 1238250"/>
                  <a:gd name="csY2" fmla="*/ 428625 h 571500"/>
                  <a:gd name="csX3" fmla="*/ 1238250 w 1238250"/>
                  <a:gd name="csY3" fmla="*/ 333375 h 571500"/>
                  <a:gd name="csX4" fmla="*/ 904875 w 1238250"/>
                  <a:gd name="csY4" fmla="*/ 0 h 571500"/>
                  <a:gd name="csX5" fmla="*/ 333375 w 1238250"/>
                  <a:gd name="csY5" fmla="*/ 0 h 571500"/>
                  <a:gd name="csX6" fmla="*/ 0 w 1238250"/>
                  <a:gd name="csY6" fmla="*/ 333375 h 571500"/>
                  <a:gd name="csX7" fmla="*/ 0 w 1238250"/>
                  <a:gd name="csY7" fmla="*/ 428625 h 571500"/>
                  <a:gd name="csX8" fmla="*/ 142875 w 1238250"/>
                  <a:gd name="csY8" fmla="*/ 571500 h 5715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238250" h="571500">
                    <a:moveTo>
                      <a:pt x="142875" y="571500"/>
                    </a:moveTo>
                    <a:lnTo>
                      <a:pt x="1095375" y="571500"/>
                    </a:lnTo>
                    <a:cubicBezTo>
                      <a:pt x="1174280" y="571500"/>
                      <a:pt x="1238250" y="507530"/>
                      <a:pt x="1238250" y="428625"/>
                    </a:cubicBezTo>
                    <a:lnTo>
                      <a:pt x="1238250" y="333375"/>
                    </a:lnTo>
                    <a:cubicBezTo>
                      <a:pt x="1238250" y="149257"/>
                      <a:pt x="1088993" y="0"/>
                      <a:pt x="904875" y="0"/>
                    </a:cubicBezTo>
                    <a:lnTo>
                      <a:pt x="333375" y="0"/>
                    </a:lnTo>
                    <a:cubicBezTo>
                      <a:pt x="149257" y="0"/>
                      <a:pt x="0" y="149257"/>
                      <a:pt x="0" y="333375"/>
                    </a:cubicBezTo>
                    <a:lnTo>
                      <a:pt x="0" y="428625"/>
                    </a:lnTo>
                    <a:cubicBezTo>
                      <a:pt x="0" y="507530"/>
                      <a:pt x="63970" y="571500"/>
                      <a:pt x="142875" y="571500"/>
                    </a:cubicBezTo>
                    <a:close/>
                  </a:path>
                </a:pathLst>
              </a:custGeom>
              <a:grpFill/>
              <a:ln w="9525" cap="flat">
                <a:noFill/>
                <a:prstDash val="solid"/>
                <a:miter/>
              </a:ln>
            </p:spPr>
            <p:txBody>
              <a:bodyPr/>
              <a:lstStyle/>
              <a:p>
                <a:endParaRPr lang="en-US"/>
              </a:p>
            </p:txBody>
          </p:sp>
          <p:sp>
            <p:nvSpPr>
              <p:cNvPr id="282" name="Freeform: Shape 281">
                <a:extLst>
                  <a:ext uri="{FF2B5EF4-FFF2-40B4-BE49-F238E27FC236}">
                    <a16:creationId xmlns:a16="http://schemas.microsoft.com/office/drawing/2014/main" id="{1BD0293F-195B-79C2-6F2F-0B32E7B7E258}"/>
                  </a:ext>
                </a:extLst>
              </p:cNvPr>
              <p:cNvSpPr/>
              <p:nvPr/>
            </p:nvSpPr>
            <p:spPr>
              <a:xfrm>
                <a:off x="3657600" y="1847850"/>
                <a:ext cx="2571750" cy="1638300"/>
              </a:xfrm>
              <a:custGeom>
                <a:avLst/>
                <a:gdLst>
                  <a:gd name="csX0" fmla="*/ 2222230 w 2571750"/>
                  <a:gd name="csY0" fmla="*/ 299437 h 1638300"/>
                  <a:gd name="csX1" fmla="*/ 1762125 w 2571750"/>
                  <a:gd name="csY1" fmla="*/ 137046 h 1638300"/>
                  <a:gd name="csX2" fmla="*/ 1762125 w 2571750"/>
                  <a:gd name="csY2" fmla="*/ 0 h 1638300"/>
                  <a:gd name="csX3" fmla="*/ 809625 w 2571750"/>
                  <a:gd name="csY3" fmla="*/ 0 h 1638300"/>
                  <a:gd name="csX4" fmla="*/ 809625 w 2571750"/>
                  <a:gd name="csY4" fmla="*/ 137046 h 1638300"/>
                  <a:gd name="csX5" fmla="*/ 349510 w 2571750"/>
                  <a:gd name="csY5" fmla="*/ 299437 h 1638300"/>
                  <a:gd name="csX6" fmla="*/ 0 w 2571750"/>
                  <a:gd name="csY6" fmla="*/ 793442 h 1638300"/>
                  <a:gd name="csX7" fmla="*/ 0 w 2571750"/>
                  <a:gd name="csY7" fmla="*/ 1019175 h 1638300"/>
                  <a:gd name="csX8" fmla="*/ 190500 w 2571750"/>
                  <a:gd name="csY8" fmla="*/ 1320317 h 1638300"/>
                  <a:gd name="csX9" fmla="*/ 190500 w 2571750"/>
                  <a:gd name="csY9" fmla="*/ 1638300 h 1638300"/>
                  <a:gd name="csX10" fmla="*/ 2381250 w 2571750"/>
                  <a:gd name="csY10" fmla="*/ 1638300 h 1638300"/>
                  <a:gd name="csX11" fmla="*/ 2381250 w 2571750"/>
                  <a:gd name="csY11" fmla="*/ 1320317 h 1638300"/>
                  <a:gd name="csX12" fmla="*/ 2571750 w 2571750"/>
                  <a:gd name="csY12" fmla="*/ 1019175 h 1638300"/>
                  <a:gd name="csX13" fmla="*/ 2571750 w 2571750"/>
                  <a:gd name="csY13" fmla="*/ 793442 h 1638300"/>
                  <a:gd name="csX14" fmla="*/ 2222230 w 2571750"/>
                  <a:gd name="csY14" fmla="*/ 299437 h 16383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571750" h="1638300">
                    <a:moveTo>
                      <a:pt x="2222230" y="299437"/>
                    </a:moveTo>
                    <a:lnTo>
                      <a:pt x="1762125" y="137046"/>
                    </a:lnTo>
                    <a:lnTo>
                      <a:pt x="1762125" y="0"/>
                    </a:lnTo>
                    <a:lnTo>
                      <a:pt x="809625" y="0"/>
                    </a:lnTo>
                    <a:lnTo>
                      <a:pt x="809625" y="137046"/>
                    </a:lnTo>
                    <a:lnTo>
                      <a:pt x="349510" y="299437"/>
                    </a:lnTo>
                    <a:cubicBezTo>
                      <a:pt x="140465" y="373218"/>
                      <a:pt x="0" y="571738"/>
                      <a:pt x="0" y="793442"/>
                    </a:cubicBezTo>
                    <a:lnTo>
                      <a:pt x="0" y="1019175"/>
                    </a:lnTo>
                    <a:cubicBezTo>
                      <a:pt x="0" y="1151896"/>
                      <a:pt x="77972" y="1266711"/>
                      <a:pt x="190500" y="1320317"/>
                    </a:cubicBezTo>
                    <a:lnTo>
                      <a:pt x="190500" y="1638300"/>
                    </a:lnTo>
                    <a:lnTo>
                      <a:pt x="2381250" y="1638300"/>
                    </a:lnTo>
                    <a:lnTo>
                      <a:pt x="2381250" y="1320317"/>
                    </a:lnTo>
                    <a:cubicBezTo>
                      <a:pt x="2493778" y="1266711"/>
                      <a:pt x="2571750" y="1151896"/>
                      <a:pt x="2571750" y="1019175"/>
                    </a:cubicBezTo>
                    <a:lnTo>
                      <a:pt x="2571750" y="793442"/>
                    </a:lnTo>
                    <a:cubicBezTo>
                      <a:pt x="2571750" y="571738"/>
                      <a:pt x="2431285" y="373218"/>
                      <a:pt x="2222230" y="299437"/>
                    </a:cubicBezTo>
                    <a:close/>
                  </a:path>
                </a:pathLst>
              </a:custGeom>
              <a:grpFill/>
              <a:ln w="9525" cap="flat">
                <a:noFill/>
                <a:prstDash val="solid"/>
                <a:miter/>
              </a:ln>
            </p:spPr>
            <p:txBody>
              <a:bodyPr/>
              <a:lstStyle/>
              <a:p>
                <a:endParaRPr lang="en-US"/>
              </a:p>
            </p:txBody>
          </p:sp>
        </p:grpSp>
      </p:grpSp>
      <p:grpSp>
        <p:nvGrpSpPr>
          <p:cNvPr id="293" name="Group 292">
            <a:extLst>
              <a:ext uri="{FF2B5EF4-FFF2-40B4-BE49-F238E27FC236}">
                <a16:creationId xmlns:a16="http://schemas.microsoft.com/office/drawing/2014/main" id="{0D083810-B82F-AA90-FC03-C9A6FA1A9970}"/>
              </a:ext>
            </a:extLst>
          </p:cNvPr>
          <p:cNvGrpSpPr/>
          <p:nvPr/>
        </p:nvGrpSpPr>
        <p:grpSpPr>
          <a:xfrm>
            <a:off x="6250778" y="3647742"/>
            <a:ext cx="354334" cy="354334"/>
            <a:chOff x="6250778" y="3647742"/>
            <a:chExt cx="354334" cy="354334"/>
          </a:xfrm>
        </p:grpSpPr>
        <p:sp>
          <p:nvSpPr>
            <p:cNvPr id="218" name="Oval 217">
              <a:extLst>
                <a:ext uri="{FF2B5EF4-FFF2-40B4-BE49-F238E27FC236}">
                  <a16:creationId xmlns:a16="http://schemas.microsoft.com/office/drawing/2014/main" id="{6C7F6E3B-63E3-3ED1-F5A8-C6EB575E9193}"/>
                </a:ext>
              </a:extLst>
            </p:cNvPr>
            <p:cNvSpPr/>
            <p:nvPr/>
          </p:nvSpPr>
          <p:spPr>
            <a:xfrm>
              <a:off x="6250778" y="3647742"/>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6" name="Graphic 284">
              <a:extLst>
                <a:ext uri="{FF2B5EF4-FFF2-40B4-BE49-F238E27FC236}">
                  <a16:creationId xmlns:a16="http://schemas.microsoft.com/office/drawing/2014/main" id="{C5EDFA38-E8EB-911D-C812-2DDEDC129A8F}"/>
                </a:ext>
              </a:extLst>
            </p:cNvPr>
            <p:cNvGrpSpPr/>
            <p:nvPr/>
          </p:nvGrpSpPr>
          <p:grpSpPr>
            <a:xfrm>
              <a:off x="6290212" y="3696322"/>
              <a:ext cx="275467" cy="257175"/>
              <a:chOff x="3657600" y="1152503"/>
              <a:chExt cx="4876266" cy="4552460"/>
            </a:xfrm>
            <a:solidFill>
              <a:srgbClr val="2B660F"/>
            </a:solidFill>
          </p:grpSpPr>
          <p:sp>
            <p:nvSpPr>
              <p:cNvPr id="287" name="Freeform: Shape 286">
                <a:extLst>
                  <a:ext uri="{FF2B5EF4-FFF2-40B4-BE49-F238E27FC236}">
                    <a16:creationId xmlns:a16="http://schemas.microsoft.com/office/drawing/2014/main" id="{6404642E-054C-C2B9-A2CB-C19A0E16F534}"/>
                  </a:ext>
                </a:extLst>
              </p:cNvPr>
              <p:cNvSpPr/>
              <p:nvPr/>
            </p:nvSpPr>
            <p:spPr>
              <a:xfrm>
                <a:off x="5313111" y="3771909"/>
                <a:ext cx="1598666" cy="266738"/>
              </a:xfrm>
              <a:custGeom>
                <a:avLst/>
                <a:gdLst>
                  <a:gd name="csX0" fmla="*/ 1598666 w 1598666"/>
                  <a:gd name="csY0" fmla="*/ 46491 h 266738"/>
                  <a:gd name="csX1" fmla="*/ 1578454 w 1598666"/>
                  <a:gd name="csY1" fmla="*/ 0 h 266738"/>
                  <a:gd name="csX2" fmla="*/ 20212 w 1598666"/>
                  <a:gd name="csY2" fmla="*/ 0 h 266738"/>
                  <a:gd name="csX3" fmla="*/ 0 w 1598666"/>
                  <a:gd name="csY3" fmla="*/ 46501 h 266738"/>
                  <a:gd name="csX4" fmla="*/ 0 w 1598666"/>
                  <a:gd name="csY4" fmla="*/ 266738 h 266738"/>
                  <a:gd name="csX5" fmla="*/ 1598666 w 1598666"/>
                  <a:gd name="csY5" fmla="*/ 266738 h 266738"/>
                </a:gdLst>
                <a:ahLst/>
                <a:cxnLst>
                  <a:cxn ang="0">
                    <a:pos x="csX0" y="csY0"/>
                  </a:cxn>
                  <a:cxn ang="0">
                    <a:pos x="csX1" y="csY1"/>
                  </a:cxn>
                  <a:cxn ang="0">
                    <a:pos x="csX2" y="csY2"/>
                  </a:cxn>
                  <a:cxn ang="0">
                    <a:pos x="csX3" y="csY3"/>
                  </a:cxn>
                  <a:cxn ang="0">
                    <a:pos x="csX4" y="csY4"/>
                  </a:cxn>
                  <a:cxn ang="0">
                    <a:pos x="csX5" y="csY5"/>
                  </a:cxn>
                </a:cxnLst>
                <a:rect l="l" t="t" r="r" b="b"/>
                <a:pathLst>
                  <a:path w="1598666" h="266738">
                    <a:moveTo>
                      <a:pt x="1598666" y="46491"/>
                    </a:moveTo>
                    <a:lnTo>
                      <a:pt x="1578454" y="0"/>
                    </a:lnTo>
                    <a:lnTo>
                      <a:pt x="20212" y="0"/>
                    </a:lnTo>
                    <a:lnTo>
                      <a:pt x="0" y="46501"/>
                    </a:lnTo>
                    <a:lnTo>
                      <a:pt x="0" y="266738"/>
                    </a:lnTo>
                    <a:lnTo>
                      <a:pt x="1598666" y="266738"/>
                    </a:lnTo>
                    <a:close/>
                  </a:path>
                </a:pathLst>
              </a:custGeom>
              <a:grpFill/>
              <a:ln w="9525" cap="flat">
                <a:noFill/>
                <a:prstDash val="solid"/>
                <a:miter/>
              </a:ln>
            </p:spPr>
            <p:txBody>
              <a:bodyPr/>
              <a:lstStyle/>
              <a:p>
                <a:endParaRPr lang="en-US"/>
              </a:p>
            </p:txBody>
          </p:sp>
          <p:sp>
            <p:nvSpPr>
              <p:cNvPr id="288" name="Freeform: Shape 287">
                <a:extLst>
                  <a:ext uri="{FF2B5EF4-FFF2-40B4-BE49-F238E27FC236}">
                    <a16:creationId xmlns:a16="http://schemas.microsoft.com/office/drawing/2014/main" id="{639AF090-FE68-36CB-D0A5-5642FE2F8A2A}"/>
                  </a:ext>
                </a:extLst>
              </p:cNvPr>
              <p:cNvSpPr/>
              <p:nvPr/>
            </p:nvSpPr>
            <p:spPr>
              <a:xfrm>
                <a:off x="5649629" y="1787975"/>
                <a:ext cx="925630" cy="496995"/>
              </a:xfrm>
              <a:custGeom>
                <a:avLst/>
                <a:gdLst>
                  <a:gd name="csX0" fmla="*/ 0 w 925630"/>
                  <a:gd name="csY0" fmla="*/ 0 h 496995"/>
                  <a:gd name="csX1" fmla="*/ 925630 w 925630"/>
                  <a:gd name="csY1" fmla="*/ 0 h 496995"/>
                  <a:gd name="csX2" fmla="*/ 925630 w 925630"/>
                  <a:gd name="csY2" fmla="*/ 496995 h 496995"/>
                  <a:gd name="csX3" fmla="*/ 0 w 925630"/>
                  <a:gd name="csY3" fmla="*/ 496995 h 496995"/>
                </a:gdLst>
                <a:ahLst/>
                <a:cxnLst>
                  <a:cxn ang="0">
                    <a:pos x="csX0" y="csY0"/>
                  </a:cxn>
                  <a:cxn ang="0">
                    <a:pos x="csX1" y="csY1"/>
                  </a:cxn>
                  <a:cxn ang="0">
                    <a:pos x="csX2" y="csY2"/>
                  </a:cxn>
                  <a:cxn ang="0">
                    <a:pos x="csX3" y="csY3"/>
                  </a:cxn>
                </a:cxnLst>
                <a:rect l="l" t="t" r="r" b="b"/>
                <a:pathLst>
                  <a:path w="925630" h="496995">
                    <a:moveTo>
                      <a:pt x="0" y="0"/>
                    </a:moveTo>
                    <a:lnTo>
                      <a:pt x="925630" y="0"/>
                    </a:lnTo>
                    <a:lnTo>
                      <a:pt x="925630" y="496995"/>
                    </a:lnTo>
                    <a:lnTo>
                      <a:pt x="0" y="496995"/>
                    </a:lnTo>
                    <a:close/>
                  </a:path>
                </a:pathLst>
              </a:custGeom>
              <a:grpFill/>
              <a:ln w="9525" cap="flat">
                <a:noFill/>
                <a:prstDash val="solid"/>
                <a:miter/>
              </a:ln>
            </p:spPr>
            <p:txBody>
              <a:bodyPr/>
              <a:lstStyle/>
              <a:p>
                <a:endParaRPr lang="en-US"/>
              </a:p>
            </p:txBody>
          </p:sp>
          <p:sp>
            <p:nvSpPr>
              <p:cNvPr id="289" name="Freeform: Shape 288">
                <a:extLst>
                  <a:ext uri="{FF2B5EF4-FFF2-40B4-BE49-F238E27FC236}">
                    <a16:creationId xmlns:a16="http://schemas.microsoft.com/office/drawing/2014/main" id="{5158A4E9-A4D0-53AF-431D-1AFA641733D3}"/>
                  </a:ext>
                </a:extLst>
              </p:cNvPr>
              <p:cNvSpPr/>
              <p:nvPr/>
            </p:nvSpPr>
            <p:spPr>
              <a:xfrm>
                <a:off x="5313111" y="2570721"/>
                <a:ext cx="1598666" cy="915438"/>
              </a:xfrm>
              <a:custGeom>
                <a:avLst/>
                <a:gdLst>
                  <a:gd name="csX0" fmla="*/ 1598666 w 1598666"/>
                  <a:gd name="csY0" fmla="*/ 868937 h 915438"/>
                  <a:gd name="csX1" fmla="*/ 1598666 w 1598666"/>
                  <a:gd name="csY1" fmla="*/ 361407 h 915438"/>
                  <a:gd name="csX2" fmla="*/ 1375448 w 1598666"/>
                  <a:gd name="csY2" fmla="*/ 0 h 915438"/>
                  <a:gd name="csX3" fmla="*/ 223218 w 1598666"/>
                  <a:gd name="csY3" fmla="*/ 0 h 915438"/>
                  <a:gd name="csX4" fmla="*/ 0 w 1598666"/>
                  <a:gd name="csY4" fmla="*/ 361407 h 915438"/>
                  <a:gd name="csX5" fmla="*/ 0 w 1598666"/>
                  <a:gd name="csY5" fmla="*/ 868937 h 915438"/>
                  <a:gd name="csX6" fmla="*/ 20212 w 1598666"/>
                  <a:gd name="csY6" fmla="*/ 915438 h 915438"/>
                  <a:gd name="csX7" fmla="*/ 1578454 w 1598666"/>
                  <a:gd name="csY7" fmla="*/ 915438 h 9154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598666" h="915438">
                    <a:moveTo>
                      <a:pt x="1598666" y="868937"/>
                    </a:moveTo>
                    <a:lnTo>
                      <a:pt x="1598666" y="361407"/>
                    </a:lnTo>
                    <a:lnTo>
                      <a:pt x="1375448" y="0"/>
                    </a:lnTo>
                    <a:lnTo>
                      <a:pt x="223218" y="0"/>
                    </a:lnTo>
                    <a:lnTo>
                      <a:pt x="0" y="361407"/>
                    </a:lnTo>
                    <a:lnTo>
                      <a:pt x="0" y="868937"/>
                    </a:lnTo>
                    <a:lnTo>
                      <a:pt x="20212" y="915438"/>
                    </a:lnTo>
                    <a:lnTo>
                      <a:pt x="1578454" y="915438"/>
                    </a:lnTo>
                    <a:close/>
                  </a:path>
                </a:pathLst>
              </a:custGeom>
              <a:grpFill/>
              <a:ln w="9525" cap="flat">
                <a:noFill/>
                <a:prstDash val="solid"/>
                <a:miter/>
              </a:ln>
            </p:spPr>
            <p:txBody>
              <a:bodyPr/>
              <a:lstStyle/>
              <a:p>
                <a:endParaRPr lang="en-US"/>
              </a:p>
            </p:txBody>
          </p:sp>
          <p:sp>
            <p:nvSpPr>
              <p:cNvPr id="290" name="Freeform: Shape 289">
                <a:extLst>
                  <a:ext uri="{FF2B5EF4-FFF2-40B4-BE49-F238E27FC236}">
                    <a16:creationId xmlns:a16="http://schemas.microsoft.com/office/drawing/2014/main" id="{8F6E47FE-D5CF-789F-BC62-D612C48B8D65}"/>
                  </a:ext>
                </a:extLst>
              </p:cNvPr>
              <p:cNvSpPr/>
              <p:nvPr/>
            </p:nvSpPr>
            <p:spPr>
              <a:xfrm>
                <a:off x="5313111" y="4324397"/>
                <a:ext cx="1598666" cy="556574"/>
              </a:xfrm>
              <a:custGeom>
                <a:avLst/>
                <a:gdLst>
                  <a:gd name="csX0" fmla="*/ 0 w 1598666"/>
                  <a:gd name="csY0" fmla="*/ 0 h 556574"/>
                  <a:gd name="csX1" fmla="*/ 1598666 w 1598666"/>
                  <a:gd name="csY1" fmla="*/ 0 h 556574"/>
                  <a:gd name="csX2" fmla="*/ 1598666 w 1598666"/>
                  <a:gd name="csY2" fmla="*/ 556574 h 556574"/>
                  <a:gd name="csX3" fmla="*/ 0 w 1598666"/>
                  <a:gd name="csY3" fmla="*/ 556574 h 556574"/>
                </a:gdLst>
                <a:ahLst/>
                <a:cxnLst>
                  <a:cxn ang="0">
                    <a:pos x="csX0" y="csY0"/>
                  </a:cxn>
                  <a:cxn ang="0">
                    <a:pos x="csX1" y="csY1"/>
                  </a:cxn>
                  <a:cxn ang="0">
                    <a:pos x="csX2" y="csY2"/>
                  </a:cxn>
                  <a:cxn ang="0">
                    <a:pos x="csX3" y="csY3"/>
                  </a:cxn>
                </a:cxnLst>
                <a:rect l="l" t="t" r="r" b="b"/>
                <a:pathLst>
                  <a:path w="1598666" h="556574">
                    <a:moveTo>
                      <a:pt x="0" y="0"/>
                    </a:moveTo>
                    <a:lnTo>
                      <a:pt x="1598666" y="0"/>
                    </a:lnTo>
                    <a:lnTo>
                      <a:pt x="1598666" y="556574"/>
                    </a:lnTo>
                    <a:lnTo>
                      <a:pt x="0" y="556574"/>
                    </a:lnTo>
                    <a:close/>
                  </a:path>
                </a:pathLst>
              </a:custGeom>
              <a:grpFill/>
              <a:ln w="9525" cap="flat">
                <a:noFill/>
                <a:prstDash val="solid"/>
                <a:miter/>
              </a:ln>
            </p:spPr>
            <p:txBody>
              <a:bodyPr/>
              <a:lstStyle/>
              <a:p>
                <a:endParaRPr lang="en-US"/>
              </a:p>
            </p:txBody>
          </p:sp>
          <p:sp>
            <p:nvSpPr>
              <p:cNvPr id="291" name="Freeform: Shape 290">
                <a:extLst>
                  <a:ext uri="{FF2B5EF4-FFF2-40B4-BE49-F238E27FC236}">
                    <a16:creationId xmlns:a16="http://schemas.microsoft.com/office/drawing/2014/main" id="{C18B51D4-70D5-5EBC-F9B4-5B9E93664242}"/>
                  </a:ext>
                </a:extLst>
              </p:cNvPr>
              <p:cNvSpPr/>
              <p:nvPr/>
            </p:nvSpPr>
            <p:spPr>
              <a:xfrm>
                <a:off x="4641418" y="2161470"/>
                <a:ext cx="3892448" cy="3543493"/>
              </a:xfrm>
              <a:custGeom>
                <a:avLst/>
                <a:gdLst>
                  <a:gd name="csX0" fmla="*/ 3892449 w 3892448"/>
                  <a:gd name="csY0" fmla="*/ 214551 h 3543493"/>
                  <a:gd name="csX1" fmla="*/ 3158985 w 3892448"/>
                  <a:gd name="csY1" fmla="*/ 0 h 3543493"/>
                  <a:gd name="csX2" fmla="*/ 2944444 w 3892448"/>
                  <a:gd name="csY2" fmla="*/ 733454 h 3543493"/>
                  <a:gd name="csX3" fmla="*/ 3218698 w 3892448"/>
                  <a:gd name="csY3" fmla="*/ 813683 h 3543493"/>
                  <a:gd name="csX4" fmla="*/ 3301651 w 3892448"/>
                  <a:gd name="csY4" fmla="*/ 530095 h 3543493"/>
                  <a:gd name="csX5" fmla="*/ 183309 w 3892448"/>
                  <a:gd name="csY5" fmla="*/ 2791740 h 3543493"/>
                  <a:gd name="csX6" fmla="*/ 0 w 3892448"/>
                  <a:gd name="csY6" fmla="*/ 3010948 h 3543493"/>
                  <a:gd name="csX7" fmla="*/ 3563826 w 3892448"/>
                  <a:gd name="csY7" fmla="*/ 416138 h 3543493"/>
                  <a:gd name="csX8" fmla="*/ 3812229 w 3892448"/>
                  <a:gd name="csY8" fmla="*/ 488804 h 354349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892448" h="3543493">
                    <a:moveTo>
                      <a:pt x="3892449" y="214551"/>
                    </a:moveTo>
                    <a:lnTo>
                      <a:pt x="3158985" y="0"/>
                    </a:lnTo>
                    <a:lnTo>
                      <a:pt x="2944444" y="733454"/>
                    </a:lnTo>
                    <a:lnTo>
                      <a:pt x="3218698" y="813683"/>
                    </a:lnTo>
                    <a:lnTo>
                      <a:pt x="3301651" y="530095"/>
                    </a:lnTo>
                    <a:cubicBezTo>
                      <a:pt x="4043848" y="2448240"/>
                      <a:pt x="1774127" y="4093407"/>
                      <a:pt x="183309" y="2791740"/>
                    </a:cubicBezTo>
                    <a:lnTo>
                      <a:pt x="0" y="3010948"/>
                    </a:lnTo>
                    <a:cubicBezTo>
                      <a:pt x="1841964" y="4498353"/>
                      <a:pt x="4413647" y="2624004"/>
                      <a:pt x="3563826" y="416138"/>
                    </a:cubicBezTo>
                    <a:lnTo>
                      <a:pt x="3812229" y="488804"/>
                    </a:lnTo>
                    <a:close/>
                  </a:path>
                </a:pathLst>
              </a:custGeom>
              <a:grpFill/>
              <a:ln w="9525" cap="flat">
                <a:noFill/>
                <a:prstDash val="solid"/>
                <a:miter/>
              </a:ln>
            </p:spPr>
            <p:txBody>
              <a:bodyPr/>
              <a:lstStyle/>
              <a:p>
                <a:endParaRPr lang="en-US"/>
              </a:p>
            </p:txBody>
          </p:sp>
          <p:sp>
            <p:nvSpPr>
              <p:cNvPr id="292" name="Freeform: Shape 291">
                <a:extLst>
                  <a:ext uri="{FF2B5EF4-FFF2-40B4-BE49-F238E27FC236}">
                    <a16:creationId xmlns:a16="http://schemas.microsoft.com/office/drawing/2014/main" id="{B426B269-C79A-5F13-493A-D331AEF7BD93}"/>
                  </a:ext>
                </a:extLst>
              </p:cNvPr>
              <p:cNvSpPr/>
              <p:nvPr/>
            </p:nvSpPr>
            <p:spPr>
              <a:xfrm>
                <a:off x="3657600" y="1152503"/>
                <a:ext cx="3901078" cy="3535520"/>
              </a:xfrm>
              <a:custGeom>
                <a:avLst/>
                <a:gdLst>
                  <a:gd name="csX0" fmla="*/ 592217 w 3901078"/>
                  <a:gd name="csY0" fmla="*/ 3004911 h 3535520"/>
                  <a:gd name="csX1" fmla="*/ 3717284 w 3901078"/>
                  <a:gd name="csY1" fmla="*/ 754592 h 3535520"/>
                  <a:gd name="csX2" fmla="*/ 3901078 w 3901078"/>
                  <a:gd name="csY2" fmla="*/ 535793 h 3535520"/>
                  <a:gd name="csX3" fmla="*/ 329441 w 3901078"/>
                  <a:gd name="csY3" fmla="*/ 3117449 h 3535520"/>
                  <a:gd name="csX4" fmla="*/ 81496 w 3901078"/>
                  <a:gd name="csY4" fmla="*/ 3043659 h 3535520"/>
                  <a:gd name="csX5" fmla="*/ 0 w 3901078"/>
                  <a:gd name="csY5" fmla="*/ 3317551 h 3535520"/>
                  <a:gd name="csX6" fmla="*/ 732444 w 3901078"/>
                  <a:gd name="csY6" fmla="*/ 3535521 h 3535520"/>
                  <a:gd name="csX7" fmla="*/ 950414 w 3901078"/>
                  <a:gd name="csY7" fmla="*/ 2803077 h 3535520"/>
                  <a:gd name="csX8" fmla="*/ 676532 w 3901078"/>
                  <a:gd name="csY8" fmla="*/ 2721571 h 353552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901078" h="3535520">
                    <a:moveTo>
                      <a:pt x="592217" y="3004911"/>
                    </a:moveTo>
                    <a:cubicBezTo>
                      <a:pt x="-140618" y="1085738"/>
                      <a:pt x="2131533" y="-549247"/>
                      <a:pt x="3717284" y="754592"/>
                    </a:cubicBezTo>
                    <a:lnTo>
                      <a:pt x="3901078" y="535793"/>
                    </a:lnTo>
                    <a:cubicBezTo>
                      <a:pt x="2065039" y="-954069"/>
                      <a:pt x="-509368" y="908449"/>
                      <a:pt x="329441" y="3117449"/>
                    </a:cubicBezTo>
                    <a:lnTo>
                      <a:pt x="81496" y="3043659"/>
                    </a:lnTo>
                    <a:lnTo>
                      <a:pt x="0" y="3317551"/>
                    </a:lnTo>
                    <a:lnTo>
                      <a:pt x="732444" y="3535521"/>
                    </a:lnTo>
                    <a:lnTo>
                      <a:pt x="950414" y="2803077"/>
                    </a:lnTo>
                    <a:lnTo>
                      <a:pt x="676532" y="2721571"/>
                    </a:lnTo>
                    <a:close/>
                  </a:path>
                </a:pathLst>
              </a:custGeom>
              <a:grpFill/>
              <a:ln w="9525" cap="flat">
                <a:noFill/>
                <a:prstDash val="solid"/>
                <a:miter/>
              </a:ln>
            </p:spPr>
            <p:txBody>
              <a:bodyPr/>
              <a:lstStyle/>
              <a:p>
                <a:endParaRPr lang="en-US"/>
              </a:p>
            </p:txBody>
          </p:sp>
        </p:grpSp>
      </p:grpSp>
      <p:grpSp>
        <p:nvGrpSpPr>
          <p:cNvPr id="303" name="Group 302">
            <a:extLst>
              <a:ext uri="{FF2B5EF4-FFF2-40B4-BE49-F238E27FC236}">
                <a16:creationId xmlns:a16="http://schemas.microsoft.com/office/drawing/2014/main" id="{5A59B60E-04E3-87D6-1621-7ED636222C91}"/>
              </a:ext>
            </a:extLst>
          </p:cNvPr>
          <p:cNvGrpSpPr/>
          <p:nvPr/>
        </p:nvGrpSpPr>
        <p:grpSpPr>
          <a:xfrm>
            <a:off x="6250778" y="4416074"/>
            <a:ext cx="354334" cy="354334"/>
            <a:chOff x="6250778" y="4416074"/>
            <a:chExt cx="354334" cy="354334"/>
          </a:xfrm>
        </p:grpSpPr>
        <p:sp>
          <p:nvSpPr>
            <p:cNvPr id="219" name="Oval 218">
              <a:extLst>
                <a:ext uri="{FF2B5EF4-FFF2-40B4-BE49-F238E27FC236}">
                  <a16:creationId xmlns:a16="http://schemas.microsoft.com/office/drawing/2014/main" id="{E53457FD-8F81-1F48-BCDC-22C6DCBBBB96}"/>
                </a:ext>
              </a:extLst>
            </p:cNvPr>
            <p:cNvSpPr/>
            <p:nvPr/>
          </p:nvSpPr>
          <p:spPr>
            <a:xfrm>
              <a:off x="6250778" y="4416074"/>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6" name="Graphic 294">
              <a:extLst>
                <a:ext uri="{FF2B5EF4-FFF2-40B4-BE49-F238E27FC236}">
                  <a16:creationId xmlns:a16="http://schemas.microsoft.com/office/drawing/2014/main" id="{528363F2-ABF9-0CB4-224B-B6066536AFFC}"/>
                </a:ext>
              </a:extLst>
            </p:cNvPr>
            <p:cNvGrpSpPr/>
            <p:nvPr/>
          </p:nvGrpSpPr>
          <p:grpSpPr>
            <a:xfrm>
              <a:off x="6312016" y="4481416"/>
              <a:ext cx="231858" cy="223650"/>
              <a:chOff x="3606772" y="990019"/>
              <a:chExt cx="4793920" cy="4624225"/>
            </a:xfrm>
            <a:solidFill>
              <a:srgbClr val="2B660F"/>
            </a:solidFill>
          </p:grpSpPr>
          <p:sp>
            <p:nvSpPr>
              <p:cNvPr id="297" name="Freeform: Shape 296">
                <a:extLst>
                  <a:ext uri="{FF2B5EF4-FFF2-40B4-BE49-F238E27FC236}">
                    <a16:creationId xmlns:a16="http://schemas.microsoft.com/office/drawing/2014/main" id="{FEA398D9-3CAE-0A74-EE8C-2EB2565B25D6}"/>
                  </a:ext>
                </a:extLst>
              </p:cNvPr>
              <p:cNvSpPr/>
              <p:nvPr/>
            </p:nvSpPr>
            <p:spPr>
              <a:xfrm>
                <a:off x="4320492" y="1796075"/>
                <a:ext cx="2468084" cy="3818169"/>
              </a:xfrm>
              <a:custGeom>
                <a:avLst/>
                <a:gdLst>
                  <a:gd name="csX0" fmla="*/ 1704451 w 2468084"/>
                  <a:gd name="csY0" fmla="*/ 2615231 h 3818169"/>
                  <a:gd name="csX1" fmla="*/ 1704451 w 2468084"/>
                  <a:gd name="csY1" fmla="*/ 2333325 h 3818169"/>
                  <a:gd name="csX2" fmla="*/ 1789300 w 2468084"/>
                  <a:gd name="csY2" fmla="*/ 2248476 h 3818169"/>
                  <a:gd name="csX3" fmla="*/ 2028782 w 2468084"/>
                  <a:gd name="csY3" fmla="*/ 2248476 h 3818169"/>
                  <a:gd name="csX4" fmla="*/ 2171116 w 2468084"/>
                  <a:gd name="csY4" fmla="*/ 2255826 h 3818169"/>
                  <a:gd name="csX5" fmla="*/ 2171116 w 2468084"/>
                  <a:gd name="csY5" fmla="*/ 2078780 h 3818169"/>
                  <a:gd name="csX6" fmla="*/ 2315961 w 2468084"/>
                  <a:gd name="csY6" fmla="*/ 1729096 h 3818169"/>
                  <a:gd name="csX7" fmla="*/ 2368148 w 2468084"/>
                  <a:gd name="csY7" fmla="*/ 1676908 h 3818169"/>
                  <a:gd name="csX8" fmla="*/ 2467881 w 2468084"/>
                  <a:gd name="csY8" fmla="*/ 1454102 h 3818169"/>
                  <a:gd name="csX9" fmla="*/ 2372943 w 2468084"/>
                  <a:gd name="csY9" fmla="*/ 1212728 h 3818169"/>
                  <a:gd name="csX10" fmla="*/ 2273535 w 2468084"/>
                  <a:gd name="csY10" fmla="*/ 1113319 h 3818169"/>
                  <a:gd name="csX11" fmla="*/ 2128691 w 2468084"/>
                  <a:gd name="csY11" fmla="*/ 763633 h 3818169"/>
                  <a:gd name="csX12" fmla="*/ 2128691 w 2468084"/>
                  <a:gd name="csY12" fmla="*/ 334724 h 3818169"/>
                  <a:gd name="csX13" fmla="*/ 2254389 w 2468084"/>
                  <a:gd name="csY13" fmla="*/ 0 h 3818169"/>
                  <a:gd name="csX14" fmla="*/ 1864197 w 2468084"/>
                  <a:gd name="csY14" fmla="*/ 0 h 3818169"/>
                  <a:gd name="csX15" fmla="*/ 1789300 w 2468084"/>
                  <a:gd name="csY15" fmla="*/ 74896 h 3818169"/>
                  <a:gd name="csX16" fmla="*/ 1789300 w 2468084"/>
                  <a:gd name="csY16" fmla="*/ 1145449 h 3818169"/>
                  <a:gd name="csX17" fmla="*/ 1704451 w 2468084"/>
                  <a:gd name="csY17" fmla="*/ 1230298 h 3818169"/>
                  <a:gd name="csX18" fmla="*/ 559001 w 2468084"/>
                  <a:gd name="csY18" fmla="*/ 1230298 h 3818169"/>
                  <a:gd name="csX19" fmla="*/ 474152 w 2468084"/>
                  <a:gd name="csY19" fmla="*/ 1145449 h 3818169"/>
                  <a:gd name="csX20" fmla="*/ 474152 w 2468084"/>
                  <a:gd name="csY20" fmla="*/ 117323 h 3818169"/>
                  <a:gd name="csX21" fmla="*/ 399256 w 2468084"/>
                  <a:gd name="csY21" fmla="*/ 42427 h 3818169"/>
                  <a:gd name="csX22" fmla="*/ 235056 w 2468084"/>
                  <a:gd name="csY22" fmla="*/ 42427 h 3818169"/>
                  <a:gd name="csX23" fmla="*/ 160632 w 2468084"/>
                  <a:gd name="csY23" fmla="*/ 108921 h 3818169"/>
                  <a:gd name="csX24" fmla="*/ 0 w 2468084"/>
                  <a:gd name="csY24" fmla="*/ 1531493 h 3818169"/>
                  <a:gd name="csX25" fmla="*/ 1577177 w 2468084"/>
                  <a:gd name="csY25" fmla="*/ 3492649 h 3818169"/>
                  <a:gd name="csX26" fmla="*/ 1577177 w 2468084"/>
                  <a:gd name="csY26" fmla="*/ 3818169 h 3818169"/>
                  <a:gd name="csX27" fmla="*/ 2171114 w 2468084"/>
                  <a:gd name="csY27" fmla="*/ 3818169 h 3818169"/>
                  <a:gd name="csX28" fmla="*/ 2416580 w 2468084"/>
                  <a:gd name="csY28" fmla="*/ 3818169 h 3818169"/>
                  <a:gd name="csX29" fmla="*/ 1704451 w 2468084"/>
                  <a:gd name="csY29" fmla="*/ 2615231 h 381816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2468084" h="3818169">
                    <a:moveTo>
                      <a:pt x="1704451" y="2615231"/>
                    </a:moveTo>
                    <a:lnTo>
                      <a:pt x="1704451" y="2333325"/>
                    </a:lnTo>
                    <a:cubicBezTo>
                      <a:pt x="1704451" y="2286464"/>
                      <a:pt x="1742440" y="2248476"/>
                      <a:pt x="1789300" y="2248476"/>
                    </a:cubicBezTo>
                    <a:lnTo>
                      <a:pt x="2028782" y="2248476"/>
                    </a:lnTo>
                    <a:cubicBezTo>
                      <a:pt x="2076841" y="2248476"/>
                      <a:pt x="2124319" y="2250986"/>
                      <a:pt x="2171116" y="2255826"/>
                    </a:cubicBezTo>
                    <a:lnTo>
                      <a:pt x="2171116" y="2078780"/>
                    </a:lnTo>
                    <a:cubicBezTo>
                      <a:pt x="2171116" y="1947622"/>
                      <a:pt x="2223218" y="1821837"/>
                      <a:pt x="2315961" y="1729096"/>
                    </a:cubicBezTo>
                    <a:lnTo>
                      <a:pt x="2368148" y="1676908"/>
                    </a:lnTo>
                    <a:cubicBezTo>
                      <a:pt x="2427638" y="1617418"/>
                      <a:pt x="2464952" y="1538183"/>
                      <a:pt x="2467881" y="1454102"/>
                    </a:cubicBezTo>
                    <a:cubicBezTo>
                      <a:pt x="2471054" y="1362998"/>
                      <a:pt x="2437042" y="1276826"/>
                      <a:pt x="2372943" y="1212728"/>
                    </a:cubicBezTo>
                    <a:lnTo>
                      <a:pt x="2273535" y="1113319"/>
                    </a:lnTo>
                    <a:cubicBezTo>
                      <a:pt x="2180793" y="1020577"/>
                      <a:pt x="2128691" y="894791"/>
                      <a:pt x="2128691" y="763633"/>
                    </a:cubicBezTo>
                    <a:lnTo>
                      <a:pt x="2128691" y="334724"/>
                    </a:lnTo>
                    <a:cubicBezTo>
                      <a:pt x="2128691" y="211144"/>
                      <a:pt x="2173311" y="92827"/>
                      <a:pt x="2254389" y="0"/>
                    </a:cubicBezTo>
                    <a:lnTo>
                      <a:pt x="1864197" y="0"/>
                    </a:lnTo>
                    <a:cubicBezTo>
                      <a:pt x="1822833" y="0"/>
                      <a:pt x="1789300" y="33532"/>
                      <a:pt x="1789300" y="74896"/>
                    </a:cubicBezTo>
                    <a:lnTo>
                      <a:pt x="1789300" y="1145449"/>
                    </a:lnTo>
                    <a:cubicBezTo>
                      <a:pt x="1789300" y="1192310"/>
                      <a:pt x="1751312" y="1230298"/>
                      <a:pt x="1704451" y="1230298"/>
                    </a:cubicBezTo>
                    <a:lnTo>
                      <a:pt x="559001" y="1230298"/>
                    </a:lnTo>
                    <a:cubicBezTo>
                      <a:pt x="512140" y="1230298"/>
                      <a:pt x="474152" y="1192310"/>
                      <a:pt x="474152" y="1145449"/>
                    </a:cubicBezTo>
                    <a:lnTo>
                      <a:pt x="474152" y="117323"/>
                    </a:lnTo>
                    <a:cubicBezTo>
                      <a:pt x="474152" y="75959"/>
                      <a:pt x="440620" y="42427"/>
                      <a:pt x="399256" y="42427"/>
                    </a:cubicBezTo>
                    <a:lnTo>
                      <a:pt x="235056" y="42427"/>
                    </a:lnTo>
                    <a:cubicBezTo>
                      <a:pt x="196943" y="42427"/>
                      <a:pt x="164909" y="71049"/>
                      <a:pt x="160632" y="108921"/>
                    </a:cubicBezTo>
                    <a:lnTo>
                      <a:pt x="0" y="1531493"/>
                    </a:lnTo>
                    <a:cubicBezTo>
                      <a:pt x="900843" y="1729138"/>
                      <a:pt x="1577177" y="2533330"/>
                      <a:pt x="1577177" y="3492649"/>
                    </a:cubicBezTo>
                    <a:lnTo>
                      <a:pt x="1577177" y="3818169"/>
                    </a:lnTo>
                    <a:lnTo>
                      <a:pt x="2171114" y="3818169"/>
                    </a:lnTo>
                    <a:lnTo>
                      <a:pt x="2416580" y="3818169"/>
                    </a:lnTo>
                    <a:cubicBezTo>
                      <a:pt x="1992453" y="3584360"/>
                      <a:pt x="1704451" y="3132822"/>
                      <a:pt x="1704451" y="2615231"/>
                    </a:cubicBezTo>
                    <a:close/>
                  </a:path>
                </a:pathLst>
              </a:custGeom>
              <a:grpFill/>
              <a:ln w="1715" cap="flat">
                <a:noFill/>
                <a:prstDash val="solid"/>
                <a:miter/>
              </a:ln>
            </p:spPr>
            <p:txBody>
              <a:bodyPr/>
              <a:lstStyle/>
              <a:p>
                <a:endParaRPr lang="en-US"/>
              </a:p>
            </p:txBody>
          </p:sp>
          <p:sp>
            <p:nvSpPr>
              <p:cNvPr id="298" name="Freeform: Shape 297">
                <a:extLst>
                  <a:ext uri="{FF2B5EF4-FFF2-40B4-BE49-F238E27FC236}">
                    <a16:creationId xmlns:a16="http://schemas.microsoft.com/office/drawing/2014/main" id="{DFBB97C7-50C9-A234-BFED-5717DD36F0AB}"/>
                  </a:ext>
                </a:extLst>
              </p:cNvPr>
              <p:cNvSpPr/>
              <p:nvPr/>
            </p:nvSpPr>
            <p:spPr>
              <a:xfrm>
                <a:off x="3606772" y="3450614"/>
                <a:ext cx="2121205" cy="2163628"/>
              </a:xfrm>
              <a:custGeom>
                <a:avLst/>
                <a:gdLst>
                  <a:gd name="csX0" fmla="*/ 1138065 w 2121205"/>
                  <a:gd name="csY0" fmla="*/ 1300476 h 2163628"/>
                  <a:gd name="csX1" fmla="*/ 1138065 w 2121205"/>
                  <a:gd name="csY1" fmla="*/ 1180483 h 2163628"/>
                  <a:gd name="csX2" fmla="*/ 1258057 w 2121205"/>
                  <a:gd name="csY2" fmla="*/ 1180483 h 2163628"/>
                  <a:gd name="csX3" fmla="*/ 2121205 w 2121205"/>
                  <a:gd name="csY3" fmla="*/ 2043636 h 2163628"/>
                  <a:gd name="csX4" fmla="*/ 2121205 w 2121205"/>
                  <a:gd name="csY4" fmla="*/ 1838108 h 2163628"/>
                  <a:gd name="csX5" fmla="*/ 283096 w 2121205"/>
                  <a:gd name="csY5" fmla="*/ 0 h 2163628"/>
                  <a:gd name="csX6" fmla="*/ 0 w 2121205"/>
                  <a:gd name="csY6" fmla="*/ 0 h 2163628"/>
                  <a:gd name="csX7" fmla="*/ 0 w 2121205"/>
                  <a:gd name="csY7" fmla="*/ 325520 h 2163628"/>
                  <a:gd name="csX8" fmla="*/ 1838109 w 2121205"/>
                  <a:gd name="csY8" fmla="*/ 2163629 h 2163628"/>
                  <a:gd name="csX9" fmla="*/ 2001212 w 2121205"/>
                  <a:gd name="csY9" fmla="*/ 2163629 h 2163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121205" h="2163628">
                    <a:moveTo>
                      <a:pt x="1138065" y="1300476"/>
                    </a:moveTo>
                    <a:cubicBezTo>
                      <a:pt x="1104927" y="1267343"/>
                      <a:pt x="1104927" y="1213616"/>
                      <a:pt x="1138065" y="1180483"/>
                    </a:cubicBezTo>
                    <a:cubicBezTo>
                      <a:pt x="1171197" y="1147350"/>
                      <a:pt x="1224925" y="1147345"/>
                      <a:pt x="1258057" y="1180483"/>
                    </a:cubicBezTo>
                    <a:lnTo>
                      <a:pt x="2121205" y="2043636"/>
                    </a:lnTo>
                    <a:lnTo>
                      <a:pt x="2121205" y="1838108"/>
                    </a:lnTo>
                    <a:cubicBezTo>
                      <a:pt x="2121205" y="824572"/>
                      <a:pt x="1296635" y="0"/>
                      <a:pt x="283096" y="0"/>
                    </a:cubicBezTo>
                    <a:lnTo>
                      <a:pt x="0" y="0"/>
                    </a:lnTo>
                    <a:lnTo>
                      <a:pt x="0" y="325520"/>
                    </a:lnTo>
                    <a:cubicBezTo>
                      <a:pt x="0" y="1339057"/>
                      <a:pt x="824570" y="2163629"/>
                      <a:pt x="1838109" y="2163629"/>
                    </a:cubicBezTo>
                    <a:lnTo>
                      <a:pt x="2001212" y="2163629"/>
                    </a:lnTo>
                    <a:close/>
                  </a:path>
                </a:pathLst>
              </a:custGeom>
              <a:grpFill/>
              <a:ln w="1715" cap="flat">
                <a:noFill/>
                <a:prstDash val="solid"/>
                <a:miter/>
              </a:ln>
            </p:spPr>
            <p:txBody>
              <a:bodyPr/>
              <a:lstStyle/>
              <a:p>
                <a:endParaRPr lang="en-US"/>
              </a:p>
            </p:txBody>
          </p:sp>
          <p:sp>
            <p:nvSpPr>
              <p:cNvPr id="299" name="Freeform: Shape 298">
                <a:extLst>
                  <a:ext uri="{FF2B5EF4-FFF2-40B4-BE49-F238E27FC236}">
                    <a16:creationId xmlns:a16="http://schemas.microsoft.com/office/drawing/2014/main" id="{E3F44998-1BDA-B550-0CDD-BFDE81173C30}"/>
                  </a:ext>
                </a:extLst>
              </p:cNvPr>
              <p:cNvSpPr/>
              <p:nvPr/>
            </p:nvSpPr>
            <p:spPr>
              <a:xfrm>
                <a:off x="3917354" y="5142027"/>
                <a:ext cx="720132" cy="472217"/>
              </a:xfrm>
              <a:custGeom>
                <a:avLst/>
                <a:gdLst>
                  <a:gd name="csX0" fmla="*/ 57380 w 720132"/>
                  <a:gd name="csY0" fmla="*/ 0 h 472217"/>
                  <a:gd name="csX1" fmla="*/ 3398 w 720132"/>
                  <a:gd name="csY1" fmla="*/ 269146 h 472217"/>
                  <a:gd name="csX2" fmla="*/ 38305 w 720132"/>
                  <a:gd name="csY2" fmla="*/ 409978 h 472217"/>
                  <a:gd name="csX3" fmla="*/ 169661 w 720132"/>
                  <a:gd name="csY3" fmla="*/ 472218 h 472217"/>
                  <a:gd name="csX4" fmla="*/ 720132 w 720132"/>
                  <a:gd name="csY4" fmla="*/ 472218 h 472217"/>
                  <a:gd name="csX5" fmla="*/ 57380 w 720132"/>
                  <a:gd name="csY5" fmla="*/ 0 h 472217"/>
                </a:gdLst>
                <a:ahLst/>
                <a:cxnLst>
                  <a:cxn ang="0">
                    <a:pos x="csX0" y="csY0"/>
                  </a:cxn>
                  <a:cxn ang="0">
                    <a:pos x="csX1" y="csY1"/>
                  </a:cxn>
                  <a:cxn ang="0">
                    <a:pos x="csX2" y="csY2"/>
                  </a:cxn>
                  <a:cxn ang="0">
                    <a:pos x="csX3" y="csY3"/>
                  </a:cxn>
                  <a:cxn ang="0">
                    <a:pos x="csX4" y="csY4"/>
                  </a:cxn>
                  <a:cxn ang="0">
                    <a:pos x="csX5" y="csY5"/>
                  </a:cxn>
                </a:cxnLst>
                <a:rect l="l" t="t" r="r" b="b"/>
                <a:pathLst>
                  <a:path w="720132" h="472217">
                    <a:moveTo>
                      <a:pt x="57380" y="0"/>
                    </a:moveTo>
                    <a:lnTo>
                      <a:pt x="3398" y="269146"/>
                    </a:lnTo>
                    <a:cubicBezTo>
                      <a:pt x="-6723" y="319211"/>
                      <a:pt x="6014" y="370495"/>
                      <a:pt x="38305" y="409978"/>
                    </a:cubicBezTo>
                    <a:cubicBezTo>
                      <a:pt x="70668" y="449531"/>
                      <a:pt x="118542" y="472218"/>
                      <a:pt x="169661" y="472218"/>
                    </a:cubicBezTo>
                    <a:lnTo>
                      <a:pt x="720132" y="472218"/>
                    </a:lnTo>
                    <a:cubicBezTo>
                      <a:pt x="467859" y="360972"/>
                      <a:pt x="242677" y="199298"/>
                      <a:pt x="57380" y="0"/>
                    </a:cubicBezTo>
                    <a:close/>
                  </a:path>
                </a:pathLst>
              </a:custGeom>
              <a:grpFill/>
              <a:ln w="1715" cap="flat">
                <a:noFill/>
                <a:prstDash val="solid"/>
                <a:miter/>
              </a:ln>
            </p:spPr>
            <p:txBody>
              <a:bodyPr/>
              <a:lstStyle/>
              <a:p>
                <a:endParaRPr lang="en-US"/>
              </a:p>
            </p:txBody>
          </p:sp>
          <p:sp>
            <p:nvSpPr>
              <p:cNvPr id="300" name="Freeform: Shape 299">
                <a:extLst>
                  <a:ext uri="{FF2B5EF4-FFF2-40B4-BE49-F238E27FC236}">
                    <a16:creationId xmlns:a16="http://schemas.microsoft.com/office/drawing/2014/main" id="{89664C64-3757-8A62-4C20-67E5CD7F8D61}"/>
                  </a:ext>
                </a:extLst>
              </p:cNvPr>
              <p:cNvSpPr/>
              <p:nvPr/>
            </p:nvSpPr>
            <p:spPr>
              <a:xfrm>
                <a:off x="7170392" y="990019"/>
                <a:ext cx="678786" cy="381817"/>
              </a:xfrm>
              <a:custGeom>
                <a:avLst/>
                <a:gdLst>
                  <a:gd name="csX0" fmla="*/ 678786 w 678786"/>
                  <a:gd name="csY0" fmla="*/ 84849 h 381817"/>
                  <a:gd name="csX1" fmla="*/ 593937 w 678786"/>
                  <a:gd name="csY1" fmla="*/ 0 h 381817"/>
                  <a:gd name="csX2" fmla="*/ 84849 w 678786"/>
                  <a:gd name="csY2" fmla="*/ 0 h 381817"/>
                  <a:gd name="csX3" fmla="*/ 0 w 678786"/>
                  <a:gd name="csY3" fmla="*/ 84849 h 381817"/>
                  <a:gd name="csX4" fmla="*/ 0 w 678786"/>
                  <a:gd name="csY4" fmla="*/ 381817 h 381817"/>
                  <a:gd name="csX5" fmla="*/ 678785 w 678786"/>
                  <a:gd name="csY5" fmla="*/ 381817 h 381817"/>
                  <a:gd name="csX6" fmla="*/ 678785 w 678786"/>
                  <a:gd name="csY6" fmla="*/ 84849 h 38181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678786" h="381817">
                    <a:moveTo>
                      <a:pt x="678786" y="84849"/>
                    </a:moveTo>
                    <a:cubicBezTo>
                      <a:pt x="678786" y="38064"/>
                      <a:pt x="640725" y="0"/>
                      <a:pt x="593937" y="0"/>
                    </a:cubicBezTo>
                    <a:lnTo>
                      <a:pt x="84849" y="0"/>
                    </a:lnTo>
                    <a:cubicBezTo>
                      <a:pt x="38064" y="0"/>
                      <a:pt x="0" y="38062"/>
                      <a:pt x="0" y="84849"/>
                    </a:cubicBezTo>
                    <a:lnTo>
                      <a:pt x="0" y="381817"/>
                    </a:lnTo>
                    <a:lnTo>
                      <a:pt x="678785" y="381817"/>
                    </a:lnTo>
                    <a:lnTo>
                      <a:pt x="678785" y="84849"/>
                    </a:lnTo>
                    <a:close/>
                  </a:path>
                </a:pathLst>
              </a:custGeom>
              <a:grpFill/>
              <a:ln w="1715" cap="flat">
                <a:noFill/>
                <a:prstDash val="solid"/>
                <a:miter/>
              </a:ln>
            </p:spPr>
            <p:txBody>
              <a:bodyPr/>
              <a:lstStyle/>
              <a:p>
                <a:endParaRPr lang="en-US"/>
              </a:p>
            </p:txBody>
          </p:sp>
          <p:sp>
            <p:nvSpPr>
              <p:cNvPr id="301" name="Freeform: Shape 300">
                <a:extLst>
                  <a:ext uri="{FF2B5EF4-FFF2-40B4-BE49-F238E27FC236}">
                    <a16:creationId xmlns:a16="http://schemas.microsoft.com/office/drawing/2014/main" id="{BB711D72-92EC-FAAD-5B5C-8B92E2FCA54C}"/>
                  </a:ext>
                </a:extLst>
              </p:cNvPr>
              <p:cNvSpPr/>
              <p:nvPr/>
            </p:nvSpPr>
            <p:spPr>
              <a:xfrm>
                <a:off x="6194641" y="4214251"/>
                <a:ext cx="1357570" cy="1399993"/>
              </a:xfrm>
              <a:custGeom>
                <a:avLst/>
                <a:gdLst>
                  <a:gd name="csX0" fmla="*/ 703636 w 1357570"/>
                  <a:gd name="csY0" fmla="*/ 866052 h 1399993"/>
                  <a:gd name="csX1" fmla="*/ 703636 w 1357570"/>
                  <a:gd name="csY1" fmla="*/ 746060 h 1399993"/>
                  <a:gd name="csX2" fmla="*/ 823629 w 1357570"/>
                  <a:gd name="csY2" fmla="*/ 746060 h 1399993"/>
                  <a:gd name="csX3" fmla="*/ 1357571 w 1357570"/>
                  <a:gd name="csY3" fmla="*/ 1280001 h 1399993"/>
                  <a:gd name="csX4" fmla="*/ 1357571 w 1357570"/>
                  <a:gd name="csY4" fmla="*/ 1202936 h 1399993"/>
                  <a:gd name="csX5" fmla="*/ 154634 w 1357570"/>
                  <a:gd name="csY5" fmla="*/ 0 h 1399993"/>
                  <a:gd name="csX6" fmla="*/ 0 w 1357570"/>
                  <a:gd name="csY6" fmla="*/ 0 h 1399993"/>
                  <a:gd name="csX7" fmla="*/ 0 w 1357570"/>
                  <a:gd name="csY7" fmla="*/ 197057 h 1399993"/>
                  <a:gd name="csX8" fmla="*/ 1202936 w 1357570"/>
                  <a:gd name="csY8" fmla="*/ 1399994 h 1399993"/>
                  <a:gd name="csX9" fmla="*/ 1237578 w 1357570"/>
                  <a:gd name="csY9" fmla="*/ 1399994 h 139999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357570" h="1399993">
                    <a:moveTo>
                      <a:pt x="703636" y="866052"/>
                    </a:moveTo>
                    <a:cubicBezTo>
                      <a:pt x="670498" y="832921"/>
                      <a:pt x="670498" y="779192"/>
                      <a:pt x="703636" y="746060"/>
                    </a:cubicBezTo>
                    <a:cubicBezTo>
                      <a:pt x="736769" y="712929"/>
                      <a:pt x="790496" y="712929"/>
                      <a:pt x="823629" y="746060"/>
                    </a:cubicBezTo>
                    <a:lnTo>
                      <a:pt x="1357571" y="1280001"/>
                    </a:lnTo>
                    <a:lnTo>
                      <a:pt x="1357571" y="1202936"/>
                    </a:lnTo>
                    <a:cubicBezTo>
                      <a:pt x="1357571" y="539633"/>
                      <a:pt x="817937" y="0"/>
                      <a:pt x="154634" y="0"/>
                    </a:cubicBezTo>
                    <a:lnTo>
                      <a:pt x="0" y="0"/>
                    </a:lnTo>
                    <a:lnTo>
                      <a:pt x="0" y="197057"/>
                    </a:lnTo>
                    <a:cubicBezTo>
                      <a:pt x="0" y="860360"/>
                      <a:pt x="539634" y="1399994"/>
                      <a:pt x="1202936" y="1399994"/>
                    </a:cubicBezTo>
                    <a:lnTo>
                      <a:pt x="1237578" y="1399994"/>
                    </a:lnTo>
                    <a:close/>
                  </a:path>
                </a:pathLst>
              </a:custGeom>
              <a:grpFill/>
              <a:ln w="1715" cap="flat">
                <a:noFill/>
                <a:prstDash val="solid"/>
                <a:miter/>
              </a:ln>
            </p:spPr>
            <p:txBody>
              <a:bodyPr/>
              <a:lstStyle/>
              <a:p>
                <a:endParaRPr lang="en-US"/>
              </a:p>
            </p:txBody>
          </p:sp>
          <p:sp>
            <p:nvSpPr>
              <p:cNvPr id="302" name="Freeform: Shape 301">
                <a:extLst>
                  <a:ext uri="{FF2B5EF4-FFF2-40B4-BE49-F238E27FC236}">
                    <a16:creationId xmlns:a16="http://schemas.microsoft.com/office/drawing/2014/main" id="{F6BB3BCC-88DE-7E27-CE65-4A9823F02B20}"/>
                  </a:ext>
                </a:extLst>
              </p:cNvPr>
              <p:cNvSpPr/>
              <p:nvPr/>
            </p:nvSpPr>
            <p:spPr>
              <a:xfrm>
                <a:off x="6618881" y="1541532"/>
                <a:ext cx="1781811" cy="4072710"/>
              </a:xfrm>
              <a:custGeom>
                <a:avLst/>
                <a:gdLst>
                  <a:gd name="csX0" fmla="*/ 1781811 w 1781811"/>
                  <a:gd name="csY0" fmla="*/ 589275 h 4072710"/>
                  <a:gd name="csX1" fmla="*/ 1692600 w 1781811"/>
                  <a:gd name="csY1" fmla="*/ 359930 h 4072710"/>
                  <a:gd name="csX2" fmla="*/ 1362671 w 1781811"/>
                  <a:gd name="csY2" fmla="*/ 0 h 4072710"/>
                  <a:gd name="csX3" fmla="*/ 419139 w 1781811"/>
                  <a:gd name="csY3" fmla="*/ 0 h 4072710"/>
                  <a:gd name="csX4" fmla="*/ 89211 w 1781811"/>
                  <a:gd name="csY4" fmla="*/ 359930 h 4072710"/>
                  <a:gd name="csX5" fmla="*/ 0 w 1781811"/>
                  <a:gd name="csY5" fmla="*/ 589275 h 4072710"/>
                  <a:gd name="csX6" fmla="*/ 0 w 1781811"/>
                  <a:gd name="csY6" fmla="*/ 1018178 h 4072710"/>
                  <a:gd name="csX7" fmla="*/ 95143 w 1781811"/>
                  <a:gd name="csY7" fmla="*/ 1247873 h 4072710"/>
                  <a:gd name="csX8" fmla="*/ 187865 w 1781811"/>
                  <a:gd name="csY8" fmla="*/ 1340595 h 4072710"/>
                  <a:gd name="csX9" fmla="*/ 339325 w 1781811"/>
                  <a:gd name="csY9" fmla="*/ 1688668 h 4072710"/>
                  <a:gd name="csX10" fmla="*/ 194548 w 1781811"/>
                  <a:gd name="csY10" fmla="*/ 2046648 h 4072710"/>
                  <a:gd name="csX11" fmla="*/ 137564 w 1781811"/>
                  <a:gd name="csY11" fmla="*/ 2103632 h 4072710"/>
                  <a:gd name="csX12" fmla="*/ 42423 w 1781811"/>
                  <a:gd name="csY12" fmla="*/ 2333322 h 4072710"/>
                  <a:gd name="csX13" fmla="*/ 42423 w 1781811"/>
                  <a:gd name="csY13" fmla="*/ 2538821 h 4072710"/>
                  <a:gd name="csX14" fmla="*/ 1103025 w 1781811"/>
                  <a:gd name="csY14" fmla="*/ 3875653 h 4072710"/>
                  <a:gd name="csX15" fmla="*/ 1103025 w 1781811"/>
                  <a:gd name="csY15" fmla="*/ 4072711 h 4072710"/>
                  <a:gd name="csX16" fmla="*/ 1342392 w 1781811"/>
                  <a:gd name="csY16" fmla="*/ 4072711 h 4072710"/>
                  <a:gd name="csX17" fmla="*/ 1516062 w 1781811"/>
                  <a:gd name="csY17" fmla="*/ 3994724 h 4072710"/>
                  <a:gd name="csX18" fmla="*/ 1653661 w 1781811"/>
                  <a:gd name="csY18" fmla="*/ 3839930 h 4072710"/>
                  <a:gd name="csX19" fmla="*/ 1739386 w 1781811"/>
                  <a:gd name="csY19" fmla="*/ 3614465 h 4072710"/>
                  <a:gd name="csX20" fmla="*/ 1739386 w 1781811"/>
                  <a:gd name="csY20" fmla="*/ 2333325 h 4072710"/>
                  <a:gd name="csX21" fmla="*/ 1644243 w 1781811"/>
                  <a:gd name="csY21" fmla="*/ 2103630 h 4072710"/>
                  <a:gd name="csX22" fmla="*/ 1593945 w 1781811"/>
                  <a:gd name="csY22" fmla="*/ 2053331 h 4072710"/>
                  <a:gd name="csX23" fmla="*/ 1442484 w 1781811"/>
                  <a:gd name="csY23" fmla="*/ 1705259 h 4072710"/>
                  <a:gd name="csX24" fmla="*/ 1587260 w 1781811"/>
                  <a:gd name="csY24" fmla="*/ 1347278 h 4072710"/>
                  <a:gd name="csX25" fmla="*/ 1686665 w 1781811"/>
                  <a:gd name="csY25" fmla="*/ 1247873 h 4072710"/>
                  <a:gd name="csX26" fmla="*/ 1781808 w 1781811"/>
                  <a:gd name="csY26" fmla="*/ 1018178 h 4072710"/>
                  <a:gd name="csX27" fmla="*/ 1781808 w 1781811"/>
                  <a:gd name="csY27" fmla="*/ 589275 h 407271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Lst>
                <a:rect l="l" t="t" r="r" b="b"/>
                <a:pathLst>
                  <a:path w="1781811" h="4072710">
                    <a:moveTo>
                      <a:pt x="1781811" y="589275"/>
                    </a:moveTo>
                    <a:cubicBezTo>
                      <a:pt x="1781811" y="504360"/>
                      <a:pt x="1749980" y="422528"/>
                      <a:pt x="1692600" y="359930"/>
                    </a:cubicBezTo>
                    <a:lnTo>
                      <a:pt x="1362671" y="0"/>
                    </a:lnTo>
                    <a:lnTo>
                      <a:pt x="419139" y="0"/>
                    </a:lnTo>
                    <a:lnTo>
                      <a:pt x="89211" y="359930"/>
                    </a:lnTo>
                    <a:cubicBezTo>
                      <a:pt x="31831" y="422527"/>
                      <a:pt x="0" y="504360"/>
                      <a:pt x="0" y="589275"/>
                    </a:cubicBezTo>
                    <a:lnTo>
                      <a:pt x="0" y="1018178"/>
                    </a:lnTo>
                    <a:cubicBezTo>
                      <a:pt x="0" y="1104330"/>
                      <a:pt x="34223" y="1186954"/>
                      <a:pt x="95143" y="1247873"/>
                    </a:cubicBezTo>
                    <a:lnTo>
                      <a:pt x="187865" y="1340595"/>
                    </a:lnTo>
                    <a:cubicBezTo>
                      <a:pt x="280556" y="1433286"/>
                      <a:pt x="337191" y="1557601"/>
                      <a:pt x="339325" y="1688668"/>
                    </a:cubicBezTo>
                    <a:cubicBezTo>
                      <a:pt x="341525" y="1823853"/>
                      <a:pt x="289901" y="1951295"/>
                      <a:pt x="194548" y="2046648"/>
                    </a:cubicBezTo>
                    <a:lnTo>
                      <a:pt x="137564" y="2103632"/>
                    </a:lnTo>
                    <a:cubicBezTo>
                      <a:pt x="76646" y="2164550"/>
                      <a:pt x="42423" y="2247171"/>
                      <a:pt x="42423" y="2333322"/>
                    </a:cubicBezTo>
                    <a:lnTo>
                      <a:pt x="42423" y="2538821"/>
                    </a:lnTo>
                    <a:cubicBezTo>
                      <a:pt x="649469" y="2680475"/>
                      <a:pt x="1103025" y="3226082"/>
                      <a:pt x="1103025" y="3875653"/>
                    </a:cubicBezTo>
                    <a:lnTo>
                      <a:pt x="1103025" y="4072711"/>
                    </a:lnTo>
                    <a:lnTo>
                      <a:pt x="1342392" y="4072711"/>
                    </a:lnTo>
                    <a:cubicBezTo>
                      <a:pt x="1408764" y="4072711"/>
                      <a:pt x="1471967" y="4044329"/>
                      <a:pt x="1516062" y="3994724"/>
                    </a:cubicBezTo>
                    <a:lnTo>
                      <a:pt x="1653661" y="3839930"/>
                    </a:lnTo>
                    <a:cubicBezTo>
                      <a:pt x="1708881" y="3777808"/>
                      <a:pt x="1739386" y="3697582"/>
                      <a:pt x="1739386" y="3614465"/>
                    </a:cubicBezTo>
                    <a:lnTo>
                      <a:pt x="1739386" y="2333325"/>
                    </a:lnTo>
                    <a:cubicBezTo>
                      <a:pt x="1739386" y="2247173"/>
                      <a:pt x="1705163" y="2164550"/>
                      <a:pt x="1644243" y="2103630"/>
                    </a:cubicBezTo>
                    <a:lnTo>
                      <a:pt x="1593945" y="2053331"/>
                    </a:lnTo>
                    <a:cubicBezTo>
                      <a:pt x="1501254" y="1960640"/>
                      <a:pt x="1444619" y="1836326"/>
                      <a:pt x="1442484" y="1705259"/>
                    </a:cubicBezTo>
                    <a:cubicBezTo>
                      <a:pt x="1440285" y="1570074"/>
                      <a:pt x="1491908" y="1442632"/>
                      <a:pt x="1587260" y="1347278"/>
                    </a:cubicBezTo>
                    <a:lnTo>
                      <a:pt x="1686665" y="1247873"/>
                    </a:lnTo>
                    <a:cubicBezTo>
                      <a:pt x="1747583" y="1186954"/>
                      <a:pt x="1781808" y="1104330"/>
                      <a:pt x="1781808" y="1018178"/>
                    </a:cubicBezTo>
                    <a:lnTo>
                      <a:pt x="1781808" y="589275"/>
                    </a:lnTo>
                    <a:close/>
                  </a:path>
                </a:pathLst>
              </a:custGeom>
              <a:grpFill/>
              <a:ln w="1715" cap="flat">
                <a:noFill/>
                <a:prstDash val="solid"/>
                <a:miter/>
              </a:ln>
            </p:spPr>
            <p:txBody>
              <a:bodyPr/>
              <a:lstStyle/>
              <a:p>
                <a:endParaRPr lang="en-US"/>
              </a:p>
            </p:txBody>
          </p:sp>
        </p:grpSp>
      </p:grpSp>
      <p:grpSp>
        <p:nvGrpSpPr>
          <p:cNvPr id="317" name="Group 316">
            <a:extLst>
              <a:ext uri="{FF2B5EF4-FFF2-40B4-BE49-F238E27FC236}">
                <a16:creationId xmlns:a16="http://schemas.microsoft.com/office/drawing/2014/main" id="{19955CB3-14B1-6485-2B4D-FF1F9D59C0B1}"/>
              </a:ext>
            </a:extLst>
          </p:cNvPr>
          <p:cNvGrpSpPr/>
          <p:nvPr/>
        </p:nvGrpSpPr>
        <p:grpSpPr>
          <a:xfrm>
            <a:off x="6250778" y="5465623"/>
            <a:ext cx="354334" cy="354334"/>
            <a:chOff x="6250778" y="5465623"/>
            <a:chExt cx="354334" cy="354334"/>
          </a:xfrm>
        </p:grpSpPr>
        <p:sp>
          <p:nvSpPr>
            <p:cNvPr id="237" name="Oval 236">
              <a:extLst>
                <a:ext uri="{FF2B5EF4-FFF2-40B4-BE49-F238E27FC236}">
                  <a16:creationId xmlns:a16="http://schemas.microsoft.com/office/drawing/2014/main" id="{34C504F1-FB58-740A-8869-E7233B8544C5}"/>
                </a:ext>
              </a:extLst>
            </p:cNvPr>
            <p:cNvSpPr/>
            <p:nvPr/>
          </p:nvSpPr>
          <p:spPr>
            <a:xfrm>
              <a:off x="6250778" y="5465623"/>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6" name="Graphic 304">
              <a:extLst>
                <a:ext uri="{FF2B5EF4-FFF2-40B4-BE49-F238E27FC236}">
                  <a16:creationId xmlns:a16="http://schemas.microsoft.com/office/drawing/2014/main" id="{02630B1F-1C1A-DEA2-AD1E-10BD135E2E84}"/>
                </a:ext>
              </a:extLst>
            </p:cNvPr>
            <p:cNvGrpSpPr/>
            <p:nvPr/>
          </p:nvGrpSpPr>
          <p:grpSpPr>
            <a:xfrm>
              <a:off x="6294595" y="5509440"/>
              <a:ext cx="266700" cy="266700"/>
              <a:chOff x="5962650" y="3295650"/>
              <a:chExt cx="266700" cy="266700"/>
            </a:xfrm>
            <a:solidFill>
              <a:srgbClr val="2B660F"/>
            </a:solidFill>
          </p:grpSpPr>
          <p:sp>
            <p:nvSpPr>
              <p:cNvPr id="307" name="Freeform: Shape 306">
                <a:extLst>
                  <a:ext uri="{FF2B5EF4-FFF2-40B4-BE49-F238E27FC236}">
                    <a16:creationId xmlns:a16="http://schemas.microsoft.com/office/drawing/2014/main" id="{494A64BC-DE08-7CB1-72A0-F005DD8EC0AF}"/>
                  </a:ext>
                </a:extLst>
              </p:cNvPr>
              <p:cNvSpPr/>
              <p:nvPr/>
            </p:nvSpPr>
            <p:spPr>
              <a:xfrm>
                <a:off x="6088446" y="3295650"/>
                <a:ext cx="140903" cy="126939"/>
              </a:xfrm>
              <a:custGeom>
                <a:avLst/>
                <a:gdLst>
                  <a:gd name="csX0" fmla="*/ 0 w 140903"/>
                  <a:gd name="csY0" fmla="*/ 14288 h 126939"/>
                  <a:gd name="csX1" fmla="*/ 14647 w 140903"/>
                  <a:gd name="csY1" fmla="*/ 28575 h 126939"/>
                  <a:gd name="csX2" fmla="*/ 112328 w 140903"/>
                  <a:gd name="csY2" fmla="*/ 126940 h 126939"/>
                  <a:gd name="csX3" fmla="*/ 123248 w 140903"/>
                  <a:gd name="csY3" fmla="*/ 115695 h 126939"/>
                  <a:gd name="csX4" fmla="*/ 129983 w 140903"/>
                  <a:gd name="csY4" fmla="*/ 115695 h 126939"/>
                  <a:gd name="csX5" fmla="*/ 140903 w 140903"/>
                  <a:gd name="csY5" fmla="*/ 126256 h 126939"/>
                  <a:gd name="csX6" fmla="*/ 13963 w 140903"/>
                  <a:gd name="csY6" fmla="*/ 0 h 12693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40903" h="126939">
                    <a:moveTo>
                      <a:pt x="0" y="14288"/>
                    </a:moveTo>
                    <a:lnTo>
                      <a:pt x="14647" y="28575"/>
                    </a:lnTo>
                    <a:cubicBezTo>
                      <a:pt x="66982" y="32107"/>
                      <a:pt x="109132" y="74515"/>
                      <a:pt x="112328" y="126940"/>
                    </a:cubicBezTo>
                    <a:lnTo>
                      <a:pt x="123248" y="115695"/>
                    </a:lnTo>
                    <a:cubicBezTo>
                      <a:pt x="125109" y="113835"/>
                      <a:pt x="128122" y="113835"/>
                      <a:pt x="129983" y="115695"/>
                    </a:cubicBezTo>
                    <a:lnTo>
                      <a:pt x="140903" y="126256"/>
                    </a:lnTo>
                    <a:cubicBezTo>
                      <a:pt x="137295" y="58167"/>
                      <a:pt x="82142" y="3265"/>
                      <a:pt x="13963" y="0"/>
                    </a:cubicBezTo>
                    <a:close/>
                  </a:path>
                </a:pathLst>
              </a:custGeom>
              <a:grpFill/>
              <a:ln w="9525" cap="flat">
                <a:noFill/>
                <a:prstDash val="solid"/>
                <a:miter/>
              </a:ln>
            </p:spPr>
            <p:txBody>
              <a:bodyPr/>
              <a:lstStyle/>
              <a:p>
                <a:endParaRPr lang="en-US"/>
              </a:p>
            </p:txBody>
          </p:sp>
          <p:sp>
            <p:nvSpPr>
              <p:cNvPr id="308" name="Freeform: Shape 307">
                <a:extLst>
                  <a:ext uri="{FF2B5EF4-FFF2-40B4-BE49-F238E27FC236}">
                    <a16:creationId xmlns:a16="http://schemas.microsoft.com/office/drawing/2014/main" id="{B3433EFE-B111-5DE0-B9DE-0626C03D8E16}"/>
                  </a:ext>
                </a:extLst>
              </p:cNvPr>
              <p:cNvSpPr/>
              <p:nvPr/>
            </p:nvSpPr>
            <p:spPr>
              <a:xfrm>
                <a:off x="5962650" y="3295650"/>
                <a:ext cx="126939" cy="140903"/>
              </a:xfrm>
              <a:custGeom>
                <a:avLst/>
                <a:gdLst>
                  <a:gd name="csX0" fmla="*/ 14288 w 126939"/>
                  <a:gd name="csY0" fmla="*/ 140903 h 140903"/>
                  <a:gd name="csX1" fmla="*/ 28575 w 126939"/>
                  <a:gd name="csY1" fmla="*/ 126256 h 140903"/>
                  <a:gd name="csX2" fmla="*/ 126940 w 126939"/>
                  <a:gd name="csY2" fmla="*/ 28575 h 140903"/>
                  <a:gd name="csX3" fmla="*/ 115695 w 126939"/>
                  <a:gd name="csY3" fmla="*/ 17655 h 140903"/>
                  <a:gd name="csX4" fmla="*/ 115695 w 126939"/>
                  <a:gd name="csY4" fmla="*/ 10920 h 140903"/>
                  <a:gd name="csX5" fmla="*/ 126256 w 126939"/>
                  <a:gd name="csY5" fmla="*/ 0 h 140903"/>
                  <a:gd name="csX6" fmla="*/ 0 w 126939"/>
                  <a:gd name="csY6" fmla="*/ 126940 h 140903"/>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26939" h="140903">
                    <a:moveTo>
                      <a:pt x="14288" y="140903"/>
                    </a:moveTo>
                    <a:lnTo>
                      <a:pt x="28575" y="126256"/>
                    </a:lnTo>
                    <a:cubicBezTo>
                      <a:pt x="32107" y="73921"/>
                      <a:pt x="74515" y="31771"/>
                      <a:pt x="126940" y="28575"/>
                    </a:cubicBezTo>
                    <a:lnTo>
                      <a:pt x="115695" y="17655"/>
                    </a:lnTo>
                    <a:cubicBezTo>
                      <a:pt x="113835" y="15794"/>
                      <a:pt x="113835" y="12781"/>
                      <a:pt x="115695" y="10920"/>
                    </a:cubicBezTo>
                    <a:lnTo>
                      <a:pt x="126256" y="0"/>
                    </a:lnTo>
                    <a:cubicBezTo>
                      <a:pt x="58167" y="3609"/>
                      <a:pt x="3265" y="58762"/>
                      <a:pt x="0" y="126940"/>
                    </a:cubicBezTo>
                    <a:close/>
                  </a:path>
                </a:pathLst>
              </a:custGeom>
              <a:grpFill/>
              <a:ln w="9525" cap="flat">
                <a:noFill/>
                <a:prstDash val="solid"/>
                <a:miter/>
              </a:ln>
            </p:spPr>
            <p:txBody>
              <a:bodyPr/>
              <a:lstStyle/>
              <a:p>
                <a:endParaRPr lang="en-US"/>
              </a:p>
            </p:txBody>
          </p:sp>
          <p:sp>
            <p:nvSpPr>
              <p:cNvPr id="309" name="Freeform: Shape 308">
                <a:extLst>
                  <a:ext uri="{FF2B5EF4-FFF2-40B4-BE49-F238E27FC236}">
                    <a16:creationId xmlns:a16="http://schemas.microsoft.com/office/drawing/2014/main" id="{BC7012CB-6E72-ADE8-53FB-6F8DC9A9995E}"/>
                  </a:ext>
                </a:extLst>
              </p:cNvPr>
              <p:cNvSpPr/>
              <p:nvPr/>
            </p:nvSpPr>
            <p:spPr>
              <a:xfrm>
                <a:off x="5962650" y="3435410"/>
                <a:ext cx="140903" cy="126939"/>
              </a:xfrm>
              <a:custGeom>
                <a:avLst/>
                <a:gdLst>
                  <a:gd name="csX0" fmla="*/ 140903 w 140903"/>
                  <a:gd name="csY0" fmla="*/ 112652 h 126939"/>
                  <a:gd name="csX1" fmla="*/ 126256 w 140903"/>
                  <a:gd name="csY1" fmla="*/ 98365 h 126939"/>
                  <a:gd name="csX2" fmla="*/ 28575 w 140903"/>
                  <a:gd name="csY2" fmla="*/ 0 h 126939"/>
                  <a:gd name="csX3" fmla="*/ 17655 w 140903"/>
                  <a:gd name="csY3" fmla="*/ 11245 h 126939"/>
                  <a:gd name="csX4" fmla="*/ 10920 w 140903"/>
                  <a:gd name="csY4" fmla="*/ 11245 h 126939"/>
                  <a:gd name="csX5" fmla="*/ 0 w 140903"/>
                  <a:gd name="csY5" fmla="*/ 684 h 126939"/>
                  <a:gd name="csX6" fmla="*/ 126940 w 140903"/>
                  <a:gd name="csY6" fmla="*/ 126940 h 12693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40903" h="126939">
                    <a:moveTo>
                      <a:pt x="140903" y="112652"/>
                    </a:moveTo>
                    <a:lnTo>
                      <a:pt x="126256" y="98365"/>
                    </a:lnTo>
                    <a:cubicBezTo>
                      <a:pt x="73921" y="94833"/>
                      <a:pt x="31771" y="52425"/>
                      <a:pt x="28575" y="0"/>
                    </a:cubicBezTo>
                    <a:lnTo>
                      <a:pt x="17655" y="11245"/>
                    </a:lnTo>
                    <a:cubicBezTo>
                      <a:pt x="15794" y="13105"/>
                      <a:pt x="12781" y="13105"/>
                      <a:pt x="10920" y="11245"/>
                    </a:cubicBezTo>
                    <a:lnTo>
                      <a:pt x="0" y="684"/>
                    </a:lnTo>
                    <a:cubicBezTo>
                      <a:pt x="3609" y="68773"/>
                      <a:pt x="58762" y="123675"/>
                      <a:pt x="126940" y="126940"/>
                    </a:cubicBezTo>
                    <a:close/>
                  </a:path>
                </a:pathLst>
              </a:custGeom>
              <a:grpFill/>
              <a:ln w="9525" cap="flat">
                <a:noFill/>
                <a:prstDash val="solid"/>
                <a:miter/>
              </a:ln>
            </p:spPr>
            <p:txBody>
              <a:bodyPr/>
              <a:lstStyle/>
              <a:p>
                <a:endParaRPr lang="en-US"/>
              </a:p>
            </p:txBody>
          </p:sp>
          <p:sp>
            <p:nvSpPr>
              <p:cNvPr id="310" name="Freeform: Shape 309">
                <a:extLst>
                  <a:ext uri="{FF2B5EF4-FFF2-40B4-BE49-F238E27FC236}">
                    <a16:creationId xmlns:a16="http://schemas.microsoft.com/office/drawing/2014/main" id="{41E26E20-47F8-B7EA-E5AF-3D93FB125185}"/>
                  </a:ext>
                </a:extLst>
              </p:cNvPr>
              <p:cNvSpPr/>
              <p:nvPr/>
            </p:nvSpPr>
            <p:spPr>
              <a:xfrm>
                <a:off x="6102410" y="3421446"/>
                <a:ext cx="126939" cy="140903"/>
              </a:xfrm>
              <a:custGeom>
                <a:avLst/>
                <a:gdLst>
                  <a:gd name="csX0" fmla="*/ 112652 w 126939"/>
                  <a:gd name="csY0" fmla="*/ 0 h 140903"/>
                  <a:gd name="csX1" fmla="*/ 98365 w 126939"/>
                  <a:gd name="csY1" fmla="*/ 14647 h 140903"/>
                  <a:gd name="csX2" fmla="*/ 0 w 126939"/>
                  <a:gd name="csY2" fmla="*/ 112328 h 140903"/>
                  <a:gd name="csX3" fmla="*/ 11245 w 126939"/>
                  <a:gd name="csY3" fmla="*/ 123248 h 140903"/>
                  <a:gd name="csX4" fmla="*/ 11245 w 126939"/>
                  <a:gd name="csY4" fmla="*/ 129983 h 140903"/>
                  <a:gd name="csX5" fmla="*/ 684 w 126939"/>
                  <a:gd name="csY5" fmla="*/ 140903 h 140903"/>
                  <a:gd name="csX6" fmla="*/ 126940 w 126939"/>
                  <a:gd name="csY6" fmla="*/ 13963 h 140903"/>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26939" h="140903">
                    <a:moveTo>
                      <a:pt x="112652" y="0"/>
                    </a:moveTo>
                    <a:lnTo>
                      <a:pt x="98365" y="14647"/>
                    </a:lnTo>
                    <a:cubicBezTo>
                      <a:pt x="94833" y="66982"/>
                      <a:pt x="52425" y="109132"/>
                      <a:pt x="0" y="112328"/>
                    </a:cubicBezTo>
                    <a:lnTo>
                      <a:pt x="11245" y="123248"/>
                    </a:lnTo>
                    <a:cubicBezTo>
                      <a:pt x="13105" y="125109"/>
                      <a:pt x="13105" y="128122"/>
                      <a:pt x="11245" y="129983"/>
                    </a:cubicBezTo>
                    <a:lnTo>
                      <a:pt x="684" y="140903"/>
                    </a:lnTo>
                    <a:cubicBezTo>
                      <a:pt x="68773" y="137295"/>
                      <a:pt x="123675" y="82142"/>
                      <a:pt x="126940" y="13963"/>
                    </a:cubicBezTo>
                    <a:close/>
                  </a:path>
                </a:pathLst>
              </a:custGeom>
              <a:grpFill/>
              <a:ln w="9525" cap="flat">
                <a:noFill/>
                <a:prstDash val="solid"/>
                <a:miter/>
              </a:ln>
            </p:spPr>
            <p:txBody>
              <a:bodyPr/>
              <a:lstStyle/>
              <a:p>
                <a:endParaRPr lang="en-US"/>
              </a:p>
            </p:txBody>
          </p:sp>
          <p:sp>
            <p:nvSpPr>
              <p:cNvPr id="311" name="Freeform: Shape 310">
                <a:extLst>
                  <a:ext uri="{FF2B5EF4-FFF2-40B4-BE49-F238E27FC236}">
                    <a16:creationId xmlns:a16="http://schemas.microsoft.com/office/drawing/2014/main" id="{EE454CAE-0BE1-8762-F35D-8F2841EC12A6}"/>
                  </a:ext>
                </a:extLst>
              </p:cNvPr>
              <p:cNvSpPr/>
              <p:nvPr/>
            </p:nvSpPr>
            <p:spPr>
              <a:xfrm>
                <a:off x="6105525" y="3409950"/>
                <a:ext cx="19050" cy="24437"/>
              </a:xfrm>
              <a:custGeom>
                <a:avLst/>
                <a:gdLst>
                  <a:gd name="csX0" fmla="*/ 6883 w 19050"/>
                  <a:gd name="csY0" fmla="*/ 19847 h 24437"/>
                  <a:gd name="csX1" fmla="*/ 12167 w 19050"/>
                  <a:gd name="csY1" fmla="*/ 19847 h 24437"/>
                  <a:gd name="csX2" fmla="*/ 19050 w 19050"/>
                  <a:gd name="csY2" fmla="*/ 24437 h 24437"/>
                  <a:gd name="csX3" fmla="*/ 19050 w 19050"/>
                  <a:gd name="csY3" fmla="*/ 0 h 24437"/>
                  <a:gd name="csX4" fmla="*/ 0 w 19050"/>
                  <a:gd name="csY4" fmla="*/ 0 h 24437"/>
                  <a:gd name="csX5" fmla="*/ 0 w 19050"/>
                  <a:gd name="csY5" fmla="*/ 24437 h 24437"/>
                </a:gdLst>
                <a:ahLst/>
                <a:cxnLst>
                  <a:cxn ang="0">
                    <a:pos x="csX0" y="csY0"/>
                  </a:cxn>
                  <a:cxn ang="0">
                    <a:pos x="csX1" y="csY1"/>
                  </a:cxn>
                  <a:cxn ang="0">
                    <a:pos x="csX2" y="csY2"/>
                  </a:cxn>
                  <a:cxn ang="0">
                    <a:pos x="csX3" y="csY3"/>
                  </a:cxn>
                  <a:cxn ang="0">
                    <a:pos x="csX4" y="csY4"/>
                  </a:cxn>
                  <a:cxn ang="0">
                    <a:pos x="csX5" y="csY5"/>
                  </a:cxn>
                </a:cxnLst>
                <a:rect l="l" t="t" r="r" b="b"/>
                <a:pathLst>
                  <a:path w="19050" h="24437">
                    <a:moveTo>
                      <a:pt x="6883" y="19847"/>
                    </a:moveTo>
                    <a:cubicBezTo>
                      <a:pt x="8483" y="18777"/>
                      <a:pt x="10567" y="18777"/>
                      <a:pt x="12167" y="19847"/>
                    </a:cubicBezTo>
                    <a:lnTo>
                      <a:pt x="19050" y="24437"/>
                    </a:lnTo>
                    <a:lnTo>
                      <a:pt x="19050" y="0"/>
                    </a:lnTo>
                    <a:lnTo>
                      <a:pt x="0" y="0"/>
                    </a:lnTo>
                    <a:lnTo>
                      <a:pt x="0" y="24437"/>
                    </a:lnTo>
                    <a:close/>
                  </a:path>
                </a:pathLst>
              </a:custGeom>
              <a:grpFill/>
              <a:ln w="9525" cap="flat">
                <a:noFill/>
                <a:prstDash val="solid"/>
                <a:miter/>
              </a:ln>
            </p:spPr>
            <p:txBody>
              <a:bodyPr/>
              <a:lstStyle/>
              <a:p>
                <a:endParaRPr lang="en-US"/>
              </a:p>
            </p:txBody>
          </p:sp>
          <p:sp>
            <p:nvSpPr>
              <p:cNvPr id="312" name="Freeform: Shape 311">
                <a:extLst>
                  <a:ext uri="{FF2B5EF4-FFF2-40B4-BE49-F238E27FC236}">
                    <a16:creationId xmlns:a16="http://schemas.microsoft.com/office/drawing/2014/main" id="{4832DAC3-643F-F8DE-19D2-D0F33913B643}"/>
                  </a:ext>
                </a:extLst>
              </p:cNvPr>
              <p:cNvSpPr/>
              <p:nvPr/>
            </p:nvSpPr>
            <p:spPr>
              <a:xfrm>
                <a:off x="6067425" y="3409950"/>
                <a:ext cx="95250" cy="76200"/>
              </a:xfrm>
              <a:custGeom>
                <a:avLst/>
                <a:gdLst>
                  <a:gd name="csX0" fmla="*/ 95250 w 95250"/>
                  <a:gd name="csY0" fmla="*/ 0 h 76200"/>
                  <a:gd name="csX1" fmla="*/ 66675 w 95250"/>
                  <a:gd name="csY1" fmla="*/ 0 h 76200"/>
                  <a:gd name="csX2" fmla="*/ 66675 w 95250"/>
                  <a:gd name="csY2" fmla="*/ 33335 h 76200"/>
                  <a:gd name="csX3" fmla="*/ 64159 w 95250"/>
                  <a:gd name="csY3" fmla="*/ 37534 h 76200"/>
                  <a:gd name="csX4" fmla="*/ 61913 w 95250"/>
                  <a:gd name="csY4" fmla="*/ 38097 h 76200"/>
                  <a:gd name="csX5" fmla="*/ 59271 w 95250"/>
                  <a:gd name="csY5" fmla="*/ 37297 h 76200"/>
                  <a:gd name="csX6" fmla="*/ 47625 w 95250"/>
                  <a:gd name="csY6" fmla="*/ 29535 h 76200"/>
                  <a:gd name="csX7" fmla="*/ 35979 w 95250"/>
                  <a:gd name="csY7" fmla="*/ 37297 h 76200"/>
                  <a:gd name="csX8" fmla="*/ 31091 w 95250"/>
                  <a:gd name="csY8" fmla="*/ 37534 h 76200"/>
                  <a:gd name="csX9" fmla="*/ 28575 w 95250"/>
                  <a:gd name="csY9" fmla="*/ 33335 h 76200"/>
                  <a:gd name="csX10" fmla="*/ 28575 w 95250"/>
                  <a:gd name="csY10" fmla="*/ 0 h 76200"/>
                  <a:gd name="csX11" fmla="*/ 0 w 95250"/>
                  <a:gd name="csY11" fmla="*/ 0 h 76200"/>
                  <a:gd name="csX12" fmla="*/ 0 w 95250"/>
                  <a:gd name="csY12" fmla="*/ 76200 h 76200"/>
                  <a:gd name="csX13" fmla="*/ 85725 w 95250"/>
                  <a:gd name="csY13" fmla="*/ 76200 h 76200"/>
                  <a:gd name="csX14" fmla="*/ 95250 w 95250"/>
                  <a:gd name="csY14" fmla="*/ 66675 h 762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95250" h="76200">
                    <a:moveTo>
                      <a:pt x="95250" y="0"/>
                    </a:moveTo>
                    <a:lnTo>
                      <a:pt x="66675" y="0"/>
                    </a:lnTo>
                    <a:lnTo>
                      <a:pt x="66675" y="33335"/>
                    </a:lnTo>
                    <a:cubicBezTo>
                      <a:pt x="66675" y="35093"/>
                      <a:pt x="65708" y="36706"/>
                      <a:pt x="64159" y="37534"/>
                    </a:cubicBezTo>
                    <a:cubicBezTo>
                      <a:pt x="63457" y="37911"/>
                      <a:pt x="62685" y="38097"/>
                      <a:pt x="61913" y="38097"/>
                    </a:cubicBezTo>
                    <a:cubicBezTo>
                      <a:pt x="60987" y="38097"/>
                      <a:pt x="60066" y="37827"/>
                      <a:pt x="59271" y="37297"/>
                    </a:cubicBezTo>
                    <a:lnTo>
                      <a:pt x="47625" y="29535"/>
                    </a:lnTo>
                    <a:lnTo>
                      <a:pt x="35979" y="37297"/>
                    </a:lnTo>
                    <a:cubicBezTo>
                      <a:pt x="34519" y="38274"/>
                      <a:pt x="32635" y="38367"/>
                      <a:pt x="31091" y="37534"/>
                    </a:cubicBezTo>
                    <a:cubicBezTo>
                      <a:pt x="29542" y="36706"/>
                      <a:pt x="28575" y="35093"/>
                      <a:pt x="28575" y="33335"/>
                    </a:cubicBezTo>
                    <a:lnTo>
                      <a:pt x="28575" y="0"/>
                    </a:lnTo>
                    <a:lnTo>
                      <a:pt x="0" y="0"/>
                    </a:lnTo>
                    <a:lnTo>
                      <a:pt x="0" y="76200"/>
                    </a:lnTo>
                    <a:lnTo>
                      <a:pt x="85725" y="76200"/>
                    </a:lnTo>
                    <a:cubicBezTo>
                      <a:pt x="90986" y="76200"/>
                      <a:pt x="95250" y="71936"/>
                      <a:pt x="95250" y="66675"/>
                    </a:cubicBezTo>
                    <a:close/>
                  </a:path>
                </a:pathLst>
              </a:custGeom>
              <a:grpFill/>
              <a:ln w="9525" cap="flat">
                <a:noFill/>
                <a:prstDash val="solid"/>
                <a:miter/>
              </a:ln>
            </p:spPr>
            <p:txBody>
              <a:bodyPr/>
              <a:lstStyle/>
              <a:p>
                <a:endParaRPr lang="en-US"/>
              </a:p>
            </p:txBody>
          </p:sp>
          <p:sp>
            <p:nvSpPr>
              <p:cNvPr id="313" name="Freeform: Shape 312">
                <a:extLst>
                  <a:ext uri="{FF2B5EF4-FFF2-40B4-BE49-F238E27FC236}">
                    <a16:creationId xmlns:a16="http://schemas.microsoft.com/office/drawing/2014/main" id="{64B6E349-573F-5713-0126-831EB93B46B9}"/>
                  </a:ext>
                </a:extLst>
              </p:cNvPr>
              <p:cNvSpPr/>
              <p:nvPr/>
            </p:nvSpPr>
            <p:spPr>
              <a:xfrm>
                <a:off x="6029325" y="3378517"/>
                <a:ext cx="28575" cy="104775"/>
              </a:xfrm>
              <a:custGeom>
                <a:avLst/>
                <a:gdLst>
                  <a:gd name="csX0" fmla="*/ 0 w 28575"/>
                  <a:gd name="csY0" fmla="*/ 0 h 104775"/>
                  <a:gd name="csX1" fmla="*/ 28575 w 28575"/>
                  <a:gd name="csY1" fmla="*/ 28575 h 104775"/>
                  <a:gd name="csX2" fmla="*/ 28575 w 28575"/>
                  <a:gd name="csY2" fmla="*/ 104775 h 104775"/>
                  <a:gd name="csX3" fmla="*/ 2790 w 28575"/>
                  <a:gd name="csY3" fmla="*/ 78990 h 104775"/>
                  <a:gd name="csX4" fmla="*/ 0 w 28575"/>
                  <a:gd name="csY4" fmla="*/ 72255 h 104775"/>
                </a:gdLst>
                <a:ahLst/>
                <a:cxnLst>
                  <a:cxn ang="0">
                    <a:pos x="csX0" y="csY0"/>
                  </a:cxn>
                  <a:cxn ang="0">
                    <a:pos x="csX1" y="csY1"/>
                  </a:cxn>
                  <a:cxn ang="0">
                    <a:pos x="csX2" y="csY2"/>
                  </a:cxn>
                  <a:cxn ang="0">
                    <a:pos x="csX3" y="csY3"/>
                  </a:cxn>
                  <a:cxn ang="0">
                    <a:pos x="csX4" y="csY4"/>
                  </a:cxn>
                </a:cxnLst>
                <a:rect l="l" t="t" r="r" b="b"/>
                <a:pathLst>
                  <a:path w="28575" h="104775">
                    <a:moveTo>
                      <a:pt x="0" y="0"/>
                    </a:moveTo>
                    <a:lnTo>
                      <a:pt x="28575" y="28575"/>
                    </a:lnTo>
                    <a:lnTo>
                      <a:pt x="28575" y="104775"/>
                    </a:lnTo>
                    <a:lnTo>
                      <a:pt x="2790" y="78990"/>
                    </a:lnTo>
                    <a:cubicBezTo>
                      <a:pt x="1004" y="77204"/>
                      <a:pt x="0" y="74781"/>
                      <a:pt x="0" y="72255"/>
                    </a:cubicBezTo>
                    <a:close/>
                  </a:path>
                </a:pathLst>
              </a:custGeom>
              <a:grpFill/>
              <a:ln w="9525" cap="flat">
                <a:noFill/>
                <a:prstDash val="solid"/>
                <a:miter/>
              </a:ln>
            </p:spPr>
            <p:txBody>
              <a:bodyPr/>
              <a:lstStyle/>
              <a:p>
                <a:endParaRPr lang="en-US"/>
              </a:p>
            </p:txBody>
          </p:sp>
          <p:sp>
            <p:nvSpPr>
              <p:cNvPr id="314" name="Freeform: Shape 313">
                <a:extLst>
                  <a:ext uri="{FF2B5EF4-FFF2-40B4-BE49-F238E27FC236}">
                    <a16:creationId xmlns:a16="http://schemas.microsoft.com/office/drawing/2014/main" id="{B3D1A597-3359-A4EC-7F85-43F1061F8595}"/>
                  </a:ext>
                </a:extLst>
              </p:cNvPr>
              <p:cNvSpPr/>
              <p:nvPr/>
            </p:nvSpPr>
            <p:spPr>
              <a:xfrm>
                <a:off x="6076950" y="3371850"/>
                <a:ext cx="47625" cy="28575"/>
              </a:xfrm>
              <a:custGeom>
                <a:avLst/>
                <a:gdLst>
                  <a:gd name="csX0" fmla="*/ 0 w 47625"/>
                  <a:gd name="csY0" fmla="*/ 0 h 28575"/>
                  <a:gd name="csX1" fmla="*/ 28575 w 47625"/>
                  <a:gd name="csY1" fmla="*/ 28575 h 28575"/>
                  <a:gd name="csX2" fmla="*/ 47625 w 47625"/>
                  <a:gd name="csY2" fmla="*/ 28575 h 28575"/>
                  <a:gd name="csX3" fmla="*/ 19050 w 47625"/>
                  <a:gd name="csY3" fmla="*/ 0 h 28575"/>
                </a:gdLst>
                <a:ahLst/>
                <a:cxnLst>
                  <a:cxn ang="0">
                    <a:pos x="csX0" y="csY0"/>
                  </a:cxn>
                  <a:cxn ang="0">
                    <a:pos x="csX1" y="csY1"/>
                  </a:cxn>
                  <a:cxn ang="0">
                    <a:pos x="csX2" y="csY2"/>
                  </a:cxn>
                  <a:cxn ang="0">
                    <a:pos x="csX3" y="csY3"/>
                  </a:cxn>
                </a:cxnLst>
                <a:rect l="l" t="t" r="r" b="b"/>
                <a:pathLst>
                  <a:path w="47625" h="28575">
                    <a:moveTo>
                      <a:pt x="0" y="0"/>
                    </a:moveTo>
                    <a:lnTo>
                      <a:pt x="28575" y="28575"/>
                    </a:lnTo>
                    <a:lnTo>
                      <a:pt x="47625" y="28575"/>
                    </a:lnTo>
                    <a:lnTo>
                      <a:pt x="19050" y="0"/>
                    </a:lnTo>
                    <a:close/>
                  </a:path>
                </a:pathLst>
              </a:custGeom>
              <a:grpFill/>
              <a:ln w="9525" cap="flat">
                <a:noFill/>
                <a:prstDash val="solid"/>
                <a:miter/>
              </a:ln>
            </p:spPr>
            <p:txBody>
              <a:bodyPr/>
              <a:lstStyle/>
              <a:p>
                <a:endParaRPr lang="en-US"/>
              </a:p>
            </p:txBody>
          </p:sp>
          <p:sp>
            <p:nvSpPr>
              <p:cNvPr id="315" name="Freeform: Shape 314">
                <a:extLst>
                  <a:ext uri="{FF2B5EF4-FFF2-40B4-BE49-F238E27FC236}">
                    <a16:creationId xmlns:a16="http://schemas.microsoft.com/office/drawing/2014/main" id="{1E7BEF3E-3E51-EF9A-110B-0E1BE3AC754D}"/>
                  </a:ext>
                </a:extLst>
              </p:cNvPr>
              <p:cNvSpPr/>
              <p:nvPr/>
            </p:nvSpPr>
            <p:spPr>
              <a:xfrm>
                <a:off x="6035992" y="3371850"/>
                <a:ext cx="60007" cy="28575"/>
              </a:xfrm>
              <a:custGeom>
                <a:avLst/>
                <a:gdLst>
                  <a:gd name="csX0" fmla="*/ 0 w 60007"/>
                  <a:gd name="csY0" fmla="*/ 0 h 28575"/>
                  <a:gd name="csX1" fmla="*/ 28575 w 60007"/>
                  <a:gd name="csY1" fmla="*/ 28575 h 28575"/>
                  <a:gd name="csX2" fmla="*/ 60007 w 60007"/>
                  <a:gd name="csY2" fmla="*/ 28575 h 28575"/>
                  <a:gd name="csX3" fmla="*/ 31432 w 60007"/>
                  <a:gd name="csY3" fmla="*/ 0 h 28575"/>
                </a:gdLst>
                <a:ahLst/>
                <a:cxnLst>
                  <a:cxn ang="0">
                    <a:pos x="csX0" y="csY0"/>
                  </a:cxn>
                  <a:cxn ang="0">
                    <a:pos x="csX1" y="csY1"/>
                  </a:cxn>
                  <a:cxn ang="0">
                    <a:pos x="csX2" y="csY2"/>
                  </a:cxn>
                  <a:cxn ang="0">
                    <a:pos x="csX3" y="csY3"/>
                  </a:cxn>
                </a:cxnLst>
                <a:rect l="l" t="t" r="r" b="b"/>
                <a:pathLst>
                  <a:path w="60007" h="28575">
                    <a:moveTo>
                      <a:pt x="0" y="0"/>
                    </a:moveTo>
                    <a:lnTo>
                      <a:pt x="28575" y="28575"/>
                    </a:lnTo>
                    <a:lnTo>
                      <a:pt x="60007" y="28575"/>
                    </a:lnTo>
                    <a:lnTo>
                      <a:pt x="31432" y="0"/>
                    </a:lnTo>
                    <a:close/>
                  </a:path>
                </a:pathLst>
              </a:custGeom>
              <a:grpFill/>
              <a:ln w="9525" cap="flat">
                <a:noFill/>
                <a:prstDash val="solid"/>
                <a:miter/>
              </a:ln>
            </p:spPr>
            <p:txBody>
              <a:bodyPr/>
              <a:lstStyle/>
              <a:p>
                <a:endParaRPr lang="en-US"/>
              </a:p>
            </p:txBody>
          </p:sp>
          <p:sp>
            <p:nvSpPr>
              <p:cNvPr id="316" name="Freeform: Shape 315">
                <a:extLst>
                  <a:ext uri="{FF2B5EF4-FFF2-40B4-BE49-F238E27FC236}">
                    <a16:creationId xmlns:a16="http://schemas.microsoft.com/office/drawing/2014/main" id="{3F0EC016-9C3B-9CE7-B9A5-5069FF468FC1}"/>
                  </a:ext>
                </a:extLst>
              </p:cNvPr>
              <p:cNvSpPr/>
              <p:nvPr/>
            </p:nvSpPr>
            <p:spPr>
              <a:xfrm>
                <a:off x="6105525" y="3371850"/>
                <a:ext cx="54292" cy="28575"/>
              </a:xfrm>
              <a:custGeom>
                <a:avLst/>
                <a:gdLst>
                  <a:gd name="csX0" fmla="*/ 28508 w 54292"/>
                  <a:gd name="csY0" fmla="*/ 2790 h 28575"/>
                  <a:gd name="csX1" fmla="*/ 21772 w 54292"/>
                  <a:gd name="csY1" fmla="*/ 0 h 28575"/>
                  <a:gd name="csX2" fmla="*/ 0 w 54292"/>
                  <a:gd name="csY2" fmla="*/ 0 h 28575"/>
                  <a:gd name="csX3" fmla="*/ 28575 w 54292"/>
                  <a:gd name="csY3" fmla="*/ 28575 h 28575"/>
                  <a:gd name="csX4" fmla="*/ 54293 w 54292"/>
                  <a:gd name="csY4" fmla="*/ 28575 h 28575"/>
                </a:gdLst>
                <a:ahLst/>
                <a:cxnLst>
                  <a:cxn ang="0">
                    <a:pos x="csX0" y="csY0"/>
                  </a:cxn>
                  <a:cxn ang="0">
                    <a:pos x="csX1" y="csY1"/>
                  </a:cxn>
                  <a:cxn ang="0">
                    <a:pos x="csX2" y="csY2"/>
                  </a:cxn>
                  <a:cxn ang="0">
                    <a:pos x="csX3" y="csY3"/>
                  </a:cxn>
                  <a:cxn ang="0">
                    <a:pos x="csX4" y="csY4"/>
                  </a:cxn>
                </a:cxnLst>
                <a:rect l="l" t="t" r="r" b="b"/>
                <a:pathLst>
                  <a:path w="54292" h="28575">
                    <a:moveTo>
                      <a:pt x="28508" y="2790"/>
                    </a:moveTo>
                    <a:cubicBezTo>
                      <a:pt x="26721" y="1003"/>
                      <a:pt x="24299" y="0"/>
                      <a:pt x="21772" y="0"/>
                    </a:cubicBezTo>
                    <a:lnTo>
                      <a:pt x="0" y="0"/>
                    </a:lnTo>
                    <a:lnTo>
                      <a:pt x="28575" y="28575"/>
                    </a:lnTo>
                    <a:lnTo>
                      <a:pt x="54293" y="28575"/>
                    </a:lnTo>
                    <a:close/>
                  </a:path>
                </a:pathLst>
              </a:custGeom>
              <a:grpFill/>
              <a:ln w="9525" cap="flat">
                <a:noFill/>
                <a:prstDash val="solid"/>
                <a:miter/>
              </a:ln>
            </p:spPr>
            <p:txBody>
              <a:bodyPr/>
              <a:lstStyle/>
              <a:p>
                <a:endParaRPr lang="en-US"/>
              </a:p>
            </p:txBody>
          </p:sp>
        </p:grpSp>
      </p:grpSp>
    </p:spTree>
    <p:extLst>
      <p:ext uri="{BB962C8B-B14F-4D97-AF65-F5344CB8AC3E}">
        <p14:creationId xmlns:p14="http://schemas.microsoft.com/office/powerpoint/2010/main" val="38251891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D0EA69-68AE-6B28-CBB4-2C7EA49A60EA}"/>
              </a:ext>
            </a:extLst>
          </p:cNvPr>
          <p:cNvGraphicFramePr>
            <a:graphicFrameLocks/>
          </p:cNvGraphicFramePr>
          <p:nvPr>
            <p:custDataLst>
              <p:tags r:id="rId1"/>
            </p:custDataLst>
            <p:extLst>
              <p:ext uri="{D42A27DB-BD31-4B8C-83A1-F6EECF244321}">
                <p14:modId xmlns:p14="http://schemas.microsoft.com/office/powerpoint/2010/main" val="110423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8CD0EA69-68AE-6B28-CBB4-2C7EA49A60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7D636C-4B7D-C389-2546-CC4F5947363F}"/>
              </a:ext>
            </a:extLst>
          </p:cNvPr>
          <p:cNvSpPr>
            <a:spLocks noGrp="1"/>
          </p:cNvSpPr>
          <p:nvPr>
            <p:ph type="ctrTitle"/>
          </p:nvPr>
        </p:nvSpPr>
        <p:spPr>
          <a:xfrm>
            <a:off x="304796" y="2286596"/>
            <a:ext cx="11582402" cy="2284807"/>
          </a:xfrm>
        </p:spPr>
        <p:txBody>
          <a:bodyPr vert="horz" rIns="0"/>
          <a:lstStyle/>
          <a:p>
            <a:r>
              <a:rPr lang="en-US"/>
              <a:t>Waste &amp; Circularity</a:t>
            </a:r>
          </a:p>
        </p:txBody>
      </p:sp>
      <p:pic>
        <p:nvPicPr>
          <p:cNvPr id="7" name="Picture 6" descr="A green leaves on a black background&#10;&#10;Description automatically generated">
            <a:extLst>
              <a:ext uri="{FF2B5EF4-FFF2-40B4-BE49-F238E27FC236}">
                <a16:creationId xmlns:a16="http://schemas.microsoft.com/office/drawing/2014/main" id="{11013C1B-49BB-0A80-48F0-CEE8D9864E7B}"/>
              </a:ext>
            </a:extLst>
          </p:cNvPr>
          <p:cNvPicPr>
            <a:picLocks noChangeAspect="1"/>
          </p:cNvPicPr>
          <p:nvPr/>
        </p:nvPicPr>
        <p:blipFill>
          <a:blip r:embed="rId5">
            <a:alphaModFix amt="8000"/>
            <a:extLst>
              <a:ext uri="{BEBA8EAE-BF5A-486C-A8C5-ECC9F3942E4B}">
                <a14:imgProps xmlns:a14="http://schemas.microsoft.com/office/drawing/2010/main">
                  <a14:imgLayer r:embed="rId6">
                    <a14:imgEffect>
                      <a14:brightnessContrast bright="-100000"/>
                    </a14:imgEffect>
                  </a14:imgLayer>
                </a14:imgProps>
              </a:ext>
            </a:extLst>
          </a:blip>
          <a:srcRect l="143" t="22843" r="1127" b="-347"/>
          <a:stretch>
            <a:fillRect/>
          </a:stretch>
        </p:blipFill>
        <p:spPr>
          <a:xfrm rot="20940000" flipH="1">
            <a:off x="-347445" y="-295347"/>
            <a:ext cx="3909087" cy="3380830"/>
          </a:xfrm>
          <a:custGeom>
            <a:avLst/>
            <a:gdLst>
              <a:gd name="csX0" fmla="*/ 0 w 3387264"/>
              <a:gd name="csY0" fmla="*/ 547729 h 2929524"/>
              <a:gd name="csX1" fmla="*/ 2817822 w 3387264"/>
              <a:gd name="csY1" fmla="*/ 0 h 2929524"/>
              <a:gd name="csX2" fmla="*/ 3387264 w 3387264"/>
              <a:gd name="csY2" fmla="*/ 2929524 h 2929524"/>
              <a:gd name="csX3" fmla="*/ 0 w 3387264"/>
              <a:gd name="csY3" fmla="*/ 2929524 h 2929524"/>
            </a:gdLst>
            <a:ahLst/>
            <a:cxnLst>
              <a:cxn ang="0">
                <a:pos x="csX0" y="csY0"/>
              </a:cxn>
              <a:cxn ang="0">
                <a:pos x="csX1" y="csY1"/>
              </a:cxn>
              <a:cxn ang="0">
                <a:pos x="csX2" y="csY2"/>
              </a:cxn>
              <a:cxn ang="0">
                <a:pos x="csX3" y="csY3"/>
              </a:cxn>
            </a:cxnLst>
            <a:rect l="l" t="t" r="r" b="b"/>
            <a:pathLst>
              <a:path w="3387264" h="2929524">
                <a:moveTo>
                  <a:pt x="0" y="547729"/>
                </a:moveTo>
                <a:lnTo>
                  <a:pt x="2817822" y="0"/>
                </a:lnTo>
                <a:lnTo>
                  <a:pt x="3387264" y="2929524"/>
                </a:lnTo>
                <a:lnTo>
                  <a:pt x="0" y="2929524"/>
                </a:lnTo>
                <a:close/>
              </a:path>
            </a:pathLst>
          </a:custGeom>
        </p:spPr>
      </p:pic>
      <p:pic>
        <p:nvPicPr>
          <p:cNvPr id="8" name="Picture 7" descr="A green leaves on a black background&#10;&#10;Description automatically generated">
            <a:extLst>
              <a:ext uri="{FF2B5EF4-FFF2-40B4-BE49-F238E27FC236}">
                <a16:creationId xmlns:a16="http://schemas.microsoft.com/office/drawing/2014/main" id="{16F9B29D-3FB6-EA5A-DA81-841A3A7B19F0}"/>
              </a:ext>
            </a:extLst>
          </p:cNvPr>
          <p:cNvPicPr>
            <a:picLocks noChangeAspect="1"/>
          </p:cNvPicPr>
          <p:nvPr/>
        </p:nvPicPr>
        <p:blipFill rotWithShape="1">
          <a:blip r:embed="rId7">
            <a:alphaModFix amt="8000"/>
            <a:extLst>
              <a:ext uri="{BEBA8EAE-BF5A-486C-A8C5-ECC9F3942E4B}">
                <a14:imgProps xmlns:a14="http://schemas.microsoft.com/office/drawing/2010/main">
                  <a14:imgLayer r:embed="rId8">
                    <a14:imgEffect>
                      <a14:brightnessContrast bright="-100000"/>
                    </a14:imgEffect>
                  </a14:imgLayer>
                </a14:imgProps>
              </a:ext>
            </a:extLst>
          </a:blip>
          <a:srcRect b="14982"/>
          <a:stretch/>
        </p:blipFill>
        <p:spPr>
          <a:xfrm flipH="1">
            <a:off x="8244114" y="4113638"/>
            <a:ext cx="3947886" cy="2744362"/>
          </a:xfrm>
          <a:prstGeom prst="rect">
            <a:avLst/>
          </a:prstGeom>
        </p:spPr>
      </p:pic>
      <p:pic>
        <p:nvPicPr>
          <p:cNvPr id="10" name="Graphic 9">
            <a:extLst>
              <a:ext uri="{FF2B5EF4-FFF2-40B4-BE49-F238E27FC236}">
                <a16:creationId xmlns:a16="http://schemas.microsoft.com/office/drawing/2014/main" id="{8FDD5ED0-7EC3-6D67-4E92-14B969FAAF5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89550" y="820002"/>
            <a:ext cx="1612900" cy="1612900"/>
          </a:xfrm>
          <a:prstGeom prst="rect">
            <a:avLst/>
          </a:prstGeom>
        </p:spPr>
      </p:pic>
    </p:spTree>
    <p:extLst>
      <p:ext uri="{BB962C8B-B14F-4D97-AF65-F5344CB8AC3E}">
        <p14:creationId xmlns:p14="http://schemas.microsoft.com/office/powerpoint/2010/main" val="3344175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5D910A"/>
        </a:solidFill>
        <a:effectLst/>
      </p:bgPr>
    </p:bg>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3CBAF62-95D1-2973-63C7-676C344ABBDD}"/>
              </a:ext>
            </a:extLst>
          </p:cNvPr>
          <p:cNvGraphicFramePr>
            <a:graphicFrameLocks/>
          </p:cNvGraphicFramePr>
          <p:nvPr>
            <p:custDataLst>
              <p:tags r:id="rId1"/>
            </p:custDataLst>
            <p:extLst>
              <p:ext uri="{D42A27DB-BD31-4B8C-83A1-F6EECF244321}">
                <p14:modId xmlns:p14="http://schemas.microsoft.com/office/powerpoint/2010/main" val="1005410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18" name="think-cell data - do not delete" hidden="1">
                        <a:extLst>
                          <a:ext uri="{FF2B5EF4-FFF2-40B4-BE49-F238E27FC236}">
                            <a16:creationId xmlns:a16="http://schemas.microsoft.com/office/drawing/2014/main" id="{13CBAF62-95D1-2973-63C7-676C344ABB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7" name="Rectangle: Rounded Corners 76">
            <a:extLst>
              <a:ext uri="{FF2B5EF4-FFF2-40B4-BE49-F238E27FC236}">
                <a16:creationId xmlns:a16="http://schemas.microsoft.com/office/drawing/2014/main" id="{AA222877-3029-AC2F-03DD-8B1EF51BD82E}"/>
              </a:ext>
            </a:extLst>
          </p:cNvPr>
          <p:cNvSpPr/>
          <p:nvPr/>
        </p:nvSpPr>
        <p:spPr>
          <a:xfrm>
            <a:off x="304800" y="1371601"/>
            <a:ext cx="11582400" cy="4762500"/>
          </a:xfrm>
          <a:prstGeom prst="roundRect">
            <a:avLst>
              <a:gd name="adj" fmla="val 4065"/>
            </a:avLst>
          </a:prstGeom>
          <a:solidFill>
            <a:srgbClr val="2B660F"/>
          </a:solidFill>
          <a:ln w="6350">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14151" tIns="214151" rIns="214151" bIns="214151" numCol="1" spcCol="1270" anchor="ctr" anchorCtr="0">
            <a:noAutofit/>
          </a:bodyPr>
          <a:lstStyle/>
          <a:p>
            <a:pPr defTabSz="1911350">
              <a:lnSpc>
                <a:spcPct val="90000"/>
              </a:lnSpc>
              <a:spcBef>
                <a:spcPct val="0"/>
              </a:spcBef>
              <a:spcAft>
                <a:spcPct val="35000"/>
              </a:spcAft>
            </a:pPr>
            <a:endParaRPr lang="en-US" sz="2000">
              <a:solidFill>
                <a:schemeClr val="bg1"/>
              </a:solidFill>
            </a:endParaRPr>
          </a:p>
        </p:txBody>
      </p:sp>
      <p:sp>
        <p:nvSpPr>
          <p:cNvPr id="78" name="Rectangle: Rounded Corners 77">
            <a:extLst>
              <a:ext uri="{FF2B5EF4-FFF2-40B4-BE49-F238E27FC236}">
                <a16:creationId xmlns:a16="http://schemas.microsoft.com/office/drawing/2014/main" id="{5513BC9F-8CB0-778F-970E-3B2AF339E262}"/>
              </a:ext>
            </a:extLst>
          </p:cNvPr>
          <p:cNvSpPr/>
          <p:nvPr/>
        </p:nvSpPr>
        <p:spPr>
          <a:xfrm>
            <a:off x="6073140" y="1421131"/>
            <a:ext cx="45720" cy="4663440"/>
          </a:xfrm>
          <a:prstGeom prst="roundRect">
            <a:avLst>
              <a:gd name="adj" fmla="val 50000"/>
            </a:avLst>
          </a:prstGeom>
          <a:solidFill>
            <a:srgbClr val="5D91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phic 26">
            <a:extLst>
              <a:ext uri="{FF2B5EF4-FFF2-40B4-BE49-F238E27FC236}">
                <a16:creationId xmlns:a16="http://schemas.microsoft.com/office/drawing/2014/main" id="{26EBE4ED-E191-BD9A-BC74-199E9B94F263}"/>
              </a:ext>
            </a:extLst>
          </p:cNvPr>
          <p:cNvPicPr/>
          <p:nvPr/>
        </p:nvPicPr>
        <p:blipFill>
          <a:blip r:embed="rId5">
            <a:extLst>
              <a:ext uri="{96DAC541-7B7A-43D3-8B79-37D633B846F1}">
                <asvg:svgBlip xmlns:asvg="http://schemas.microsoft.com/office/drawing/2016/SVG/main" r:embed="rId6"/>
              </a:ext>
            </a:extLst>
          </a:blip>
          <a:srcRect l="8611" t="11392" r="56210" b="6663"/>
          <a:stretch>
            <a:fillRect/>
          </a:stretch>
        </p:blipFill>
        <p:spPr>
          <a:xfrm flipH="1">
            <a:off x="10833100" y="5245492"/>
            <a:ext cx="1357471" cy="1610737"/>
          </a:xfrm>
          <a:prstGeom prst="rect">
            <a:avLst/>
          </a:prstGeom>
        </p:spPr>
      </p:pic>
      <p:pic>
        <p:nvPicPr>
          <p:cNvPr id="43" name="Picture 42">
            <a:extLst>
              <a:ext uri="{FF2B5EF4-FFF2-40B4-BE49-F238E27FC236}">
                <a16:creationId xmlns:a16="http://schemas.microsoft.com/office/drawing/2014/main" id="{824F36C5-A408-0E8C-F577-D71BA85306A9}"/>
              </a:ext>
            </a:extLst>
          </p:cNvPr>
          <p:cNvPicPr>
            <a:picLocks noChangeAspect="1"/>
          </p:cNvPicPr>
          <p:nvPr/>
        </p:nvPicPr>
        <p:blipFill rotWithShape="1">
          <a:blip r:embed="rId7"/>
          <a:srcRect t="7964" b="74305"/>
          <a:stretch>
            <a:fillRect/>
          </a:stretch>
        </p:blipFill>
        <p:spPr>
          <a:xfrm>
            <a:off x="0" y="0"/>
            <a:ext cx="12192000" cy="1216025"/>
          </a:xfrm>
          <a:prstGeom prst="rect">
            <a:avLst/>
          </a:prstGeom>
        </p:spPr>
      </p:pic>
      <p:sp>
        <p:nvSpPr>
          <p:cNvPr id="44" name="Rectangle 43">
            <a:extLst>
              <a:ext uri="{FF2B5EF4-FFF2-40B4-BE49-F238E27FC236}">
                <a16:creationId xmlns:a16="http://schemas.microsoft.com/office/drawing/2014/main" id="{19728E84-A2FF-F0AF-95BB-CF692F5F1D69}"/>
              </a:ext>
            </a:extLst>
          </p:cNvPr>
          <p:cNvSpPr/>
          <p:nvPr/>
        </p:nvSpPr>
        <p:spPr>
          <a:xfrm>
            <a:off x="0" y="0"/>
            <a:ext cx="12192000" cy="1219200"/>
          </a:xfrm>
          <a:prstGeom prst="rect">
            <a:avLst/>
          </a:prstGeom>
          <a:solidFill>
            <a:schemeClr val="accent3">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5903EE2C-70F7-D0C6-0F15-377B15C53D38}"/>
              </a:ext>
            </a:extLst>
          </p:cNvPr>
          <p:cNvSpPr txBox="1"/>
          <p:nvPr/>
        </p:nvSpPr>
        <p:spPr>
          <a:xfrm>
            <a:off x="6610350" y="1463675"/>
            <a:ext cx="5191124" cy="1174681"/>
          </a:xfrm>
          <a:prstGeom prst="rect">
            <a:avLst/>
          </a:prstGeom>
          <a:noFill/>
        </p:spPr>
        <p:txBody>
          <a:bodyPr wrap="square" rtlCol="0">
            <a:noAutofit/>
          </a:bodyPr>
          <a:lstStyle/>
          <a:p>
            <a:pPr>
              <a:spcBef>
                <a:spcPts val="400"/>
              </a:spcBef>
            </a:pPr>
            <a:r>
              <a:rPr lang="en-US" sz="1200" b="1">
                <a:solidFill>
                  <a:schemeClr val="accent4"/>
                </a:solidFill>
                <a:latin typeface="+mj-lt"/>
              </a:rPr>
              <a:t>MATERIAL RECOVERY FACILITY (MRF)</a:t>
            </a:r>
          </a:p>
          <a:p>
            <a:pPr>
              <a:spcBef>
                <a:spcPts val="400"/>
              </a:spcBef>
            </a:pPr>
            <a:r>
              <a:rPr lang="en-US" sz="1100">
                <a:solidFill>
                  <a:schemeClr val="bg1"/>
                </a:solidFill>
                <a:ea typeface="Calibri" panose="020F0502020204030204" pitchFamily="34" charset="0"/>
                <a:cs typeface="Times New Roman" panose="02020603050405020304" pitchFamily="18" charset="0"/>
              </a:rPr>
              <a:t>A facility where source-separated recyclables are either stored until large enough volumes are collected to be shipped to a buyer or processor, or they are processed to meet the specifications of recycling markets.</a:t>
            </a:r>
          </a:p>
        </p:txBody>
      </p:sp>
      <p:sp>
        <p:nvSpPr>
          <p:cNvPr id="58" name="TextBox 57">
            <a:extLst>
              <a:ext uri="{FF2B5EF4-FFF2-40B4-BE49-F238E27FC236}">
                <a16:creationId xmlns:a16="http://schemas.microsoft.com/office/drawing/2014/main" id="{2F2BB5E2-B338-64B9-ABCE-E7EAA80D0D03}"/>
              </a:ext>
            </a:extLst>
          </p:cNvPr>
          <p:cNvSpPr txBox="1"/>
          <p:nvPr/>
        </p:nvSpPr>
        <p:spPr>
          <a:xfrm>
            <a:off x="731996" y="1463675"/>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CIRCULAR ECONOMY</a:t>
            </a:r>
          </a:p>
          <a:p>
            <a:pPr>
              <a:spcBef>
                <a:spcPts val="400"/>
              </a:spcBef>
            </a:pPr>
            <a:r>
              <a:rPr lang="en-US" sz="1100">
                <a:solidFill>
                  <a:schemeClr val="bg1"/>
                </a:solidFill>
                <a:ea typeface="Calibri" panose="020F0502020204030204" pitchFamily="34" charset="0"/>
                <a:cs typeface="Times New Roman" panose="02020603050405020304" pitchFamily="18" charset="0"/>
              </a:rPr>
              <a:t>A system that puts back what it takes from the pool of global raw materials, keeping resources in use, for example recycling PET plastic bottles into </a:t>
            </a:r>
            <a:r>
              <a:rPr lang="en-US" sz="1100" err="1">
                <a:solidFill>
                  <a:schemeClr val="bg1"/>
                </a:solidFill>
                <a:ea typeface="Calibri" panose="020F0502020204030204" pitchFamily="34" charset="0"/>
                <a:cs typeface="Times New Roman" panose="02020603050405020304" pitchFamily="18" charset="0"/>
              </a:rPr>
              <a:t>rPET</a:t>
            </a:r>
            <a:r>
              <a:rPr lang="en-US" sz="1100">
                <a:solidFill>
                  <a:schemeClr val="bg1"/>
                </a:solidFill>
                <a:ea typeface="Calibri" panose="020F0502020204030204" pitchFamily="34" charset="0"/>
                <a:cs typeface="Times New Roman" panose="02020603050405020304" pitchFamily="18" charset="0"/>
              </a:rPr>
              <a:t> and using that material to make new bottles, reducing the need for virgin materials.</a:t>
            </a:r>
          </a:p>
        </p:txBody>
      </p:sp>
      <p:pic>
        <p:nvPicPr>
          <p:cNvPr id="76" name="Graphic 75">
            <a:extLst>
              <a:ext uri="{FF2B5EF4-FFF2-40B4-BE49-F238E27FC236}">
                <a16:creationId xmlns:a16="http://schemas.microsoft.com/office/drawing/2014/main" id="{7A5A0D2A-4FE9-B960-19A3-9F2660650D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4800" y="140391"/>
            <a:ext cx="618170" cy="618170"/>
          </a:xfrm>
          <a:prstGeom prst="rect">
            <a:avLst/>
          </a:prstGeom>
        </p:spPr>
      </p:pic>
      <p:sp>
        <p:nvSpPr>
          <p:cNvPr id="4" name="Title 3">
            <a:extLst>
              <a:ext uri="{FF2B5EF4-FFF2-40B4-BE49-F238E27FC236}">
                <a16:creationId xmlns:a16="http://schemas.microsoft.com/office/drawing/2014/main" id="{B15D0B8F-4376-9D46-9B62-21EEFCE8C7CD}"/>
              </a:ext>
            </a:extLst>
          </p:cNvPr>
          <p:cNvSpPr>
            <a:spLocks noGrp="1"/>
          </p:cNvSpPr>
          <p:nvPr>
            <p:ph type="title"/>
          </p:nvPr>
        </p:nvSpPr>
        <p:spPr>
          <a:xfrm>
            <a:off x="304798" y="246888"/>
            <a:ext cx="11585448" cy="969264"/>
          </a:xfrm>
        </p:spPr>
        <p:txBody>
          <a:bodyPr vert="horz" lIns="822960" rIns="91440"/>
          <a:lstStyle/>
          <a:p>
            <a:r>
              <a:rPr lang="en-US" b="1" cap="none">
                <a:solidFill>
                  <a:srgbClr val="8DBD29"/>
                </a:solidFill>
              </a:rPr>
              <a:t>WASTE &amp; CIRCULARITY</a:t>
            </a:r>
            <a:endParaRPr lang="en-MX" b="1" cap="none">
              <a:solidFill>
                <a:srgbClr val="8DBD29"/>
              </a:solidFill>
            </a:endParaRPr>
          </a:p>
        </p:txBody>
      </p:sp>
      <p:grpSp>
        <p:nvGrpSpPr>
          <p:cNvPr id="82" name="Group 81">
            <a:extLst>
              <a:ext uri="{FF2B5EF4-FFF2-40B4-BE49-F238E27FC236}">
                <a16:creationId xmlns:a16="http://schemas.microsoft.com/office/drawing/2014/main" id="{356CA042-B144-AB6A-3EA4-F27C69D2ECF7}"/>
              </a:ext>
            </a:extLst>
          </p:cNvPr>
          <p:cNvGrpSpPr/>
          <p:nvPr/>
        </p:nvGrpSpPr>
        <p:grpSpPr>
          <a:xfrm>
            <a:off x="372424" y="1440815"/>
            <a:ext cx="354334" cy="354334"/>
            <a:chOff x="372424" y="1440815"/>
            <a:chExt cx="354334" cy="354334"/>
          </a:xfrm>
        </p:grpSpPr>
        <p:sp>
          <p:nvSpPr>
            <p:cNvPr id="62" name="Oval 61">
              <a:extLst>
                <a:ext uri="{FF2B5EF4-FFF2-40B4-BE49-F238E27FC236}">
                  <a16:creationId xmlns:a16="http://schemas.microsoft.com/office/drawing/2014/main" id="{D0EE41BC-962D-47D3-8278-6013519E19EB}"/>
                </a:ext>
              </a:extLst>
            </p:cNvPr>
            <p:cNvSpPr/>
            <p:nvPr/>
          </p:nvSpPr>
          <p:spPr>
            <a:xfrm>
              <a:off x="372424"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Graphic 79">
              <a:extLst>
                <a:ext uri="{FF2B5EF4-FFF2-40B4-BE49-F238E27FC236}">
                  <a16:creationId xmlns:a16="http://schemas.microsoft.com/office/drawing/2014/main" id="{1F7E3736-FE20-18CF-0399-EA14BD3FB835}"/>
                </a:ext>
              </a:extLst>
            </p:cNvPr>
            <p:cNvSpPr/>
            <p:nvPr/>
          </p:nvSpPr>
          <p:spPr>
            <a:xfrm>
              <a:off x="433538" y="1501984"/>
              <a:ext cx="232107" cy="231997"/>
            </a:xfrm>
            <a:custGeom>
              <a:avLst/>
              <a:gdLst>
                <a:gd name="csX0" fmla="*/ 2624755 w 4400522"/>
                <a:gd name="csY0" fmla="*/ 1774659 h 4398441"/>
                <a:gd name="csX1" fmla="*/ 1775601 w 4400522"/>
                <a:gd name="csY1" fmla="*/ 1774659 h 4398441"/>
                <a:gd name="csX2" fmla="*/ 1775601 w 4400522"/>
                <a:gd name="csY2" fmla="*/ 2623813 h 4398441"/>
                <a:gd name="csX3" fmla="*/ 2624755 w 4400522"/>
                <a:gd name="csY3" fmla="*/ 2623813 h 4398441"/>
                <a:gd name="csX4" fmla="*/ 2624755 w 4400522"/>
                <a:gd name="csY4" fmla="*/ 1774659 h 4398441"/>
                <a:gd name="csX5" fmla="*/ 1491280 w 4400522"/>
                <a:gd name="csY5" fmla="*/ 2289581 h 4398441"/>
                <a:gd name="csX6" fmla="*/ 1506139 w 4400522"/>
                <a:gd name="csY6" fmla="*/ 2027643 h 4398441"/>
                <a:gd name="csX7" fmla="*/ 1008838 w 4400522"/>
                <a:gd name="csY7" fmla="*/ 2007641 h 4398441"/>
                <a:gd name="csX8" fmla="*/ 1257250 w 4400522"/>
                <a:gd name="csY8" fmla="*/ 2951568 h 4398441"/>
                <a:gd name="csX9" fmla="*/ 1426510 w 4400522"/>
                <a:gd name="csY9" fmla="*/ 2722587 h 4398441"/>
                <a:gd name="csX10" fmla="*/ 1404888 w 4400522"/>
                <a:gd name="csY10" fmla="*/ 2722301 h 4398441"/>
                <a:gd name="csX11" fmla="*/ 1414318 w 4400522"/>
                <a:gd name="csY11" fmla="*/ 2312441 h 4398441"/>
                <a:gd name="csX12" fmla="*/ 1491280 w 4400522"/>
                <a:gd name="csY12" fmla="*/ 2289581 h 4398441"/>
                <a:gd name="csX13" fmla="*/ 2841830 w 4400522"/>
                <a:gd name="csY13" fmla="*/ 1884006 h 4398441"/>
                <a:gd name="csX14" fmla="*/ 2705527 w 4400522"/>
                <a:gd name="csY14" fmla="*/ 2704490 h 4398441"/>
                <a:gd name="csX15" fmla="*/ 1694924 w 4400522"/>
                <a:gd name="csY15" fmla="*/ 2704490 h 4398441"/>
                <a:gd name="csX16" fmla="*/ 1515378 w 4400522"/>
                <a:gd name="csY16" fmla="*/ 2403690 h 4398441"/>
                <a:gd name="csX17" fmla="*/ 1427367 w 4400522"/>
                <a:gd name="csY17" fmla="*/ 2425788 h 4398441"/>
                <a:gd name="csX18" fmla="*/ 1400602 w 4400522"/>
                <a:gd name="csY18" fmla="*/ 2608287 h 4398441"/>
                <a:gd name="csX19" fmla="*/ 1541572 w 4400522"/>
                <a:gd name="csY19" fmla="*/ 2721158 h 4398441"/>
                <a:gd name="csX20" fmla="*/ 1332593 w 4400522"/>
                <a:gd name="csY20" fmla="*/ 3037293 h 4398441"/>
                <a:gd name="csX21" fmla="*/ 3053570 w 4400522"/>
                <a:gd name="csY21" fmla="*/ 3052152 h 4398441"/>
                <a:gd name="csX22" fmla="*/ 3382183 w 4400522"/>
                <a:gd name="csY22" fmla="*/ 2442266 h 4398441"/>
                <a:gd name="csX23" fmla="*/ 3165680 w 4400522"/>
                <a:gd name="csY23" fmla="*/ 2171471 h 4398441"/>
                <a:gd name="csX24" fmla="*/ 2841830 w 4400522"/>
                <a:gd name="csY24" fmla="*/ 1884006 h 4398441"/>
                <a:gd name="csX25" fmla="*/ 2518360 w 4400522"/>
                <a:gd name="csY25" fmla="*/ 1558918 h 4398441"/>
                <a:gd name="csX26" fmla="*/ 2746770 w 4400522"/>
                <a:gd name="csY26" fmla="*/ 1738750 h 4398441"/>
                <a:gd name="csX27" fmla="*/ 3279217 w 4400522"/>
                <a:gd name="csY27" fmla="*/ 2175567 h 4398441"/>
                <a:gd name="csX28" fmla="*/ 3399899 w 4400522"/>
                <a:gd name="csY28" fmla="*/ 2328919 h 4398441"/>
                <a:gd name="csX29" fmla="*/ 2675999 w 4400522"/>
                <a:gd name="csY29" fmla="*/ 1090193 h 4398441"/>
                <a:gd name="csX30" fmla="*/ 2595799 w 4400522"/>
                <a:gd name="csY30" fmla="*/ 1234877 h 4398441"/>
                <a:gd name="csX31" fmla="*/ 2558556 w 4400522"/>
                <a:gd name="csY31" fmla="*/ 1405280 h 4398441"/>
                <a:gd name="csX32" fmla="*/ 2518360 w 4400522"/>
                <a:gd name="csY32" fmla="*/ 1558918 h 4398441"/>
                <a:gd name="csX33" fmla="*/ 2200321 w 4400522"/>
                <a:gd name="csY33" fmla="*/ 1484432 h 4398441"/>
                <a:gd name="csX34" fmla="*/ 2397679 w 4400522"/>
                <a:gd name="csY34" fmla="*/ 1512245 h 4398441"/>
                <a:gd name="csX35" fmla="*/ 2446828 w 4400522"/>
                <a:gd name="csY35" fmla="*/ 1429378 h 4398441"/>
                <a:gd name="csX36" fmla="*/ 2496739 w 4400522"/>
                <a:gd name="csY36" fmla="*/ 1178299 h 4398441"/>
                <a:gd name="csX37" fmla="*/ 2568272 w 4400522"/>
                <a:gd name="csY37" fmla="*/ 1050092 h 4398441"/>
                <a:gd name="csX38" fmla="*/ 1033318 w 4400522"/>
                <a:gd name="csY38" fmla="*/ 1891721 h 4398441"/>
                <a:gd name="csX39" fmla="*/ 1505281 w 4400522"/>
                <a:gd name="csY39" fmla="*/ 1907152 h 4398441"/>
                <a:gd name="csX40" fmla="*/ 1559288 w 4400522"/>
                <a:gd name="csY40" fmla="*/ 1883149 h 4398441"/>
                <a:gd name="csX41" fmla="*/ 1694829 w 4400522"/>
                <a:gd name="csY41" fmla="*/ 1694173 h 4398441"/>
                <a:gd name="csX42" fmla="*/ 2200321 w 4400522"/>
                <a:gd name="csY42" fmla="*/ 1484432 h 4398441"/>
                <a:gd name="csX43" fmla="*/ 1925143 w 4400522"/>
                <a:gd name="csY43" fmla="*/ 2361399 h 4398441"/>
                <a:gd name="csX44" fmla="*/ 1982389 w 4400522"/>
                <a:gd name="csY44" fmla="*/ 2304440 h 4398441"/>
                <a:gd name="csX45" fmla="*/ 2039348 w 4400522"/>
                <a:gd name="csY45" fmla="*/ 2361399 h 4398441"/>
                <a:gd name="csX46" fmla="*/ 2320431 w 4400522"/>
                <a:gd name="csY46" fmla="*/ 2430551 h 4398441"/>
                <a:gd name="csX47" fmla="*/ 2360912 w 4400522"/>
                <a:gd name="csY47" fmla="*/ 2361399 h 4398441"/>
                <a:gd name="csX48" fmla="*/ 2190319 w 4400522"/>
                <a:gd name="csY48" fmla="*/ 2255576 h 4398441"/>
                <a:gd name="csX49" fmla="*/ 1925143 w 4400522"/>
                <a:gd name="csY49" fmla="*/ 2036882 h 4398441"/>
                <a:gd name="csX50" fmla="*/ 2143076 w 4400522"/>
                <a:gd name="csY50" fmla="*/ 1822189 h 4398441"/>
                <a:gd name="csX51" fmla="*/ 2143076 w 4400522"/>
                <a:gd name="csY51" fmla="*/ 1766563 h 4398441"/>
                <a:gd name="csX52" fmla="*/ 2200321 w 4400522"/>
                <a:gd name="csY52" fmla="*/ 1709603 h 4398441"/>
                <a:gd name="csX53" fmla="*/ 2257280 w 4400522"/>
                <a:gd name="csY53" fmla="*/ 1766563 h 4398441"/>
                <a:gd name="csX54" fmla="*/ 2257280 w 4400522"/>
                <a:gd name="csY54" fmla="*/ 1822189 h 4398441"/>
                <a:gd name="csX55" fmla="*/ 2475212 w 4400522"/>
                <a:gd name="csY55" fmla="*/ 2036882 h 4398441"/>
                <a:gd name="csX56" fmla="*/ 2418253 w 4400522"/>
                <a:gd name="csY56" fmla="*/ 2094128 h 4398441"/>
                <a:gd name="csX57" fmla="*/ 2361007 w 4400522"/>
                <a:gd name="csY57" fmla="*/ 2036882 h 4398441"/>
                <a:gd name="csX58" fmla="*/ 2080210 w 4400522"/>
                <a:gd name="csY58" fmla="*/ 1968017 h 4398441"/>
                <a:gd name="csX59" fmla="*/ 2039443 w 4400522"/>
                <a:gd name="csY59" fmla="*/ 2036882 h 4398441"/>
                <a:gd name="csX60" fmla="*/ 2210036 w 4400522"/>
                <a:gd name="csY60" fmla="*/ 2142991 h 4398441"/>
                <a:gd name="csX61" fmla="*/ 2475212 w 4400522"/>
                <a:gd name="csY61" fmla="*/ 2361399 h 4398441"/>
                <a:gd name="csX62" fmla="*/ 2257280 w 4400522"/>
                <a:gd name="csY62" fmla="*/ 2576093 h 4398441"/>
                <a:gd name="csX63" fmla="*/ 2257280 w 4400522"/>
                <a:gd name="csY63" fmla="*/ 2631719 h 4398441"/>
                <a:gd name="csX64" fmla="*/ 2200321 w 4400522"/>
                <a:gd name="csY64" fmla="*/ 2688964 h 4398441"/>
                <a:gd name="csX65" fmla="*/ 2143076 w 4400522"/>
                <a:gd name="csY65" fmla="*/ 2631719 h 4398441"/>
                <a:gd name="csX66" fmla="*/ 2143076 w 4400522"/>
                <a:gd name="csY66" fmla="*/ 2576093 h 4398441"/>
                <a:gd name="csX67" fmla="*/ 1925143 w 4400522"/>
                <a:gd name="csY67" fmla="*/ 2361399 h 4398441"/>
                <a:gd name="csX68" fmla="*/ 16810 w 4400522"/>
                <a:gd name="csY68" fmla="*/ 1930202 h 4398441"/>
                <a:gd name="csX69" fmla="*/ 584119 w 4400522"/>
                <a:gd name="csY69" fmla="*/ 709574 h 4398441"/>
                <a:gd name="csX70" fmla="*/ 458008 w 4400522"/>
                <a:gd name="csY70" fmla="*/ 583367 h 4398441"/>
                <a:gd name="csX71" fmla="*/ 483630 w 4400522"/>
                <a:gd name="csY71" fmla="*/ 487832 h 4398441"/>
                <a:gd name="csX72" fmla="*/ 1182098 w 4400522"/>
                <a:gd name="csY72" fmla="*/ 300761 h 4398441"/>
                <a:gd name="csX73" fmla="*/ 1252583 w 4400522"/>
                <a:gd name="csY73" fmla="*/ 370388 h 4398441"/>
                <a:gd name="csX74" fmla="*/ 1065988 w 4400522"/>
                <a:gd name="csY74" fmla="*/ 1066761 h 4398441"/>
                <a:gd name="csX75" fmla="*/ 969595 w 4400522"/>
                <a:gd name="csY75" fmla="*/ 1095336 h 4398441"/>
                <a:gd name="csX76" fmla="*/ 856724 w 4400522"/>
                <a:gd name="csY76" fmla="*/ 982179 h 4398441"/>
                <a:gd name="csX77" fmla="*/ 628886 w 4400522"/>
                <a:gd name="csY77" fmla="*/ 3105492 h 4398441"/>
                <a:gd name="csX78" fmla="*/ 2802967 w 4400522"/>
                <a:gd name="csY78" fmla="*/ 3910069 h 4398441"/>
                <a:gd name="csX79" fmla="*/ 2875834 w 4400522"/>
                <a:gd name="csY79" fmla="*/ 3945692 h 4398441"/>
                <a:gd name="csX80" fmla="*/ 2962225 w 4400522"/>
                <a:gd name="csY80" fmla="*/ 4202963 h 4398441"/>
                <a:gd name="csX81" fmla="*/ 2926888 w 4400522"/>
                <a:gd name="csY81" fmla="*/ 4274781 h 4398441"/>
                <a:gd name="csX82" fmla="*/ 295511 w 4400522"/>
                <a:gd name="csY82" fmla="*/ 3298183 h 4398441"/>
                <a:gd name="csX83" fmla="*/ 16810 w 4400522"/>
                <a:gd name="csY83" fmla="*/ 1930202 h 4398441"/>
                <a:gd name="csX84" fmla="*/ 4383832 w 4400522"/>
                <a:gd name="csY84" fmla="*/ 2466936 h 4398441"/>
                <a:gd name="csX85" fmla="*/ 3817951 w 4400522"/>
                <a:gd name="csY85" fmla="*/ 3689470 h 4398441"/>
                <a:gd name="csX86" fmla="*/ 3944063 w 4400522"/>
                <a:gd name="csY86" fmla="*/ 3815581 h 4398441"/>
                <a:gd name="csX87" fmla="*/ 3918440 w 4400522"/>
                <a:gd name="csY87" fmla="*/ 3911117 h 4398441"/>
                <a:gd name="csX88" fmla="*/ 3219972 w 4400522"/>
                <a:gd name="csY88" fmla="*/ 4098188 h 4398441"/>
                <a:gd name="csX89" fmla="*/ 3149487 w 4400522"/>
                <a:gd name="csY89" fmla="*/ 4028560 h 4398441"/>
                <a:gd name="csX90" fmla="*/ 3336082 w 4400522"/>
                <a:gd name="csY90" fmla="*/ 3332187 h 4398441"/>
                <a:gd name="csX91" fmla="*/ 3432475 w 4400522"/>
                <a:gd name="csY91" fmla="*/ 3303803 h 4398441"/>
                <a:gd name="csX92" fmla="*/ 3545346 w 4400522"/>
                <a:gd name="csY92" fmla="*/ 3416674 h 4398441"/>
                <a:gd name="csX93" fmla="*/ 3771850 w 4400522"/>
                <a:gd name="csY93" fmla="*/ 1291265 h 4398441"/>
                <a:gd name="csX94" fmla="*/ 1599007 w 4400522"/>
                <a:gd name="csY94" fmla="*/ 488879 h 4398441"/>
                <a:gd name="csX95" fmla="*/ 1526141 w 4400522"/>
                <a:gd name="csY95" fmla="*/ 453256 h 4398441"/>
                <a:gd name="csX96" fmla="*/ 1439749 w 4400522"/>
                <a:gd name="csY96" fmla="*/ 195986 h 4398441"/>
                <a:gd name="csX97" fmla="*/ 1475087 w 4400522"/>
                <a:gd name="csY97" fmla="*/ 124167 h 4398441"/>
                <a:gd name="csX98" fmla="*/ 4105416 w 4400522"/>
                <a:gd name="csY98" fmla="*/ 1098575 h 4398441"/>
                <a:gd name="csX99" fmla="*/ 4383832 w 4400522"/>
                <a:gd name="csY99" fmla="*/ 2466936 h 43984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Lst>
              <a:rect l="l" t="t" r="r" b="b"/>
              <a:pathLst>
                <a:path w="4400522" h="4398441">
                  <a:moveTo>
                    <a:pt x="2624755" y="1774659"/>
                  </a:moveTo>
                  <a:cubicBezTo>
                    <a:pt x="2390440" y="1540344"/>
                    <a:pt x="2010202" y="1540344"/>
                    <a:pt x="1775601" y="1774659"/>
                  </a:cubicBezTo>
                  <a:cubicBezTo>
                    <a:pt x="1541286" y="2008974"/>
                    <a:pt x="1541286" y="2389212"/>
                    <a:pt x="1775601" y="2623813"/>
                  </a:cubicBezTo>
                  <a:cubicBezTo>
                    <a:pt x="2010202" y="2858128"/>
                    <a:pt x="2390345" y="2858128"/>
                    <a:pt x="2624755" y="2623813"/>
                  </a:cubicBezTo>
                  <a:cubicBezTo>
                    <a:pt x="2859165" y="2389212"/>
                    <a:pt x="2859165" y="2008974"/>
                    <a:pt x="2624755" y="1774659"/>
                  </a:cubicBezTo>
                  <a:close/>
                  <a:moveTo>
                    <a:pt x="1491280" y="2289581"/>
                  </a:moveTo>
                  <a:cubicBezTo>
                    <a:pt x="1480231" y="2201855"/>
                    <a:pt x="1485374" y="2112701"/>
                    <a:pt x="1506139" y="2027643"/>
                  </a:cubicBezTo>
                  <a:cubicBezTo>
                    <a:pt x="1348500" y="2072696"/>
                    <a:pt x="1162953" y="1990400"/>
                    <a:pt x="1008838" y="2007641"/>
                  </a:cubicBezTo>
                  <a:cubicBezTo>
                    <a:pt x="954260" y="2350541"/>
                    <a:pt x="1048843" y="2690774"/>
                    <a:pt x="1257250" y="2951568"/>
                  </a:cubicBezTo>
                  <a:cubicBezTo>
                    <a:pt x="1309924" y="2895656"/>
                    <a:pt x="1411651" y="2781166"/>
                    <a:pt x="1426510" y="2722587"/>
                  </a:cubicBezTo>
                  <a:cubicBezTo>
                    <a:pt x="1421080" y="2722016"/>
                    <a:pt x="1414127" y="2721825"/>
                    <a:pt x="1404888" y="2722301"/>
                  </a:cubicBezTo>
                  <a:cubicBezTo>
                    <a:pt x="1178383" y="2732017"/>
                    <a:pt x="1142760" y="2343492"/>
                    <a:pt x="1414318" y="2312441"/>
                  </a:cubicBezTo>
                  <a:cubicBezTo>
                    <a:pt x="1441654" y="2309202"/>
                    <a:pt x="1466991" y="2301106"/>
                    <a:pt x="1491280" y="2289581"/>
                  </a:cubicBezTo>
                  <a:close/>
                  <a:moveTo>
                    <a:pt x="2841830" y="1884006"/>
                  </a:moveTo>
                  <a:cubicBezTo>
                    <a:pt x="2977370" y="2159374"/>
                    <a:pt x="2920697" y="2489320"/>
                    <a:pt x="2705527" y="2704490"/>
                  </a:cubicBezTo>
                  <a:cubicBezTo>
                    <a:pt x="2426635" y="2983667"/>
                    <a:pt x="1974102" y="2983667"/>
                    <a:pt x="1694924" y="2704490"/>
                  </a:cubicBezTo>
                  <a:cubicBezTo>
                    <a:pt x="1612342" y="2621622"/>
                    <a:pt x="1549668" y="2518752"/>
                    <a:pt x="1515378" y="2403690"/>
                  </a:cubicBezTo>
                  <a:cubicBezTo>
                    <a:pt x="1486993" y="2414454"/>
                    <a:pt x="1459180" y="2422073"/>
                    <a:pt x="1427367" y="2425788"/>
                  </a:cubicBezTo>
                  <a:cubicBezTo>
                    <a:pt x="1299351" y="2440362"/>
                    <a:pt x="1321258" y="2611812"/>
                    <a:pt x="1400602" y="2608287"/>
                  </a:cubicBezTo>
                  <a:cubicBezTo>
                    <a:pt x="1480231" y="2604763"/>
                    <a:pt x="1546715" y="2638291"/>
                    <a:pt x="1541572" y="2721158"/>
                  </a:cubicBezTo>
                  <a:cubicBezTo>
                    <a:pt x="1535666" y="2818599"/>
                    <a:pt x="1404697" y="2961950"/>
                    <a:pt x="1332593" y="3037293"/>
                  </a:cubicBezTo>
                  <a:cubicBezTo>
                    <a:pt x="1801318" y="3522211"/>
                    <a:pt x="2576463" y="3529259"/>
                    <a:pt x="3053570" y="3052152"/>
                  </a:cubicBezTo>
                  <a:cubicBezTo>
                    <a:pt x="3217210" y="2888513"/>
                    <a:pt x="3334081" y="2677915"/>
                    <a:pt x="3382183" y="2442266"/>
                  </a:cubicBezTo>
                  <a:cubicBezTo>
                    <a:pt x="3258834" y="2410929"/>
                    <a:pt x="3162155" y="2304059"/>
                    <a:pt x="3165680" y="2171471"/>
                  </a:cubicBezTo>
                  <a:cubicBezTo>
                    <a:pt x="3169394" y="2018975"/>
                    <a:pt x="2964416" y="1925535"/>
                    <a:pt x="2841830" y="1884006"/>
                  </a:cubicBezTo>
                  <a:close/>
                  <a:moveTo>
                    <a:pt x="2518360" y="1558918"/>
                  </a:moveTo>
                  <a:cubicBezTo>
                    <a:pt x="2666093" y="1632641"/>
                    <a:pt x="2743817" y="1736845"/>
                    <a:pt x="2746770" y="1738750"/>
                  </a:cubicBezTo>
                  <a:cubicBezTo>
                    <a:pt x="2752675" y="1742274"/>
                    <a:pt x="3291600" y="1846763"/>
                    <a:pt x="3279217" y="2175567"/>
                  </a:cubicBezTo>
                  <a:cubicBezTo>
                    <a:pt x="3276550" y="2247671"/>
                    <a:pt x="3332939" y="2307869"/>
                    <a:pt x="3399899" y="2328919"/>
                  </a:cubicBezTo>
                  <a:cubicBezTo>
                    <a:pt x="3457145" y="1793233"/>
                    <a:pt x="3156059" y="1296123"/>
                    <a:pt x="2675999" y="1090193"/>
                  </a:cubicBezTo>
                  <a:lnTo>
                    <a:pt x="2595799" y="1234877"/>
                  </a:lnTo>
                  <a:cubicBezTo>
                    <a:pt x="2541792" y="1328603"/>
                    <a:pt x="2551222" y="1372037"/>
                    <a:pt x="2558556" y="1405280"/>
                  </a:cubicBezTo>
                  <a:cubicBezTo>
                    <a:pt x="2570176" y="1459001"/>
                    <a:pt x="2578558" y="1498434"/>
                    <a:pt x="2518360" y="1558918"/>
                  </a:cubicBezTo>
                  <a:close/>
                  <a:moveTo>
                    <a:pt x="2200321" y="1484432"/>
                  </a:moveTo>
                  <a:cubicBezTo>
                    <a:pt x="2268901" y="1484432"/>
                    <a:pt x="2335004" y="1494148"/>
                    <a:pt x="2397679" y="1512245"/>
                  </a:cubicBezTo>
                  <a:cubicBezTo>
                    <a:pt x="2455210" y="1468240"/>
                    <a:pt x="2451971" y="1452333"/>
                    <a:pt x="2446828" y="1429378"/>
                  </a:cubicBezTo>
                  <a:cubicBezTo>
                    <a:pt x="2435779" y="1377562"/>
                    <a:pt x="2421206" y="1310030"/>
                    <a:pt x="2496739" y="1178299"/>
                  </a:cubicBezTo>
                  <a:lnTo>
                    <a:pt x="2568272" y="1050092"/>
                  </a:lnTo>
                  <a:cubicBezTo>
                    <a:pt x="1907332" y="838447"/>
                    <a:pt x="1207720" y="1228305"/>
                    <a:pt x="1033318" y="1891721"/>
                  </a:cubicBezTo>
                  <a:cubicBezTo>
                    <a:pt x="1195624" y="1885244"/>
                    <a:pt x="1394601" y="1961921"/>
                    <a:pt x="1505281" y="1907152"/>
                  </a:cubicBezTo>
                  <a:lnTo>
                    <a:pt x="1559288" y="1883149"/>
                  </a:lnTo>
                  <a:cubicBezTo>
                    <a:pt x="1593864" y="1812664"/>
                    <a:pt x="1640060" y="1748942"/>
                    <a:pt x="1694829" y="1694173"/>
                  </a:cubicBezTo>
                  <a:cubicBezTo>
                    <a:pt x="1824178" y="1564633"/>
                    <a:pt x="2002963" y="1484432"/>
                    <a:pt x="2200321" y="1484432"/>
                  </a:cubicBezTo>
                  <a:close/>
                  <a:moveTo>
                    <a:pt x="1925143" y="2361399"/>
                  </a:moveTo>
                  <a:cubicBezTo>
                    <a:pt x="1925143" y="2329776"/>
                    <a:pt x="1950766" y="2304440"/>
                    <a:pt x="1982389" y="2304440"/>
                  </a:cubicBezTo>
                  <a:cubicBezTo>
                    <a:pt x="2014012" y="2304440"/>
                    <a:pt x="2039348" y="2329776"/>
                    <a:pt x="2039348" y="2361399"/>
                  </a:cubicBezTo>
                  <a:cubicBezTo>
                    <a:pt x="2039348" y="2453220"/>
                    <a:pt x="2218323" y="2506370"/>
                    <a:pt x="2320431" y="2430551"/>
                  </a:cubicBezTo>
                  <a:cubicBezTo>
                    <a:pt x="2345577" y="2411882"/>
                    <a:pt x="2360912" y="2387307"/>
                    <a:pt x="2360912" y="2361399"/>
                  </a:cubicBezTo>
                  <a:cubicBezTo>
                    <a:pt x="2360912" y="2285771"/>
                    <a:pt x="2275568" y="2270721"/>
                    <a:pt x="2190319" y="2255576"/>
                  </a:cubicBezTo>
                  <a:cubicBezTo>
                    <a:pt x="2057731" y="2232050"/>
                    <a:pt x="1925143" y="2208332"/>
                    <a:pt x="1925143" y="2036882"/>
                  </a:cubicBezTo>
                  <a:cubicBezTo>
                    <a:pt x="1925143" y="1921058"/>
                    <a:pt x="2030490" y="1841144"/>
                    <a:pt x="2143076" y="1822189"/>
                  </a:cubicBezTo>
                  <a:lnTo>
                    <a:pt x="2143076" y="1766563"/>
                  </a:lnTo>
                  <a:cubicBezTo>
                    <a:pt x="2143076" y="1734940"/>
                    <a:pt x="2168698" y="1709603"/>
                    <a:pt x="2200321" y="1709603"/>
                  </a:cubicBezTo>
                  <a:cubicBezTo>
                    <a:pt x="2231944" y="1709603"/>
                    <a:pt x="2257280" y="1734940"/>
                    <a:pt x="2257280" y="1766563"/>
                  </a:cubicBezTo>
                  <a:lnTo>
                    <a:pt x="2257280" y="1822189"/>
                  </a:lnTo>
                  <a:cubicBezTo>
                    <a:pt x="2369866" y="1841048"/>
                    <a:pt x="2475212" y="1920963"/>
                    <a:pt x="2475212" y="2036882"/>
                  </a:cubicBezTo>
                  <a:cubicBezTo>
                    <a:pt x="2475212" y="2068505"/>
                    <a:pt x="2449876" y="2094128"/>
                    <a:pt x="2418253" y="2094128"/>
                  </a:cubicBezTo>
                  <a:cubicBezTo>
                    <a:pt x="2386630" y="2094128"/>
                    <a:pt x="2361007" y="2068505"/>
                    <a:pt x="2361007" y="2036882"/>
                  </a:cubicBezTo>
                  <a:cubicBezTo>
                    <a:pt x="2361007" y="1945347"/>
                    <a:pt x="2182223" y="1891912"/>
                    <a:pt x="2080210" y="1968017"/>
                  </a:cubicBezTo>
                  <a:cubicBezTo>
                    <a:pt x="2055064" y="1986686"/>
                    <a:pt x="2039443" y="2011260"/>
                    <a:pt x="2039443" y="2036882"/>
                  </a:cubicBezTo>
                  <a:cubicBezTo>
                    <a:pt x="2039443" y="2112797"/>
                    <a:pt x="2124787" y="2127846"/>
                    <a:pt x="2210036" y="2142991"/>
                  </a:cubicBezTo>
                  <a:cubicBezTo>
                    <a:pt x="2342624" y="2166518"/>
                    <a:pt x="2475212" y="2189949"/>
                    <a:pt x="2475212" y="2361399"/>
                  </a:cubicBezTo>
                  <a:cubicBezTo>
                    <a:pt x="2475212" y="2477509"/>
                    <a:pt x="2369866" y="2557138"/>
                    <a:pt x="2257280" y="2576093"/>
                  </a:cubicBezTo>
                  <a:lnTo>
                    <a:pt x="2257280" y="2631719"/>
                  </a:lnTo>
                  <a:cubicBezTo>
                    <a:pt x="2257280" y="2663342"/>
                    <a:pt x="2231944" y="2688964"/>
                    <a:pt x="2200321" y="2688964"/>
                  </a:cubicBezTo>
                  <a:cubicBezTo>
                    <a:pt x="2168698" y="2688964"/>
                    <a:pt x="2143076" y="2663342"/>
                    <a:pt x="2143076" y="2631719"/>
                  </a:cubicBezTo>
                  <a:lnTo>
                    <a:pt x="2143076" y="2576093"/>
                  </a:lnTo>
                  <a:cubicBezTo>
                    <a:pt x="2030490" y="2557138"/>
                    <a:pt x="1925143" y="2477414"/>
                    <a:pt x="1925143" y="2361399"/>
                  </a:cubicBezTo>
                  <a:close/>
                  <a:moveTo>
                    <a:pt x="16810" y="1930202"/>
                  </a:moveTo>
                  <a:cubicBezTo>
                    <a:pt x="72436" y="1482527"/>
                    <a:pt x="265984" y="1054093"/>
                    <a:pt x="584119" y="709574"/>
                  </a:cubicBezTo>
                  <a:lnTo>
                    <a:pt x="458008" y="583367"/>
                  </a:lnTo>
                  <a:cubicBezTo>
                    <a:pt x="427242" y="552602"/>
                    <a:pt x="440767" y="499357"/>
                    <a:pt x="483630" y="487832"/>
                  </a:cubicBezTo>
                  <a:lnTo>
                    <a:pt x="1182098" y="300761"/>
                  </a:lnTo>
                  <a:cubicBezTo>
                    <a:pt x="1225056" y="289140"/>
                    <a:pt x="1263918" y="328002"/>
                    <a:pt x="1252583" y="370388"/>
                  </a:cubicBezTo>
                  <a:lnTo>
                    <a:pt x="1065988" y="1066761"/>
                  </a:lnTo>
                  <a:cubicBezTo>
                    <a:pt x="1054654" y="1113719"/>
                    <a:pt x="1000075" y="1125626"/>
                    <a:pt x="969595" y="1095336"/>
                  </a:cubicBezTo>
                  <a:lnTo>
                    <a:pt x="856724" y="982179"/>
                  </a:lnTo>
                  <a:cubicBezTo>
                    <a:pt x="328372" y="1564538"/>
                    <a:pt x="235218" y="2423693"/>
                    <a:pt x="628886" y="3105492"/>
                  </a:cubicBezTo>
                  <a:cubicBezTo>
                    <a:pt x="1067893" y="3865778"/>
                    <a:pt x="1985056" y="4198962"/>
                    <a:pt x="2802967" y="3910069"/>
                  </a:cubicBezTo>
                  <a:cubicBezTo>
                    <a:pt x="2832971" y="3899782"/>
                    <a:pt x="2865832" y="3915498"/>
                    <a:pt x="2875834" y="3945692"/>
                  </a:cubicBezTo>
                  <a:cubicBezTo>
                    <a:pt x="2904695" y="4031513"/>
                    <a:pt x="2933650" y="4117142"/>
                    <a:pt x="2962225" y="4202963"/>
                  </a:cubicBezTo>
                  <a:cubicBezTo>
                    <a:pt x="2971941" y="4232395"/>
                    <a:pt x="2956320" y="4264494"/>
                    <a:pt x="2926888" y="4274781"/>
                  </a:cubicBezTo>
                  <a:cubicBezTo>
                    <a:pt x="1933525" y="4622253"/>
                    <a:pt x="828149" y="4218870"/>
                    <a:pt x="295511" y="3298183"/>
                  </a:cubicBezTo>
                  <a:cubicBezTo>
                    <a:pt x="47575" y="2869272"/>
                    <a:pt x="-40436" y="2389688"/>
                    <a:pt x="16810" y="1930202"/>
                  </a:cubicBezTo>
                  <a:close/>
                  <a:moveTo>
                    <a:pt x="4383832" y="2466936"/>
                  </a:moveTo>
                  <a:cubicBezTo>
                    <a:pt x="4327920" y="2917850"/>
                    <a:pt x="4133229" y="3347713"/>
                    <a:pt x="3817951" y="3689470"/>
                  </a:cubicBezTo>
                  <a:lnTo>
                    <a:pt x="3944063" y="3815581"/>
                  </a:lnTo>
                  <a:cubicBezTo>
                    <a:pt x="3974828" y="3846347"/>
                    <a:pt x="3961303" y="3899782"/>
                    <a:pt x="3918440" y="3911117"/>
                  </a:cubicBezTo>
                  <a:lnTo>
                    <a:pt x="3219972" y="4098188"/>
                  </a:lnTo>
                  <a:cubicBezTo>
                    <a:pt x="3177014" y="4110094"/>
                    <a:pt x="3138152" y="4070946"/>
                    <a:pt x="3149487" y="4028560"/>
                  </a:cubicBezTo>
                  <a:lnTo>
                    <a:pt x="3336082" y="3332187"/>
                  </a:lnTo>
                  <a:cubicBezTo>
                    <a:pt x="3347416" y="3285229"/>
                    <a:pt x="3401995" y="3273323"/>
                    <a:pt x="3432475" y="3303803"/>
                  </a:cubicBezTo>
                  <a:lnTo>
                    <a:pt x="3545346" y="3416674"/>
                  </a:lnTo>
                  <a:cubicBezTo>
                    <a:pt x="4069983" y="2837840"/>
                    <a:pt x="4168757" y="1978685"/>
                    <a:pt x="3771850" y="1291265"/>
                  </a:cubicBezTo>
                  <a:cubicBezTo>
                    <a:pt x="3336177" y="536695"/>
                    <a:pt x="2422253" y="198081"/>
                    <a:pt x="1599007" y="488879"/>
                  </a:cubicBezTo>
                  <a:cubicBezTo>
                    <a:pt x="1569004" y="499452"/>
                    <a:pt x="1536333" y="483450"/>
                    <a:pt x="1526141" y="453256"/>
                  </a:cubicBezTo>
                  <a:cubicBezTo>
                    <a:pt x="1497280" y="367436"/>
                    <a:pt x="1468896" y="281806"/>
                    <a:pt x="1439749" y="195986"/>
                  </a:cubicBezTo>
                  <a:cubicBezTo>
                    <a:pt x="1430034" y="166553"/>
                    <a:pt x="1445655" y="134454"/>
                    <a:pt x="1475087" y="124167"/>
                  </a:cubicBezTo>
                  <a:cubicBezTo>
                    <a:pt x="2471688" y="-224448"/>
                    <a:pt x="3573826" y="180079"/>
                    <a:pt x="4105416" y="1098575"/>
                  </a:cubicBezTo>
                  <a:cubicBezTo>
                    <a:pt x="4354114" y="1529200"/>
                    <a:pt x="4440506" y="2008974"/>
                    <a:pt x="4383832" y="2466936"/>
                  </a:cubicBezTo>
                  <a:close/>
                </a:path>
              </a:pathLst>
            </a:custGeom>
            <a:solidFill>
              <a:srgbClr val="2B660F"/>
            </a:solidFill>
            <a:ln w="9525" cap="flat">
              <a:noFill/>
              <a:prstDash val="solid"/>
              <a:miter/>
            </a:ln>
          </p:spPr>
          <p:txBody>
            <a:bodyPr/>
            <a:lstStyle/>
            <a:p>
              <a:endParaRPr lang="en-US"/>
            </a:p>
          </p:txBody>
        </p:sp>
      </p:grpSp>
      <p:grpSp>
        <p:nvGrpSpPr>
          <p:cNvPr id="91" name="Group 90">
            <a:extLst>
              <a:ext uri="{FF2B5EF4-FFF2-40B4-BE49-F238E27FC236}">
                <a16:creationId xmlns:a16="http://schemas.microsoft.com/office/drawing/2014/main" id="{C037A05A-300B-8255-53BE-2FF35EC4080C}"/>
              </a:ext>
            </a:extLst>
          </p:cNvPr>
          <p:cNvGrpSpPr/>
          <p:nvPr/>
        </p:nvGrpSpPr>
        <p:grpSpPr>
          <a:xfrm>
            <a:off x="6250778" y="1440815"/>
            <a:ext cx="354334" cy="354334"/>
            <a:chOff x="6250778" y="1440815"/>
            <a:chExt cx="354334" cy="354334"/>
          </a:xfrm>
        </p:grpSpPr>
        <p:sp>
          <p:nvSpPr>
            <p:cNvPr id="54" name="Oval 53">
              <a:extLst>
                <a:ext uri="{FF2B5EF4-FFF2-40B4-BE49-F238E27FC236}">
                  <a16:creationId xmlns:a16="http://schemas.microsoft.com/office/drawing/2014/main" id="{3801B139-2583-0228-72FA-3357465E23D4}"/>
                </a:ext>
              </a:extLst>
            </p:cNvPr>
            <p:cNvSpPr/>
            <p:nvPr/>
          </p:nvSpPr>
          <p:spPr>
            <a:xfrm>
              <a:off x="6250778"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0" name="Group 89">
              <a:extLst>
                <a:ext uri="{FF2B5EF4-FFF2-40B4-BE49-F238E27FC236}">
                  <a16:creationId xmlns:a16="http://schemas.microsoft.com/office/drawing/2014/main" id="{3F1C6EAF-79C9-26BA-3455-9B762440CEF8}"/>
                </a:ext>
              </a:extLst>
            </p:cNvPr>
            <p:cNvGrpSpPr/>
            <p:nvPr/>
          </p:nvGrpSpPr>
          <p:grpSpPr>
            <a:xfrm>
              <a:off x="6318408" y="1483045"/>
              <a:ext cx="219075" cy="219075"/>
              <a:chOff x="3657600" y="990600"/>
              <a:chExt cx="4876800" cy="4876800"/>
            </a:xfrm>
            <a:solidFill>
              <a:srgbClr val="2B660F"/>
            </a:solidFill>
          </p:grpSpPr>
          <p:sp>
            <p:nvSpPr>
              <p:cNvPr id="86" name="Freeform: Shape 85">
                <a:extLst>
                  <a:ext uri="{FF2B5EF4-FFF2-40B4-BE49-F238E27FC236}">
                    <a16:creationId xmlns:a16="http://schemas.microsoft.com/office/drawing/2014/main" id="{6FB80226-B75F-8444-4F99-5D16E34C5FF0}"/>
                  </a:ext>
                </a:extLst>
              </p:cNvPr>
              <p:cNvSpPr/>
              <p:nvPr/>
            </p:nvSpPr>
            <p:spPr>
              <a:xfrm>
                <a:off x="4655641" y="4103526"/>
                <a:ext cx="226479" cy="226293"/>
              </a:xfrm>
              <a:custGeom>
                <a:avLst/>
                <a:gdLst>
                  <a:gd name="csX0" fmla="*/ 0 w 226479"/>
                  <a:gd name="csY0" fmla="*/ 0 h 226293"/>
                  <a:gd name="csX1" fmla="*/ 226479 w 226479"/>
                  <a:gd name="csY1" fmla="*/ 0 h 226293"/>
                  <a:gd name="csX2" fmla="*/ 226479 w 226479"/>
                  <a:gd name="csY2" fmla="*/ 226293 h 226293"/>
                  <a:gd name="csX3" fmla="*/ 0 w 226479"/>
                  <a:gd name="csY3" fmla="*/ 226293 h 226293"/>
                </a:gdLst>
                <a:ahLst/>
                <a:cxnLst>
                  <a:cxn ang="0">
                    <a:pos x="csX0" y="csY0"/>
                  </a:cxn>
                  <a:cxn ang="0">
                    <a:pos x="csX1" y="csY1"/>
                  </a:cxn>
                  <a:cxn ang="0">
                    <a:pos x="csX2" y="csY2"/>
                  </a:cxn>
                  <a:cxn ang="0">
                    <a:pos x="csX3" y="csY3"/>
                  </a:cxn>
                </a:cxnLst>
                <a:rect l="l" t="t" r="r" b="b"/>
                <a:pathLst>
                  <a:path w="226479" h="226293">
                    <a:moveTo>
                      <a:pt x="0" y="0"/>
                    </a:moveTo>
                    <a:lnTo>
                      <a:pt x="226479" y="0"/>
                    </a:lnTo>
                    <a:lnTo>
                      <a:pt x="226479" y="226293"/>
                    </a:lnTo>
                    <a:lnTo>
                      <a:pt x="0" y="226293"/>
                    </a:lnTo>
                    <a:close/>
                  </a:path>
                </a:pathLst>
              </a:custGeom>
              <a:grpFill/>
              <a:ln w="9525" cap="flat">
                <a:noFill/>
                <a:prstDash val="solid"/>
                <a:miter/>
              </a:ln>
            </p:spPr>
            <p:txBody>
              <a:bodyPr/>
              <a:lstStyle/>
              <a:p>
                <a:endParaRPr lang="en-US"/>
              </a:p>
            </p:txBody>
          </p:sp>
          <p:sp>
            <p:nvSpPr>
              <p:cNvPr id="87" name="Freeform: Shape 86">
                <a:extLst>
                  <a:ext uri="{FF2B5EF4-FFF2-40B4-BE49-F238E27FC236}">
                    <a16:creationId xmlns:a16="http://schemas.microsoft.com/office/drawing/2014/main" id="{936CA784-CC03-5DF3-F90A-6DAB2E6DFEB0}"/>
                  </a:ext>
                </a:extLst>
              </p:cNvPr>
              <p:cNvSpPr/>
              <p:nvPr/>
            </p:nvSpPr>
            <p:spPr>
              <a:xfrm>
                <a:off x="5744542" y="4094782"/>
                <a:ext cx="702878" cy="1772617"/>
              </a:xfrm>
              <a:custGeom>
                <a:avLst/>
                <a:gdLst>
                  <a:gd name="csX0" fmla="*/ 0 w 702878"/>
                  <a:gd name="csY0" fmla="*/ 0 h 1772617"/>
                  <a:gd name="csX1" fmla="*/ 0 w 702878"/>
                  <a:gd name="csY1" fmla="*/ 1772617 h 1772617"/>
                  <a:gd name="csX2" fmla="*/ 702878 w 702878"/>
                  <a:gd name="csY2" fmla="*/ 1772617 h 1772617"/>
                  <a:gd name="csX3" fmla="*/ 702878 w 702878"/>
                  <a:gd name="csY3" fmla="*/ 0 h 1772617"/>
                  <a:gd name="csX4" fmla="*/ 461144 w 702878"/>
                  <a:gd name="csY4" fmla="*/ 888020 h 1772617"/>
                  <a:gd name="csX5" fmla="*/ 317897 w 702878"/>
                  <a:gd name="csY5" fmla="*/ 744922 h 1772617"/>
                  <a:gd name="csX6" fmla="*/ 461144 w 702878"/>
                  <a:gd name="csY6" fmla="*/ 601824 h 1772617"/>
                  <a:gd name="csX7" fmla="*/ 604391 w 702878"/>
                  <a:gd name="csY7" fmla="*/ 744922 h 1772617"/>
                  <a:gd name="csX8" fmla="*/ 461144 w 702878"/>
                  <a:gd name="csY8" fmla="*/ 888020 h 177261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702878" h="1772617">
                    <a:moveTo>
                      <a:pt x="0" y="0"/>
                    </a:moveTo>
                    <a:lnTo>
                      <a:pt x="0" y="1772617"/>
                    </a:lnTo>
                    <a:lnTo>
                      <a:pt x="702878" y="1772617"/>
                    </a:lnTo>
                    <a:lnTo>
                      <a:pt x="702878" y="0"/>
                    </a:lnTo>
                    <a:close/>
                    <a:moveTo>
                      <a:pt x="461144" y="888020"/>
                    </a:moveTo>
                    <a:cubicBezTo>
                      <a:pt x="380851" y="888020"/>
                      <a:pt x="321394" y="822461"/>
                      <a:pt x="317897" y="744922"/>
                    </a:cubicBezTo>
                    <a:cubicBezTo>
                      <a:pt x="314437" y="667643"/>
                      <a:pt x="386209" y="601824"/>
                      <a:pt x="461144" y="601824"/>
                    </a:cubicBezTo>
                    <a:cubicBezTo>
                      <a:pt x="541437" y="601824"/>
                      <a:pt x="600894" y="667420"/>
                      <a:pt x="604391" y="744922"/>
                    </a:cubicBezTo>
                    <a:cubicBezTo>
                      <a:pt x="607851" y="822201"/>
                      <a:pt x="536079" y="888020"/>
                      <a:pt x="461144" y="888020"/>
                    </a:cubicBezTo>
                    <a:close/>
                  </a:path>
                </a:pathLst>
              </a:custGeom>
              <a:grpFill/>
              <a:ln w="9525" cap="flat">
                <a:noFill/>
                <a:prstDash val="solid"/>
                <a:miter/>
              </a:ln>
            </p:spPr>
            <p:txBody>
              <a:bodyPr/>
              <a:lstStyle/>
              <a:p>
                <a:endParaRPr lang="en-US"/>
              </a:p>
            </p:txBody>
          </p:sp>
          <p:sp>
            <p:nvSpPr>
              <p:cNvPr id="88" name="Freeform: Shape 87">
                <a:extLst>
                  <a:ext uri="{FF2B5EF4-FFF2-40B4-BE49-F238E27FC236}">
                    <a16:creationId xmlns:a16="http://schemas.microsoft.com/office/drawing/2014/main" id="{AFBDD834-D105-FDC4-5062-0A3CCA0872A7}"/>
                  </a:ext>
                </a:extLst>
              </p:cNvPr>
              <p:cNvSpPr/>
              <p:nvPr/>
            </p:nvSpPr>
            <p:spPr>
              <a:xfrm>
                <a:off x="3657600" y="990600"/>
                <a:ext cx="4876800" cy="4876800"/>
              </a:xfrm>
              <a:custGeom>
                <a:avLst/>
                <a:gdLst>
                  <a:gd name="csX0" fmla="*/ 4876800 w 4876800"/>
                  <a:gd name="csY0" fmla="*/ 4590604 h 4876800"/>
                  <a:gd name="csX1" fmla="*/ 4576093 w 4876800"/>
                  <a:gd name="csY1" fmla="*/ 4590604 h 4876800"/>
                  <a:gd name="csX2" fmla="*/ 4576093 w 4876800"/>
                  <a:gd name="csY2" fmla="*/ 2211847 h 4876800"/>
                  <a:gd name="csX3" fmla="*/ 3097225 w 4876800"/>
                  <a:gd name="csY3" fmla="*/ 2211847 h 4876800"/>
                  <a:gd name="csX4" fmla="*/ 3097225 w 4876800"/>
                  <a:gd name="csY4" fmla="*/ 1983209 h 4876800"/>
                  <a:gd name="csX5" fmla="*/ 3497424 w 4876800"/>
                  <a:gd name="csY5" fmla="*/ 1983209 h 4876800"/>
                  <a:gd name="csX6" fmla="*/ 3497424 w 4876800"/>
                  <a:gd name="csY6" fmla="*/ 0 h 4876800"/>
                  <a:gd name="csX7" fmla="*/ 1379376 w 4876800"/>
                  <a:gd name="csY7" fmla="*/ 0 h 4876800"/>
                  <a:gd name="csX8" fmla="*/ 1379376 w 4876800"/>
                  <a:gd name="csY8" fmla="*/ 1983246 h 4876800"/>
                  <a:gd name="csX9" fmla="*/ 1779575 w 4876800"/>
                  <a:gd name="csY9" fmla="*/ 1983246 h 4876800"/>
                  <a:gd name="csX10" fmla="*/ 1779575 w 4876800"/>
                  <a:gd name="csY10" fmla="*/ 2211847 h 4876800"/>
                  <a:gd name="csX11" fmla="*/ 318492 w 4876800"/>
                  <a:gd name="csY11" fmla="*/ 2211847 h 4876800"/>
                  <a:gd name="csX12" fmla="*/ 318492 w 4876800"/>
                  <a:gd name="csY12" fmla="*/ 4590604 h 4876800"/>
                  <a:gd name="csX13" fmla="*/ 0 w 4876800"/>
                  <a:gd name="csY13" fmla="*/ 4590604 h 4876800"/>
                  <a:gd name="csX14" fmla="*/ 0 w 4876800"/>
                  <a:gd name="csY14" fmla="*/ 4876800 h 4876800"/>
                  <a:gd name="csX15" fmla="*/ 1820242 w 4876800"/>
                  <a:gd name="csY15" fmla="*/ 4876800 h 4876800"/>
                  <a:gd name="csX16" fmla="*/ 1820242 w 4876800"/>
                  <a:gd name="csY16" fmla="*/ 2837483 h 4876800"/>
                  <a:gd name="csX17" fmla="*/ 3056521 w 4876800"/>
                  <a:gd name="csY17" fmla="*/ 2837483 h 4876800"/>
                  <a:gd name="csX18" fmla="*/ 3056521 w 4876800"/>
                  <a:gd name="csY18" fmla="*/ 4876800 h 4876800"/>
                  <a:gd name="csX19" fmla="*/ 4876800 w 4876800"/>
                  <a:gd name="csY19" fmla="*/ 4876800 h 4876800"/>
                  <a:gd name="csX20" fmla="*/ 1511015 w 4876800"/>
                  <a:gd name="csY20" fmla="*/ 3625416 h 4876800"/>
                  <a:gd name="csX21" fmla="*/ 711585 w 4876800"/>
                  <a:gd name="csY21" fmla="*/ 3625416 h 4876800"/>
                  <a:gd name="csX22" fmla="*/ 711585 w 4876800"/>
                  <a:gd name="csY22" fmla="*/ 2826730 h 4876800"/>
                  <a:gd name="csX23" fmla="*/ 1511015 w 4876800"/>
                  <a:gd name="csY23" fmla="*/ 2826730 h 4876800"/>
                  <a:gd name="csX24" fmla="*/ 1820354 w 4876800"/>
                  <a:gd name="csY24" fmla="*/ 1061740 h 4876800"/>
                  <a:gd name="csX25" fmla="*/ 1870584 w 4876800"/>
                  <a:gd name="csY25" fmla="*/ 1007827 h 4876800"/>
                  <a:gd name="csX26" fmla="*/ 1870286 w 4876800"/>
                  <a:gd name="csY26" fmla="*/ 991605 h 4876800"/>
                  <a:gd name="csX27" fmla="*/ 2435089 w 4876800"/>
                  <a:gd name="csY27" fmla="*/ 427360 h 4876800"/>
                  <a:gd name="csX28" fmla="*/ 2921496 w 4876800"/>
                  <a:gd name="csY28" fmla="*/ 704738 h 4876800"/>
                  <a:gd name="csX29" fmla="*/ 2674888 w 4876800"/>
                  <a:gd name="csY29" fmla="*/ 850404 h 4876800"/>
                  <a:gd name="csX30" fmla="*/ 2435089 w 4876800"/>
                  <a:gd name="csY30" fmla="*/ 713556 h 4876800"/>
                  <a:gd name="csX31" fmla="*/ 2156780 w 4876800"/>
                  <a:gd name="csY31" fmla="*/ 991605 h 4876800"/>
                  <a:gd name="csX32" fmla="*/ 2156817 w 4876800"/>
                  <a:gd name="csY32" fmla="*/ 993539 h 4876800"/>
                  <a:gd name="csX33" fmla="*/ 2214897 w 4876800"/>
                  <a:gd name="csY33" fmla="*/ 1047490 h 4876800"/>
                  <a:gd name="csX34" fmla="*/ 2024769 w 4876800"/>
                  <a:gd name="csY34" fmla="*/ 1251719 h 4876800"/>
                  <a:gd name="csX35" fmla="*/ 2810731 w 4876800"/>
                  <a:gd name="csY35" fmla="*/ 2211847 h 4876800"/>
                  <a:gd name="csX36" fmla="*/ 2066069 w 4876800"/>
                  <a:gd name="csY36" fmla="*/ 2211847 h 4876800"/>
                  <a:gd name="csX37" fmla="*/ 2066069 w 4876800"/>
                  <a:gd name="csY37" fmla="*/ 1983209 h 4876800"/>
                  <a:gd name="csX38" fmla="*/ 2810731 w 4876800"/>
                  <a:gd name="csY38" fmla="*/ 1983209 h 4876800"/>
                  <a:gd name="csX39" fmla="*/ 3020541 w 4876800"/>
                  <a:gd name="csY39" fmla="*/ 1130796 h 4876800"/>
                  <a:gd name="csX40" fmla="*/ 2473263 w 4876800"/>
                  <a:gd name="csY40" fmla="*/ 1555849 h 4876800"/>
                  <a:gd name="csX41" fmla="*/ 2083482 w 4876800"/>
                  <a:gd name="csY41" fmla="*/ 1399915 h 4876800"/>
                  <a:gd name="csX42" fmla="*/ 2281200 w 4876800"/>
                  <a:gd name="csY42" fmla="*/ 1192820 h 4876800"/>
                  <a:gd name="csX43" fmla="*/ 2473263 w 4876800"/>
                  <a:gd name="csY43" fmla="*/ 1269653 h 4876800"/>
                  <a:gd name="csX44" fmla="*/ 2742642 w 4876800"/>
                  <a:gd name="csY44" fmla="*/ 1061628 h 4876800"/>
                  <a:gd name="csX45" fmla="*/ 2702384 w 4876800"/>
                  <a:gd name="csY45" fmla="*/ 991195 h 4876800"/>
                  <a:gd name="csX46" fmla="*/ 2944751 w 4876800"/>
                  <a:gd name="csY46" fmla="*/ 852822 h 4876800"/>
                  <a:gd name="csX47" fmla="*/ 3083235 w 4876800"/>
                  <a:gd name="csY47" fmla="*/ 1095003 h 4876800"/>
                  <a:gd name="csX48" fmla="*/ 4165290 w 4876800"/>
                  <a:gd name="csY48" fmla="*/ 3625416 h 4876800"/>
                  <a:gd name="csX49" fmla="*/ 3365860 w 4876800"/>
                  <a:gd name="csY49" fmla="*/ 3625416 h 4876800"/>
                  <a:gd name="csX50" fmla="*/ 3365860 w 4876800"/>
                  <a:gd name="csY50" fmla="*/ 2826730 h 4876800"/>
                  <a:gd name="csX51" fmla="*/ 4165290 w 4876800"/>
                  <a:gd name="csY51" fmla="*/ 2826730 h 48768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Lst>
                <a:rect l="l" t="t" r="r" b="b"/>
                <a:pathLst>
                  <a:path w="4876800" h="4876800">
                    <a:moveTo>
                      <a:pt x="4876800" y="4590604"/>
                    </a:moveTo>
                    <a:lnTo>
                      <a:pt x="4576093" y="4590604"/>
                    </a:lnTo>
                    <a:lnTo>
                      <a:pt x="4576093" y="2211847"/>
                    </a:lnTo>
                    <a:lnTo>
                      <a:pt x="3097225" y="2211847"/>
                    </a:lnTo>
                    <a:lnTo>
                      <a:pt x="3097225" y="1983209"/>
                    </a:lnTo>
                    <a:lnTo>
                      <a:pt x="3497424" y="1983209"/>
                    </a:lnTo>
                    <a:lnTo>
                      <a:pt x="3497424" y="0"/>
                    </a:lnTo>
                    <a:lnTo>
                      <a:pt x="1379376" y="0"/>
                    </a:lnTo>
                    <a:lnTo>
                      <a:pt x="1379376" y="1983246"/>
                    </a:lnTo>
                    <a:lnTo>
                      <a:pt x="1779575" y="1983246"/>
                    </a:lnTo>
                    <a:lnTo>
                      <a:pt x="1779575" y="2211847"/>
                    </a:lnTo>
                    <a:lnTo>
                      <a:pt x="318492" y="2211847"/>
                    </a:lnTo>
                    <a:lnTo>
                      <a:pt x="318492" y="4590604"/>
                    </a:lnTo>
                    <a:lnTo>
                      <a:pt x="0" y="4590604"/>
                    </a:lnTo>
                    <a:lnTo>
                      <a:pt x="0" y="4876800"/>
                    </a:lnTo>
                    <a:lnTo>
                      <a:pt x="1820242" y="4876800"/>
                    </a:lnTo>
                    <a:lnTo>
                      <a:pt x="1820242" y="2837483"/>
                    </a:lnTo>
                    <a:lnTo>
                      <a:pt x="3056521" y="2837483"/>
                    </a:lnTo>
                    <a:lnTo>
                      <a:pt x="3056521" y="4876800"/>
                    </a:lnTo>
                    <a:lnTo>
                      <a:pt x="4876800" y="4876800"/>
                    </a:lnTo>
                    <a:close/>
                    <a:moveTo>
                      <a:pt x="1511015" y="3625416"/>
                    </a:moveTo>
                    <a:lnTo>
                      <a:pt x="711585" y="3625416"/>
                    </a:lnTo>
                    <a:lnTo>
                      <a:pt x="711585" y="2826730"/>
                    </a:lnTo>
                    <a:lnTo>
                      <a:pt x="1511015" y="2826730"/>
                    </a:lnTo>
                    <a:close/>
                    <a:moveTo>
                      <a:pt x="1820354" y="1061740"/>
                    </a:moveTo>
                    <a:lnTo>
                      <a:pt x="1870584" y="1007827"/>
                    </a:lnTo>
                    <a:cubicBezTo>
                      <a:pt x="1870398" y="1002432"/>
                      <a:pt x="1870286" y="997000"/>
                      <a:pt x="1870286" y="991605"/>
                    </a:cubicBezTo>
                    <a:cubicBezTo>
                      <a:pt x="1870286" y="680479"/>
                      <a:pt x="2123629" y="427360"/>
                      <a:pt x="2435089" y="427360"/>
                    </a:cubicBezTo>
                    <a:cubicBezTo>
                      <a:pt x="2633849" y="427360"/>
                      <a:pt x="2820219" y="533623"/>
                      <a:pt x="2921496" y="704738"/>
                    </a:cubicBezTo>
                    <a:lnTo>
                      <a:pt x="2674888" y="850404"/>
                    </a:lnTo>
                    <a:cubicBezTo>
                      <a:pt x="2624919" y="765981"/>
                      <a:pt x="2533055" y="713556"/>
                      <a:pt x="2435089" y="713556"/>
                    </a:cubicBezTo>
                    <a:cubicBezTo>
                      <a:pt x="2281610" y="713556"/>
                      <a:pt x="2156780" y="838312"/>
                      <a:pt x="2156780" y="991605"/>
                    </a:cubicBezTo>
                    <a:cubicBezTo>
                      <a:pt x="2156780" y="992274"/>
                      <a:pt x="2156817" y="992870"/>
                      <a:pt x="2156817" y="993539"/>
                    </a:cubicBezTo>
                    <a:lnTo>
                      <a:pt x="2214897" y="1047490"/>
                    </a:lnTo>
                    <a:lnTo>
                      <a:pt x="2024769" y="1251719"/>
                    </a:lnTo>
                    <a:close/>
                    <a:moveTo>
                      <a:pt x="2810731" y="2211847"/>
                    </a:moveTo>
                    <a:lnTo>
                      <a:pt x="2066069" y="2211847"/>
                    </a:lnTo>
                    <a:lnTo>
                      <a:pt x="2066069" y="1983209"/>
                    </a:lnTo>
                    <a:lnTo>
                      <a:pt x="2810731" y="1983209"/>
                    </a:lnTo>
                    <a:close/>
                    <a:moveTo>
                      <a:pt x="3020541" y="1130796"/>
                    </a:moveTo>
                    <a:cubicBezTo>
                      <a:pt x="2957810" y="1377107"/>
                      <a:pt x="2733080" y="1555849"/>
                      <a:pt x="2473263" y="1555849"/>
                    </a:cubicBezTo>
                    <a:cubicBezTo>
                      <a:pt x="2327412" y="1555849"/>
                      <a:pt x="2188964" y="1500485"/>
                      <a:pt x="2083482" y="1399915"/>
                    </a:cubicBezTo>
                    <a:lnTo>
                      <a:pt x="2281200" y="1192820"/>
                    </a:lnTo>
                    <a:cubicBezTo>
                      <a:pt x="2333179" y="1242380"/>
                      <a:pt x="2401416" y="1269653"/>
                      <a:pt x="2473263" y="1269653"/>
                    </a:cubicBezTo>
                    <a:cubicBezTo>
                      <a:pt x="2600883" y="1269653"/>
                      <a:pt x="2711314" y="1182253"/>
                      <a:pt x="2742642" y="1061628"/>
                    </a:cubicBezTo>
                    <a:lnTo>
                      <a:pt x="2702384" y="991195"/>
                    </a:lnTo>
                    <a:lnTo>
                      <a:pt x="2944751" y="852822"/>
                    </a:lnTo>
                    <a:lnTo>
                      <a:pt x="3083235" y="1095003"/>
                    </a:lnTo>
                    <a:close/>
                    <a:moveTo>
                      <a:pt x="4165290" y="3625416"/>
                    </a:moveTo>
                    <a:lnTo>
                      <a:pt x="3365860" y="3625416"/>
                    </a:lnTo>
                    <a:lnTo>
                      <a:pt x="3365860" y="2826730"/>
                    </a:lnTo>
                    <a:lnTo>
                      <a:pt x="4165290" y="2826730"/>
                    </a:lnTo>
                    <a:close/>
                  </a:path>
                </a:pathLst>
              </a:custGeom>
              <a:grpFill/>
              <a:ln w="9525" cap="flat">
                <a:noFill/>
                <a:prstDash val="solid"/>
                <a:miter/>
              </a:ln>
            </p:spPr>
            <p:txBody>
              <a:bodyPr/>
              <a:lstStyle/>
              <a:p>
                <a:endParaRPr lang="en-US"/>
              </a:p>
            </p:txBody>
          </p:sp>
          <p:sp>
            <p:nvSpPr>
              <p:cNvPr id="89" name="Freeform: Shape 88">
                <a:extLst>
                  <a:ext uri="{FF2B5EF4-FFF2-40B4-BE49-F238E27FC236}">
                    <a16:creationId xmlns:a16="http://schemas.microsoft.com/office/drawing/2014/main" id="{E2B9E829-6387-0A94-5ED9-807B697D3E49}"/>
                  </a:ext>
                </a:extLst>
              </p:cNvPr>
              <p:cNvSpPr/>
              <p:nvPr/>
            </p:nvSpPr>
            <p:spPr>
              <a:xfrm>
                <a:off x="7309916" y="4103526"/>
                <a:ext cx="226516" cy="226293"/>
              </a:xfrm>
              <a:custGeom>
                <a:avLst/>
                <a:gdLst>
                  <a:gd name="csX0" fmla="*/ 0 w 226516"/>
                  <a:gd name="csY0" fmla="*/ 0 h 226293"/>
                  <a:gd name="csX1" fmla="*/ 226516 w 226516"/>
                  <a:gd name="csY1" fmla="*/ 0 h 226293"/>
                  <a:gd name="csX2" fmla="*/ 226516 w 226516"/>
                  <a:gd name="csY2" fmla="*/ 226293 h 226293"/>
                  <a:gd name="csX3" fmla="*/ 0 w 226516"/>
                  <a:gd name="csY3" fmla="*/ 226293 h 226293"/>
                </a:gdLst>
                <a:ahLst/>
                <a:cxnLst>
                  <a:cxn ang="0">
                    <a:pos x="csX0" y="csY0"/>
                  </a:cxn>
                  <a:cxn ang="0">
                    <a:pos x="csX1" y="csY1"/>
                  </a:cxn>
                  <a:cxn ang="0">
                    <a:pos x="csX2" y="csY2"/>
                  </a:cxn>
                  <a:cxn ang="0">
                    <a:pos x="csX3" y="csY3"/>
                  </a:cxn>
                </a:cxnLst>
                <a:rect l="l" t="t" r="r" b="b"/>
                <a:pathLst>
                  <a:path w="226516" h="226293">
                    <a:moveTo>
                      <a:pt x="0" y="0"/>
                    </a:moveTo>
                    <a:lnTo>
                      <a:pt x="226516" y="0"/>
                    </a:lnTo>
                    <a:lnTo>
                      <a:pt x="226516" y="226293"/>
                    </a:lnTo>
                    <a:lnTo>
                      <a:pt x="0" y="226293"/>
                    </a:lnTo>
                    <a:close/>
                  </a:path>
                </a:pathLst>
              </a:custGeom>
              <a:grpFill/>
              <a:ln w="9525" cap="flat">
                <a:noFill/>
                <a:prstDash val="solid"/>
                <a:miter/>
              </a:ln>
            </p:spPr>
            <p:txBody>
              <a:bodyPr/>
              <a:lstStyle/>
              <a:p>
                <a:endParaRPr lang="en-US"/>
              </a:p>
            </p:txBody>
          </p:sp>
        </p:grpSp>
      </p:grpSp>
    </p:spTree>
    <p:extLst>
      <p:ext uri="{BB962C8B-B14F-4D97-AF65-F5344CB8AC3E}">
        <p14:creationId xmlns:p14="http://schemas.microsoft.com/office/powerpoint/2010/main" val="165793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7447308-8646-8C5F-C1CD-420A9E68C67B}"/>
              </a:ext>
            </a:extLst>
          </p:cNvPr>
          <p:cNvGraphicFramePr>
            <a:graphicFrameLocks/>
          </p:cNvGraphicFramePr>
          <p:nvPr>
            <p:custDataLst>
              <p:tags r:id="rId1"/>
            </p:custDataLst>
            <p:extLst>
              <p:ext uri="{D42A27DB-BD31-4B8C-83A1-F6EECF244321}">
                <p14:modId xmlns:p14="http://schemas.microsoft.com/office/powerpoint/2010/main" val="2073263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13" name="think-cell data - do not delete" hidden="1">
                        <a:extLst>
                          <a:ext uri="{FF2B5EF4-FFF2-40B4-BE49-F238E27FC236}">
                            <a16:creationId xmlns:a16="http://schemas.microsoft.com/office/drawing/2014/main" id="{A7447308-8646-8C5F-C1CD-420A9E68C6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4DA3C0-9305-0C68-97A7-CBCBC36AC849}"/>
              </a:ext>
            </a:extLst>
          </p:cNvPr>
          <p:cNvSpPr>
            <a:spLocks noGrp="1"/>
          </p:cNvSpPr>
          <p:nvPr>
            <p:ph type="ctrTitle"/>
          </p:nvPr>
        </p:nvSpPr>
        <p:spPr>
          <a:xfrm>
            <a:off x="304796" y="2286596"/>
            <a:ext cx="11582402" cy="2284807"/>
          </a:xfrm>
        </p:spPr>
        <p:txBody>
          <a:bodyPr vert="horz" rIns="0"/>
          <a:lstStyle/>
          <a:p>
            <a:r>
              <a:rPr lang="en-US"/>
              <a:t>General</a:t>
            </a:r>
          </a:p>
        </p:txBody>
      </p:sp>
      <p:pic>
        <p:nvPicPr>
          <p:cNvPr id="25" name="Picture 24" descr="A green leaves on a black background&#10;&#10;Description automatically generated">
            <a:extLst>
              <a:ext uri="{FF2B5EF4-FFF2-40B4-BE49-F238E27FC236}">
                <a16:creationId xmlns:a16="http://schemas.microsoft.com/office/drawing/2014/main" id="{BD06AE3E-D6B4-805E-4E72-AB7C8077F258}"/>
              </a:ext>
            </a:extLst>
          </p:cNvPr>
          <p:cNvPicPr>
            <a:picLocks noChangeAspect="1"/>
          </p:cNvPicPr>
          <p:nvPr/>
        </p:nvPicPr>
        <p:blipFill>
          <a:blip r:embed="rId5">
            <a:alphaModFix amt="8000"/>
            <a:extLst>
              <a:ext uri="{BEBA8EAE-BF5A-486C-A8C5-ECC9F3942E4B}">
                <a14:imgProps xmlns:a14="http://schemas.microsoft.com/office/drawing/2010/main">
                  <a14:imgLayer r:embed="rId6">
                    <a14:imgEffect>
                      <a14:brightnessContrast bright="-100000"/>
                    </a14:imgEffect>
                  </a14:imgLayer>
                </a14:imgProps>
              </a:ext>
            </a:extLst>
          </a:blip>
          <a:srcRect l="143" t="22843" r="1127" b="-347"/>
          <a:stretch>
            <a:fillRect/>
          </a:stretch>
        </p:blipFill>
        <p:spPr>
          <a:xfrm rot="20940000" flipH="1">
            <a:off x="-347445" y="-295347"/>
            <a:ext cx="3909087" cy="3380830"/>
          </a:xfrm>
          <a:custGeom>
            <a:avLst/>
            <a:gdLst>
              <a:gd name="csX0" fmla="*/ 0 w 3387264"/>
              <a:gd name="csY0" fmla="*/ 547729 h 2929524"/>
              <a:gd name="csX1" fmla="*/ 2817822 w 3387264"/>
              <a:gd name="csY1" fmla="*/ 0 h 2929524"/>
              <a:gd name="csX2" fmla="*/ 3387264 w 3387264"/>
              <a:gd name="csY2" fmla="*/ 2929524 h 2929524"/>
              <a:gd name="csX3" fmla="*/ 0 w 3387264"/>
              <a:gd name="csY3" fmla="*/ 2929524 h 2929524"/>
            </a:gdLst>
            <a:ahLst/>
            <a:cxnLst>
              <a:cxn ang="0">
                <a:pos x="csX0" y="csY0"/>
              </a:cxn>
              <a:cxn ang="0">
                <a:pos x="csX1" y="csY1"/>
              </a:cxn>
              <a:cxn ang="0">
                <a:pos x="csX2" y="csY2"/>
              </a:cxn>
              <a:cxn ang="0">
                <a:pos x="csX3" y="csY3"/>
              </a:cxn>
            </a:cxnLst>
            <a:rect l="l" t="t" r="r" b="b"/>
            <a:pathLst>
              <a:path w="3387264" h="2929524">
                <a:moveTo>
                  <a:pt x="0" y="547729"/>
                </a:moveTo>
                <a:lnTo>
                  <a:pt x="2817822" y="0"/>
                </a:lnTo>
                <a:lnTo>
                  <a:pt x="3387264" y="2929524"/>
                </a:lnTo>
                <a:lnTo>
                  <a:pt x="0" y="2929524"/>
                </a:lnTo>
                <a:close/>
              </a:path>
            </a:pathLst>
          </a:custGeom>
        </p:spPr>
      </p:pic>
      <p:pic>
        <p:nvPicPr>
          <p:cNvPr id="23" name="Picture 22" descr="A green leaves on a black background&#10;&#10;Description automatically generated">
            <a:extLst>
              <a:ext uri="{FF2B5EF4-FFF2-40B4-BE49-F238E27FC236}">
                <a16:creationId xmlns:a16="http://schemas.microsoft.com/office/drawing/2014/main" id="{CA5F7252-C124-C32A-A794-8E220F96E59E}"/>
              </a:ext>
            </a:extLst>
          </p:cNvPr>
          <p:cNvPicPr>
            <a:picLocks noChangeAspect="1"/>
          </p:cNvPicPr>
          <p:nvPr/>
        </p:nvPicPr>
        <p:blipFill rotWithShape="1">
          <a:blip r:embed="rId7">
            <a:alphaModFix amt="8000"/>
            <a:extLst>
              <a:ext uri="{BEBA8EAE-BF5A-486C-A8C5-ECC9F3942E4B}">
                <a14:imgProps xmlns:a14="http://schemas.microsoft.com/office/drawing/2010/main">
                  <a14:imgLayer r:embed="rId8">
                    <a14:imgEffect>
                      <a14:brightnessContrast bright="-100000"/>
                    </a14:imgEffect>
                  </a14:imgLayer>
                </a14:imgProps>
              </a:ext>
            </a:extLst>
          </a:blip>
          <a:srcRect b="14982"/>
          <a:stretch/>
        </p:blipFill>
        <p:spPr>
          <a:xfrm flipH="1">
            <a:off x="8244114" y="4113638"/>
            <a:ext cx="3947886" cy="2744362"/>
          </a:xfrm>
          <a:prstGeom prst="rect">
            <a:avLst/>
          </a:prstGeom>
        </p:spPr>
      </p:pic>
      <p:grpSp>
        <p:nvGrpSpPr>
          <p:cNvPr id="15" name="Group 14">
            <a:extLst>
              <a:ext uri="{FF2B5EF4-FFF2-40B4-BE49-F238E27FC236}">
                <a16:creationId xmlns:a16="http://schemas.microsoft.com/office/drawing/2014/main" id="{0F607BA0-AB61-4591-279A-A5483C1A67C2}"/>
              </a:ext>
            </a:extLst>
          </p:cNvPr>
          <p:cNvGrpSpPr/>
          <p:nvPr/>
        </p:nvGrpSpPr>
        <p:grpSpPr>
          <a:xfrm>
            <a:off x="5289550" y="820002"/>
            <a:ext cx="1612900" cy="1612900"/>
            <a:chOff x="304800" y="140391"/>
            <a:chExt cx="618170" cy="618170"/>
          </a:xfrm>
        </p:grpSpPr>
        <p:sp>
          <p:nvSpPr>
            <p:cNvPr id="16" name="Oval 15">
              <a:extLst>
                <a:ext uri="{FF2B5EF4-FFF2-40B4-BE49-F238E27FC236}">
                  <a16:creationId xmlns:a16="http://schemas.microsoft.com/office/drawing/2014/main" id="{940B214F-E70B-1D9E-BCDF-70203468FF61}"/>
                </a:ext>
              </a:extLst>
            </p:cNvPr>
            <p:cNvSpPr/>
            <p:nvPr/>
          </p:nvSpPr>
          <p:spPr>
            <a:xfrm>
              <a:off x="304800" y="140391"/>
              <a:ext cx="618170" cy="618170"/>
            </a:xfrm>
            <a:prstGeom prst="ellipse">
              <a:avLst/>
            </a:prstGeom>
            <a:solidFill>
              <a:srgbClr val="A4CA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A6926D1B-32D8-F3C2-A7F2-44D160CCF604}"/>
                </a:ext>
              </a:extLst>
            </p:cNvPr>
            <p:cNvGrpSpPr/>
            <p:nvPr/>
          </p:nvGrpSpPr>
          <p:grpSpPr>
            <a:xfrm>
              <a:off x="418661" y="254252"/>
              <a:ext cx="390449" cy="390449"/>
              <a:chOff x="-960358" y="2403999"/>
              <a:chExt cx="281801" cy="281668"/>
            </a:xfrm>
          </p:grpSpPr>
          <p:sp>
            <p:nvSpPr>
              <p:cNvPr id="18" name="Oval 17">
                <a:extLst>
                  <a:ext uri="{FF2B5EF4-FFF2-40B4-BE49-F238E27FC236}">
                    <a16:creationId xmlns:a16="http://schemas.microsoft.com/office/drawing/2014/main" id="{63C4429F-E200-975F-6CD4-433270BEF314}"/>
                  </a:ext>
                </a:extLst>
              </p:cNvPr>
              <p:cNvSpPr/>
              <p:nvPr/>
            </p:nvSpPr>
            <p:spPr>
              <a:xfrm>
                <a:off x="-960358" y="2403999"/>
                <a:ext cx="281801" cy="281668"/>
              </a:xfrm>
              <a:prstGeom prst="ellipse">
                <a:avLst/>
              </a:prstGeom>
              <a:solidFill>
                <a:srgbClr val="357FCD"/>
              </a:solidFill>
              <a:ln w="7189" cap="flat">
                <a:noFill/>
                <a:prstDash val="solid"/>
                <a:miter/>
              </a:ln>
            </p:spPr>
            <p:txBody>
              <a:bodyPr/>
              <a:lstStyle/>
              <a:p>
                <a:endParaRPr lang="en-US"/>
              </a:p>
            </p:txBody>
          </p:sp>
          <p:grpSp>
            <p:nvGrpSpPr>
              <p:cNvPr id="19" name="Picture 9">
                <a:extLst>
                  <a:ext uri="{FF2B5EF4-FFF2-40B4-BE49-F238E27FC236}">
                    <a16:creationId xmlns:a16="http://schemas.microsoft.com/office/drawing/2014/main" id="{80E43954-048D-DA34-465D-CE14795B49F1}"/>
                  </a:ext>
                </a:extLst>
              </p:cNvPr>
              <p:cNvGrpSpPr/>
              <p:nvPr/>
            </p:nvGrpSpPr>
            <p:grpSpPr>
              <a:xfrm>
                <a:off x="-861161" y="2461574"/>
                <a:ext cx="81820" cy="167955"/>
                <a:chOff x="-861161" y="2461574"/>
                <a:chExt cx="81820" cy="167955"/>
              </a:xfrm>
              <a:solidFill>
                <a:srgbClr val="FFFFFF"/>
              </a:solidFill>
            </p:grpSpPr>
            <p:sp>
              <p:nvSpPr>
                <p:cNvPr id="20" name="Freeform: Shape 19">
                  <a:extLst>
                    <a:ext uri="{FF2B5EF4-FFF2-40B4-BE49-F238E27FC236}">
                      <a16:creationId xmlns:a16="http://schemas.microsoft.com/office/drawing/2014/main" id="{579667BE-38AC-D3C7-E592-AF92CBC8CE1E}"/>
                    </a:ext>
                  </a:extLst>
                </p:cNvPr>
                <p:cNvSpPr/>
                <p:nvPr/>
              </p:nvSpPr>
              <p:spPr>
                <a:xfrm>
                  <a:off x="-821520" y="2461574"/>
                  <a:ext cx="42179" cy="39602"/>
                </a:xfrm>
                <a:custGeom>
                  <a:avLst/>
                  <a:gdLst>
                    <a:gd name="csX0" fmla="*/ 37322 w 42179"/>
                    <a:gd name="csY0" fmla="*/ 5985 h 39602"/>
                    <a:gd name="csX1" fmla="*/ 7630 w 42179"/>
                    <a:gd name="csY1" fmla="*/ 5613 h 39602"/>
                    <a:gd name="csX2" fmla="*/ 4854 w 42179"/>
                    <a:gd name="csY2" fmla="*/ 33610 h 39602"/>
                    <a:gd name="csX3" fmla="*/ 34553 w 42179"/>
                    <a:gd name="csY3" fmla="*/ 33997 h 39602"/>
                    <a:gd name="csX4" fmla="*/ 37322 w 42179"/>
                    <a:gd name="csY4" fmla="*/ 5985 h 39602"/>
                  </a:gdLst>
                  <a:ahLst/>
                  <a:cxnLst>
                    <a:cxn ang="0">
                      <a:pos x="csX0" y="csY0"/>
                    </a:cxn>
                    <a:cxn ang="0">
                      <a:pos x="csX1" y="csY1"/>
                    </a:cxn>
                    <a:cxn ang="0">
                      <a:pos x="csX2" y="csY2"/>
                    </a:cxn>
                    <a:cxn ang="0">
                      <a:pos x="csX3" y="csY3"/>
                    </a:cxn>
                    <a:cxn ang="0">
                      <a:pos x="csX4" y="csY4"/>
                    </a:cxn>
                  </a:cxnLst>
                  <a:rect l="l" t="t" r="r" b="b"/>
                  <a:pathLst>
                    <a:path w="42179" h="39602">
                      <a:moveTo>
                        <a:pt x="37322" y="5985"/>
                      </a:moveTo>
                      <a:cubicBezTo>
                        <a:pt x="29884" y="-1843"/>
                        <a:pt x="16595" y="-2018"/>
                        <a:pt x="7630" y="5613"/>
                      </a:cubicBezTo>
                      <a:cubicBezTo>
                        <a:pt x="-1341" y="13244"/>
                        <a:pt x="-2576" y="25782"/>
                        <a:pt x="4854" y="33610"/>
                      </a:cubicBezTo>
                      <a:cubicBezTo>
                        <a:pt x="12292" y="41453"/>
                        <a:pt x="25581" y="41614"/>
                        <a:pt x="34553" y="33997"/>
                      </a:cubicBezTo>
                      <a:cubicBezTo>
                        <a:pt x="43517" y="26352"/>
                        <a:pt x="44759" y="13813"/>
                        <a:pt x="37322" y="5985"/>
                      </a:cubicBezTo>
                      <a:close/>
                    </a:path>
                  </a:pathLst>
                </a:custGeom>
                <a:solidFill>
                  <a:srgbClr val="FFFFFF"/>
                </a:solidFill>
                <a:ln w="7189" cap="flat">
                  <a:noFill/>
                  <a:prstDash val="solid"/>
                  <a:miter/>
                </a:ln>
              </p:spPr>
              <p:txBody>
                <a:bodyPr/>
                <a:lstStyle/>
                <a:p>
                  <a:endParaRPr lang="en-US"/>
                </a:p>
              </p:txBody>
            </p:sp>
            <p:sp>
              <p:nvSpPr>
                <p:cNvPr id="21" name="Freeform: Shape 20">
                  <a:extLst>
                    <a:ext uri="{FF2B5EF4-FFF2-40B4-BE49-F238E27FC236}">
                      <a16:creationId xmlns:a16="http://schemas.microsoft.com/office/drawing/2014/main" id="{1241FBBA-6FD3-C83A-769E-927A821FD2B7}"/>
                    </a:ext>
                  </a:extLst>
                </p:cNvPr>
                <p:cNvSpPr/>
                <p:nvPr/>
              </p:nvSpPr>
              <p:spPr>
                <a:xfrm>
                  <a:off x="-861161" y="2515089"/>
                  <a:ext cx="69269" cy="114440"/>
                </a:xfrm>
                <a:custGeom>
                  <a:avLst/>
                  <a:gdLst>
                    <a:gd name="csX0" fmla="*/ 65207 w 69269"/>
                    <a:gd name="csY0" fmla="*/ 79831 h 114440"/>
                    <a:gd name="csX1" fmla="*/ 62511 w 69269"/>
                    <a:gd name="csY1" fmla="*/ 80861 h 114440"/>
                    <a:gd name="csX2" fmla="*/ 52225 w 69269"/>
                    <a:gd name="csY2" fmla="*/ 88974 h 114440"/>
                    <a:gd name="csX3" fmla="*/ 45313 w 69269"/>
                    <a:gd name="csY3" fmla="*/ 80014 h 114440"/>
                    <a:gd name="csX4" fmla="*/ 62548 w 69269"/>
                    <a:gd name="csY4" fmla="*/ 33162 h 114440"/>
                    <a:gd name="csX5" fmla="*/ 32060 w 69269"/>
                    <a:gd name="csY5" fmla="*/ 1031 h 114440"/>
                    <a:gd name="csX6" fmla="*/ 3809 w 69269"/>
                    <a:gd name="csY6" fmla="*/ 17388 h 114440"/>
                    <a:gd name="csX7" fmla="*/ 2377 w 69269"/>
                    <a:gd name="csY7" fmla="*/ 20528 h 114440"/>
                    <a:gd name="csX8" fmla="*/ 6526 w 69269"/>
                    <a:gd name="csY8" fmla="*/ 24676 h 114440"/>
                    <a:gd name="csX9" fmla="*/ 8952 w 69269"/>
                    <a:gd name="csY9" fmla="*/ 23895 h 114440"/>
                    <a:gd name="csX10" fmla="*/ 9208 w 69269"/>
                    <a:gd name="csY10" fmla="*/ 23683 h 114440"/>
                    <a:gd name="csX11" fmla="*/ 17178 w 69269"/>
                    <a:gd name="csY11" fmla="*/ 17994 h 114440"/>
                    <a:gd name="csX12" fmla="*/ 25127 w 69269"/>
                    <a:gd name="csY12" fmla="*/ 24654 h 114440"/>
                    <a:gd name="csX13" fmla="*/ 419 w 69269"/>
                    <a:gd name="csY13" fmla="*/ 91961 h 114440"/>
                    <a:gd name="csX14" fmla="*/ 33222 w 69269"/>
                    <a:gd name="csY14" fmla="*/ 111969 h 114440"/>
                    <a:gd name="csX15" fmla="*/ 67969 w 69269"/>
                    <a:gd name="csY15" fmla="*/ 86878 h 114440"/>
                    <a:gd name="csX16" fmla="*/ 67969 w 69269"/>
                    <a:gd name="csY16" fmla="*/ 86864 h 114440"/>
                    <a:gd name="csX17" fmla="*/ 69269 w 69269"/>
                    <a:gd name="csY17" fmla="*/ 83899 h 114440"/>
                    <a:gd name="csX18" fmla="*/ 65207 w 69269"/>
                    <a:gd name="csY18" fmla="*/ 79831 h 11444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69269" h="114440">
                      <a:moveTo>
                        <a:pt x="65207" y="79831"/>
                      </a:moveTo>
                      <a:cubicBezTo>
                        <a:pt x="64170" y="79831"/>
                        <a:pt x="63227" y="80218"/>
                        <a:pt x="62511" y="80861"/>
                      </a:cubicBezTo>
                      <a:cubicBezTo>
                        <a:pt x="58705" y="84366"/>
                        <a:pt x="57105" y="85651"/>
                        <a:pt x="52225" y="88974"/>
                      </a:cubicBezTo>
                      <a:cubicBezTo>
                        <a:pt x="45985" y="93224"/>
                        <a:pt x="41741" y="90946"/>
                        <a:pt x="45313" y="80014"/>
                      </a:cubicBezTo>
                      <a:cubicBezTo>
                        <a:pt x="48886" y="69082"/>
                        <a:pt x="54541" y="54412"/>
                        <a:pt x="62548" y="33162"/>
                      </a:cubicBezTo>
                      <a:cubicBezTo>
                        <a:pt x="73762" y="3338"/>
                        <a:pt x="47673" y="-2825"/>
                        <a:pt x="32060" y="1031"/>
                      </a:cubicBezTo>
                      <a:cubicBezTo>
                        <a:pt x="20481" y="3886"/>
                        <a:pt x="10523" y="11174"/>
                        <a:pt x="3809" y="17388"/>
                      </a:cubicBezTo>
                      <a:cubicBezTo>
                        <a:pt x="2939" y="18155"/>
                        <a:pt x="2377" y="19287"/>
                        <a:pt x="2377" y="20528"/>
                      </a:cubicBezTo>
                      <a:cubicBezTo>
                        <a:pt x="2377" y="22821"/>
                        <a:pt x="4232" y="24676"/>
                        <a:pt x="6526" y="24676"/>
                      </a:cubicBezTo>
                      <a:cubicBezTo>
                        <a:pt x="7432" y="24676"/>
                        <a:pt x="8265" y="24377"/>
                        <a:pt x="8952" y="23895"/>
                      </a:cubicBezTo>
                      <a:cubicBezTo>
                        <a:pt x="8959" y="23880"/>
                        <a:pt x="9171" y="23727"/>
                        <a:pt x="9208" y="23683"/>
                      </a:cubicBezTo>
                      <a:cubicBezTo>
                        <a:pt x="12086" y="21375"/>
                        <a:pt x="15030" y="19221"/>
                        <a:pt x="17178" y="17994"/>
                      </a:cubicBezTo>
                      <a:cubicBezTo>
                        <a:pt x="22672" y="14854"/>
                        <a:pt x="27808" y="16965"/>
                        <a:pt x="25127" y="24654"/>
                      </a:cubicBezTo>
                      <a:cubicBezTo>
                        <a:pt x="22446" y="32344"/>
                        <a:pt x="3684" y="72974"/>
                        <a:pt x="419" y="91961"/>
                      </a:cubicBezTo>
                      <a:cubicBezTo>
                        <a:pt x="-2847" y="110947"/>
                        <a:pt x="13452" y="118899"/>
                        <a:pt x="33222" y="111969"/>
                      </a:cubicBezTo>
                      <a:cubicBezTo>
                        <a:pt x="46270" y="107303"/>
                        <a:pt x="61357" y="93655"/>
                        <a:pt x="67969" y="86878"/>
                      </a:cubicBezTo>
                      <a:lnTo>
                        <a:pt x="67969" y="86864"/>
                      </a:lnTo>
                      <a:cubicBezTo>
                        <a:pt x="68765" y="86119"/>
                        <a:pt x="69269" y="85067"/>
                        <a:pt x="69269" y="83899"/>
                      </a:cubicBezTo>
                      <a:cubicBezTo>
                        <a:pt x="69269" y="81657"/>
                        <a:pt x="67450" y="79831"/>
                        <a:pt x="65207" y="79831"/>
                      </a:cubicBezTo>
                      <a:close/>
                    </a:path>
                  </a:pathLst>
                </a:custGeom>
                <a:solidFill>
                  <a:srgbClr val="FFFFFF"/>
                </a:solidFill>
                <a:ln w="7189" cap="flat">
                  <a:noFill/>
                  <a:prstDash val="solid"/>
                  <a:miter/>
                </a:ln>
              </p:spPr>
              <p:txBody>
                <a:bodyPr/>
                <a:lstStyle/>
                <a:p>
                  <a:endParaRPr lang="en-US"/>
                </a:p>
              </p:txBody>
            </p:sp>
          </p:grpSp>
        </p:grpSp>
      </p:grpSp>
    </p:spTree>
    <p:extLst>
      <p:ext uri="{BB962C8B-B14F-4D97-AF65-F5344CB8AC3E}">
        <p14:creationId xmlns:p14="http://schemas.microsoft.com/office/powerpoint/2010/main" val="1037148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5D910A"/>
        </a:solidFill>
        <a:effectLst/>
      </p:bgPr>
    </p:bg>
    <p:spTree>
      <p:nvGrpSpPr>
        <p:cNvPr id="1" name="">
          <a:extLst>
            <a:ext uri="{FF2B5EF4-FFF2-40B4-BE49-F238E27FC236}">
              <a16:creationId xmlns:a16="http://schemas.microsoft.com/office/drawing/2014/main" id="{1DD8772A-3A77-B8F1-25A2-234822A4BE8E}"/>
            </a:ext>
          </a:extLst>
        </p:cNvPr>
        <p:cNvGrpSpPr/>
        <p:nvPr/>
      </p:nvGrpSpPr>
      <p:grpSpPr>
        <a:xfrm>
          <a:off x="0" y="0"/>
          <a:ext cx="0" cy="0"/>
          <a:chOff x="0" y="0"/>
          <a:chExt cx="0" cy="0"/>
        </a:xfrm>
      </p:grpSpPr>
      <p:graphicFrame>
        <p:nvGraphicFramePr>
          <p:cNvPr id="82" name="think-cell data - do not delete" hidden="1">
            <a:extLst>
              <a:ext uri="{FF2B5EF4-FFF2-40B4-BE49-F238E27FC236}">
                <a16:creationId xmlns:a16="http://schemas.microsoft.com/office/drawing/2014/main" id="{CCADC661-36B0-6F64-DA3E-9060E68E38B2}"/>
              </a:ext>
            </a:extLst>
          </p:cNvPr>
          <p:cNvGraphicFramePr>
            <a:graphicFrameLocks/>
          </p:cNvGraphicFramePr>
          <p:nvPr>
            <p:custDataLst>
              <p:tags r:id="rId1"/>
            </p:custDataLst>
            <p:extLst>
              <p:ext uri="{D42A27DB-BD31-4B8C-83A1-F6EECF244321}">
                <p14:modId xmlns:p14="http://schemas.microsoft.com/office/powerpoint/2010/main" val="4275400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82" name="think-cell data - do not delete" hidden="1">
                        <a:extLst>
                          <a:ext uri="{FF2B5EF4-FFF2-40B4-BE49-F238E27FC236}">
                            <a16:creationId xmlns:a16="http://schemas.microsoft.com/office/drawing/2014/main" id="{CCADC661-36B0-6F64-DA3E-9060E68E38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6" name="Rectangle: Rounded Corners 135">
            <a:extLst>
              <a:ext uri="{FF2B5EF4-FFF2-40B4-BE49-F238E27FC236}">
                <a16:creationId xmlns:a16="http://schemas.microsoft.com/office/drawing/2014/main" id="{6CC0E071-F6E4-44DD-426F-BB67D1C518D0}"/>
              </a:ext>
            </a:extLst>
          </p:cNvPr>
          <p:cNvSpPr/>
          <p:nvPr/>
        </p:nvSpPr>
        <p:spPr>
          <a:xfrm>
            <a:off x="304800" y="1371601"/>
            <a:ext cx="11582400" cy="4762500"/>
          </a:xfrm>
          <a:prstGeom prst="roundRect">
            <a:avLst>
              <a:gd name="adj" fmla="val 4065"/>
            </a:avLst>
          </a:prstGeom>
          <a:solidFill>
            <a:srgbClr val="2B660F"/>
          </a:solidFill>
          <a:ln w="6350">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14151" tIns="214151" rIns="214151" bIns="214151" numCol="1" spcCol="1270" anchor="ctr" anchorCtr="0">
            <a:noAutofit/>
          </a:bodyPr>
          <a:lstStyle/>
          <a:p>
            <a:pPr defTabSz="1911350">
              <a:lnSpc>
                <a:spcPct val="90000"/>
              </a:lnSpc>
              <a:spcBef>
                <a:spcPct val="0"/>
              </a:spcBef>
              <a:spcAft>
                <a:spcPct val="35000"/>
              </a:spcAft>
            </a:pPr>
            <a:endParaRPr lang="en-US" sz="2000">
              <a:solidFill>
                <a:schemeClr val="bg1"/>
              </a:solidFill>
            </a:endParaRPr>
          </a:p>
        </p:txBody>
      </p:sp>
      <p:pic>
        <p:nvPicPr>
          <p:cNvPr id="151" name="Graphic 150">
            <a:extLst>
              <a:ext uri="{FF2B5EF4-FFF2-40B4-BE49-F238E27FC236}">
                <a16:creationId xmlns:a16="http://schemas.microsoft.com/office/drawing/2014/main" id="{96BFFD83-7F70-ECA6-375E-9BC6A2FCBEBA}"/>
              </a:ext>
            </a:extLst>
          </p:cNvPr>
          <p:cNvPicPr/>
          <p:nvPr/>
        </p:nvPicPr>
        <p:blipFill>
          <a:blip r:embed="rId5">
            <a:extLst>
              <a:ext uri="{96DAC541-7B7A-43D3-8B79-37D633B846F1}">
                <asvg:svgBlip xmlns:asvg="http://schemas.microsoft.com/office/drawing/2016/SVG/main" r:embed="rId6"/>
              </a:ext>
            </a:extLst>
          </a:blip>
          <a:srcRect l="8611" t="11392" r="56210" b="6663"/>
          <a:stretch>
            <a:fillRect/>
          </a:stretch>
        </p:blipFill>
        <p:spPr>
          <a:xfrm flipH="1">
            <a:off x="10833100" y="5245492"/>
            <a:ext cx="1357471" cy="1610737"/>
          </a:xfrm>
          <a:prstGeom prst="rect">
            <a:avLst/>
          </a:prstGeom>
        </p:spPr>
      </p:pic>
      <p:pic>
        <p:nvPicPr>
          <p:cNvPr id="84" name="Picture 83">
            <a:extLst>
              <a:ext uri="{FF2B5EF4-FFF2-40B4-BE49-F238E27FC236}">
                <a16:creationId xmlns:a16="http://schemas.microsoft.com/office/drawing/2014/main" id="{F886E855-59C2-A9DD-0625-A485FB701015}"/>
              </a:ext>
            </a:extLst>
          </p:cNvPr>
          <p:cNvPicPr>
            <a:picLocks noChangeAspect="1"/>
          </p:cNvPicPr>
          <p:nvPr/>
        </p:nvPicPr>
        <p:blipFill rotWithShape="1">
          <a:blip r:embed="rId7"/>
          <a:srcRect t="7964" b="74305"/>
          <a:stretch>
            <a:fillRect/>
          </a:stretch>
        </p:blipFill>
        <p:spPr>
          <a:xfrm>
            <a:off x="0" y="0"/>
            <a:ext cx="12192000" cy="1216025"/>
          </a:xfrm>
          <a:prstGeom prst="rect">
            <a:avLst/>
          </a:prstGeom>
        </p:spPr>
      </p:pic>
      <p:sp>
        <p:nvSpPr>
          <p:cNvPr id="85" name="Rectangle 84">
            <a:extLst>
              <a:ext uri="{FF2B5EF4-FFF2-40B4-BE49-F238E27FC236}">
                <a16:creationId xmlns:a16="http://schemas.microsoft.com/office/drawing/2014/main" id="{38A797F2-B296-8AF5-819C-7DDB1CB92BB6}"/>
              </a:ext>
            </a:extLst>
          </p:cNvPr>
          <p:cNvSpPr/>
          <p:nvPr/>
        </p:nvSpPr>
        <p:spPr>
          <a:xfrm>
            <a:off x="0" y="0"/>
            <a:ext cx="12192000" cy="1219200"/>
          </a:xfrm>
          <a:prstGeom prst="rect">
            <a:avLst/>
          </a:prstGeom>
          <a:solidFill>
            <a:schemeClr val="accent3">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112D57DB-4D61-96B7-9C80-B8D29E38B54C}"/>
              </a:ext>
            </a:extLst>
          </p:cNvPr>
          <p:cNvSpPr>
            <a:spLocks noGrp="1"/>
          </p:cNvSpPr>
          <p:nvPr>
            <p:ph type="title"/>
          </p:nvPr>
        </p:nvSpPr>
        <p:spPr>
          <a:xfrm>
            <a:off x="304798" y="246888"/>
            <a:ext cx="11585448" cy="969264"/>
          </a:xfrm>
        </p:spPr>
        <p:txBody>
          <a:bodyPr vert="horz" lIns="822960" rIns="0"/>
          <a:lstStyle/>
          <a:p>
            <a:pPr>
              <a:defRPr/>
            </a:pPr>
            <a:r>
              <a:rPr lang="en-US" b="1" cap="none">
                <a:solidFill>
                  <a:srgbClr val="8DBD29"/>
                </a:solidFill>
              </a:rPr>
              <a:t>GENERAL</a:t>
            </a:r>
            <a:endParaRPr lang="en-MX" b="1" cap="none">
              <a:solidFill>
                <a:srgbClr val="8DBD29"/>
              </a:solidFill>
            </a:endParaRPr>
          </a:p>
        </p:txBody>
      </p:sp>
      <p:sp>
        <p:nvSpPr>
          <p:cNvPr id="110" name="TextBox 109">
            <a:extLst>
              <a:ext uri="{FF2B5EF4-FFF2-40B4-BE49-F238E27FC236}">
                <a16:creationId xmlns:a16="http://schemas.microsoft.com/office/drawing/2014/main" id="{6345210E-00CA-0574-ABEB-B9793B3384C3}"/>
              </a:ext>
            </a:extLst>
          </p:cNvPr>
          <p:cNvSpPr txBox="1"/>
          <p:nvPr/>
        </p:nvSpPr>
        <p:spPr>
          <a:xfrm>
            <a:off x="6610350" y="1463675"/>
            <a:ext cx="5191124" cy="836126"/>
          </a:xfrm>
          <a:prstGeom prst="rect">
            <a:avLst/>
          </a:prstGeom>
          <a:noFill/>
        </p:spPr>
        <p:txBody>
          <a:bodyPr wrap="square" rtlCol="0">
            <a:noAutofit/>
          </a:bodyPr>
          <a:lstStyle/>
          <a:p>
            <a:pPr>
              <a:spcBef>
                <a:spcPts val="400"/>
              </a:spcBef>
            </a:pPr>
            <a:r>
              <a:rPr lang="en-US" sz="1200" b="1">
                <a:solidFill>
                  <a:schemeClr val="accent4"/>
                </a:solidFill>
                <a:latin typeface="+mj-lt"/>
              </a:rPr>
              <a:t>PLANETARY BOUNDARIES</a:t>
            </a:r>
          </a:p>
          <a:p>
            <a:pPr>
              <a:spcBef>
                <a:spcPts val="400"/>
              </a:spcBef>
            </a:pPr>
            <a:r>
              <a:rPr lang="en-GB" sz="1100">
                <a:solidFill>
                  <a:schemeClr val="bg1"/>
                </a:solidFill>
                <a:ea typeface="Calibri" panose="020F0502020204030204" pitchFamily="34" charset="0"/>
                <a:cs typeface="Times New Roman" panose="02020603050405020304" pitchFamily="18" charset="0"/>
              </a:rPr>
              <a:t>Environmental limits (e.g., the Earth’s limits) within which humanity can safely operate, now and for generations to come. Planetary boundaries guide a ‘safe operating space’ for humanity on planet Earth. </a:t>
            </a:r>
          </a:p>
        </p:txBody>
      </p:sp>
      <p:sp>
        <p:nvSpPr>
          <p:cNvPr id="112" name="TextBox 111">
            <a:extLst>
              <a:ext uri="{FF2B5EF4-FFF2-40B4-BE49-F238E27FC236}">
                <a16:creationId xmlns:a16="http://schemas.microsoft.com/office/drawing/2014/main" id="{16E94C0D-EE34-54A1-FE1E-0BFAD456B1D3}"/>
              </a:ext>
            </a:extLst>
          </p:cNvPr>
          <p:cNvSpPr txBox="1"/>
          <p:nvPr/>
        </p:nvSpPr>
        <p:spPr>
          <a:xfrm>
            <a:off x="6610350" y="2473205"/>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VALUE CHAIN</a:t>
            </a:r>
          </a:p>
          <a:p>
            <a:pPr>
              <a:spcBef>
                <a:spcPts val="400"/>
              </a:spcBef>
            </a:pPr>
            <a:r>
              <a:rPr lang="en-US" sz="1100">
                <a:solidFill>
                  <a:schemeClr val="bg1"/>
                </a:solidFill>
                <a:ea typeface="Calibri" panose="020F0502020204030204" pitchFamily="34" charset="0"/>
                <a:cs typeface="Times New Roman" panose="02020603050405020304" pitchFamily="18" charset="0"/>
              </a:rPr>
              <a:t>The complete set of a business’s activities in the creation of a product or service.</a:t>
            </a:r>
          </a:p>
        </p:txBody>
      </p:sp>
      <p:sp>
        <p:nvSpPr>
          <p:cNvPr id="113" name="TextBox 112">
            <a:extLst>
              <a:ext uri="{FF2B5EF4-FFF2-40B4-BE49-F238E27FC236}">
                <a16:creationId xmlns:a16="http://schemas.microsoft.com/office/drawing/2014/main" id="{03627AD0-8883-9806-11FC-6E8A6B94BA6A}"/>
              </a:ext>
            </a:extLst>
          </p:cNvPr>
          <p:cNvSpPr txBox="1"/>
          <p:nvPr/>
        </p:nvSpPr>
        <p:spPr>
          <a:xfrm>
            <a:off x="6610350" y="3313458"/>
            <a:ext cx="5191124" cy="1502417"/>
          </a:xfrm>
          <a:prstGeom prst="rect">
            <a:avLst/>
          </a:prstGeom>
          <a:noFill/>
        </p:spPr>
        <p:txBody>
          <a:bodyPr wrap="square" rtlCol="0">
            <a:noAutofit/>
          </a:bodyPr>
          <a:lstStyle/>
          <a:p>
            <a:pPr>
              <a:spcBef>
                <a:spcPts val="400"/>
              </a:spcBef>
            </a:pPr>
            <a:r>
              <a:rPr lang="en-US" sz="1200" b="1">
                <a:solidFill>
                  <a:schemeClr val="accent4"/>
                </a:solidFill>
                <a:latin typeface="+mj-lt"/>
              </a:rPr>
              <a:t>SCIENCE-BASED TARGETS</a:t>
            </a:r>
          </a:p>
          <a:p>
            <a:pPr>
              <a:spcBef>
                <a:spcPts val="400"/>
              </a:spcBef>
            </a:pPr>
            <a:r>
              <a:rPr lang="en-US" sz="1100">
                <a:solidFill>
                  <a:schemeClr val="bg1"/>
                </a:solidFill>
                <a:ea typeface="Calibri" panose="020F0502020204030204" pitchFamily="34" charset="0"/>
                <a:cs typeface="Times New Roman" panose="02020603050405020304" pitchFamily="18" charset="0"/>
              </a:rPr>
              <a:t>Science-based targets show organizations how much and how quickly they need to reduce their greenhouse gas (GHG) emissions to prevent the worst effects of climate change. According to the Science Based Targets initiative (SBTi), emissions targets are “considered science-based if they are in line with what the latest climate science deems necessary to meet the goals of the Paris Agreement – limiting global warming to well-below 2°C above pre-industrial levels and pursuing efforts to limit warming to 1.5°C.” </a:t>
            </a:r>
          </a:p>
        </p:txBody>
      </p:sp>
      <p:sp>
        <p:nvSpPr>
          <p:cNvPr id="114" name="TextBox 113">
            <a:extLst>
              <a:ext uri="{FF2B5EF4-FFF2-40B4-BE49-F238E27FC236}">
                <a16:creationId xmlns:a16="http://schemas.microsoft.com/office/drawing/2014/main" id="{FEEC9C8D-C774-EB34-AC45-D169D793F960}"/>
              </a:ext>
            </a:extLst>
          </p:cNvPr>
          <p:cNvSpPr txBox="1"/>
          <p:nvPr/>
        </p:nvSpPr>
        <p:spPr>
          <a:xfrm>
            <a:off x="6610350" y="4989280"/>
            <a:ext cx="5191124" cy="1012825"/>
          </a:xfrm>
          <a:prstGeom prst="rect">
            <a:avLst/>
          </a:prstGeom>
          <a:noFill/>
        </p:spPr>
        <p:txBody>
          <a:bodyPr wrap="square" rtlCol="0">
            <a:noAutofit/>
          </a:bodyPr>
          <a:lstStyle/>
          <a:p>
            <a:pPr>
              <a:spcBef>
                <a:spcPts val="400"/>
              </a:spcBef>
            </a:pPr>
            <a:r>
              <a:rPr lang="en-US" sz="1200" b="1">
                <a:solidFill>
                  <a:schemeClr val="accent4"/>
                </a:solidFill>
                <a:latin typeface="+mj-lt"/>
              </a:rPr>
              <a:t>HUMAN RIGHTS</a:t>
            </a:r>
          </a:p>
          <a:p>
            <a:pPr>
              <a:spcBef>
                <a:spcPts val="400"/>
              </a:spcBef>
            </a:pPr>
            <a:r>
              <a:rPr lang="en-US" sz="1100">
                <a:solidFill>
                  <a:schemeClr val="bg1"/>
                </a:solidFill>
                <a:ea typeface="Calibri" panose="020F0502020204030204" pitchFamily="34" charset="0"/>
                <a:cs typeface="Times New Roman" panose="02020603050405020304" pitchFamily="18" charset="0"/>
              </a:rPr>
              <a:t>Human rights are rights inherent to all human beings, regardless of race, sex, nationality, ethnicity, language, religion, or any other status. Human rights include the right to life and liberty, freedom from slavery and torture, freedom of opinion and expression, the right to work and education, and many more.</a:t>
            </a:r>
          </a:p>
        </p:txBody>
      </p:sp>
      <p:cxnSp>
        <p:nvCxnSpPr>
          <p:cNvPr id="115" name="Straight Connector 114">
            <a:extLst>
              <a:ext uri="{FF2B5EF4-FFF2-40B4-BE49-F238E27FC236}">
                <a16:creationId xmlns:a16="http://schemas.microsoft.com/office/drawing/2014/main" id="{F9528F7C-F400-1E04-DB55-FCE245736892}"/>
              </a:ext>
            </a:extLst>
          </p:cNvPr>
          <p:cNvCxnSpPr>
            <a:cxnSpLocks/>
          </p:cNvCxnSpPr>
          <p:nvPr/>
        </p:nvCxnSpPr>
        <p:spPr>
          <a:xfrm>
            <a:off x="6610350" y="2386503"/>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079884D-85B3-8535-680E-D676AA3D6E69}"/>
              </a:ext>
            </a:extLst>
          </p:cNvPr>
          <p:cNvCxnSpPr>
            <a:cxnSpLocks/>
          </p:cNvCxnSpPr>
          <p:nvPr/>
        </p:nvCxnSpPr>
        <p:spPr>
          <a:xfrm>
            <a:off x="6610350" y="3226756"/>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07C1E70D-9B7C-F391-A05F-A8914E2B7F80}"/>
              </a:ext>
            </a:extLst>
          </p:cNvPr>
          <p:cNvCxnSpPr>
            <a:cxnSpLocks/>
          </p:cNvCxnSpPr>
          <p:nvPr/>
        </p:nvCxnSpPr>
        <p:spPr>
          <a:xfrm>
            <a:off x="6610350" y="4902577"/>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EFF731C6-C5DA-BEB9-0709-5529862AA887}"/>
              </a:ext>
            </a:extLst>
          </p:cNvPr>
          <p:cNvSpPr txBox="1"/>
          <p:nvPr/>
        </p:nvSpPr>
        <p:spPr>
          <a:xfrm>
            <a:off x="731996" y="1463675"/>
            <a:ext cx="5191124" cy="1005403"/>
          </a:xfrm>
          <a:prstGeom prst="rect">
            <a:avLst/>
          </a:prstGeom>
          <a:noFill/>
        </p:spPr>
        <p:txBody>
          <a:bodyPr wrap="square" rtlCol="0">
            <a:noAutofit/>
          </a:bodyPr>
          <a:lstStyle/>
          <a:p>
            <a:pPr>
              <a:spcBef>
                <a:spcPts val="400"/>
              </a:spcBef>
            </a:pPr>
            <a:r>
              <a:rPr lang="en-US" sz="1200" b="1">
                <a:solidFill>
                  <a:schemeClr val="accent4"/>
                </a:solidFill>
                <a:latin typeface="+mj-lt"/>
              </a:rPr>
              <a:t>SUSTAINABILITY</a:t>
            </a:r>
          </a:p>
          <a:p>
            <a:pPr>
              <a:spcBef>
                <a:spcPts val="400"/>
              </a:spcBef>
            </a:pPr>
            <a:r>
              <a:rPr lang="en-US" sz="1100">
                <a:solidFill>
                  <a:schemeClr val="bg1"/>
                </a:solidFill>
                <a:ea typeface="Calibri" panose="020F0502020204030204" pitchFamily="34" charset="0"/>
                <a:cs typeface="Times New Roman" panose="02020603050405020304" pitchFamily="18" charset="0"/>
              </a:rPr>
              <a:t>Everything that we need for our survival and well-being depends, either directly or indirectly, on our natural environment. To pursue sustainability is to create and maintain the conditions under which humans and nature can exist in productive harmony to support present and future generations.</a:t>
            </a:r>
          </a:p>
        </p:txBody>
      </p:sp>
      <p:sp>
        <p:nvSpPr>
          <p:cNvPr id="138" name="TextBox 137">
            <a:extLst>
              <a:ext uri="{FF2B5EF4-FFF2-40B4-BE49-F238E27FC236}">
                <a16:creationId xmlns:a16="http://schemas.microsoft.com/office/drawing/2014/main" id="{2AE06324-4B77-C4F1-A56F-DE83874FF0CF}"/>
              </a:ext>
            </a:extLst>
          </p:cNvPr>
          <p:cNvSpPr txBox="1"/>
          <p:nvPr/>
        </p:nvSpPr>
        <p:spPr>
          <a:xfrm>
            <a:off x="731996" y="2649792"/>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ESG</a:t>
            </a:r>
          </a:p>
          <a:p>
            <a:pPr>
              <a:spcBef>
                <a:spcPts val="400"/>
              </a:spcBef>
            </a:pPr>
            <a:r>
              <a:rPr lang="en-US" sz="1100">
                <a:solidFill>
                  <a:schemeClr val="bg1"/>
                </a:solidFill>
                <a:ea typeface="Calibri" panose="020F0502020204030204" pitchFamily="34" charset="0"/>
                <a:cs typeface="Times New Roman" panose="02020603050405020304" pitchFamily="18" charset="0"/>
              </a:rPr>
              <a:t>ESG stands for environmental, social, and governance and is a term primarily used by the investor and finance community.</a:t>
            </a:r>
          </a:p>
        </p:txBody>
      </p:sp>
      <p:sp>
        <p:nvSpPr>
          <p:cNvPr id="139" name="TextBox 138">
            <a:extLst>
              <a:ext uri="{FF2B5EF4-FFF2-40B4-BE49-F238E27FC236}">
                <a16:creationId xmlns:a16="http://schemas.microsoft.com/office/drawing/2014/main" id="{408F51E6-A050-53AA-B43E-10CCD8B22DD5}"/>
              </a:ext>
            </a:extLst>
          </p:cNvPr>
          <p:cNvSpPr txBox="1"/>
          <p:nvPr/>
        </p:nvSpPr>
        <p:spPr>
          <a:xfrm>
            <a:off x="731996" y="3497355"/>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CLIMATE CHANGE</a:t>
            </a:r>
          </a:p>
          <a:p>
            <a:pPr>
              <a:spcBef>
                <a:spcPts val="400"/>
              </a:spcBef>
            </a:pPr>
            <a:r>
              <a:rPr lang="en-US" sz="1100">
                <a:solidFill>
                  <a:schemeClr val="bg1"/>
                </a:solidFill>
                <a:ea typeface="Calibri" panose="020F0502020204030204" pitchFamily="34" charset="0"/>
                <a:cs typeface="Times New Roman" panose="02020603050405020304" pitchFamily="18" charset="0"/>
              </a:rPr>
              <a:t>Climate change is a long-term change in the average weather patterns that have come to define Earth’s local, regional and global climates.</a:t>
            </a:r>
          </a:p>
        </p:txBody>
      </p:sp>
      <p:sp>
        <p:nvSpPr>
          <p:cNvPr id="140" name="TextBox 139">
            <a:extLst>
              <a:ext uri="{FF2B5EF4-FFF2-40B4-BE49-F238E27FC236}">
                <a16:creationId xmlns:a16="http://schemas.microsoft.com/office/drawing/2014/main" id="{63F3C9AF-B9EE-CED7-E190-AB7EE29F8163}"/>
              </a:ext>
            </a:extLst>
          </p:cNvPr>
          <p:cNvSpPr txBox="1"/>
          <p:nvPr/>
        </p:nvSpPr>
        <p:spPr>
          <a:xfrm>
            <a:off x="731996" y="4344918"/>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CLIMATE CHANGE RESILIENCE</a:t>
            </a:r>
          </a:p>
          <a:p>
            <a:pPr>
              <a:spcBef>
                <a:spcPts val="400"/>
              </a:spcBef>
            </a:pPr>
            <a:r>
              <a:rPr lang="en-US" sz="1100">
                <a:solidFill>
                  <a:schemeClr val="bg1"/>
                </a:solidFill>
                <a:ea typeface="Calibri" panose="020F0502020204030204" pitchFamily="34" charset="0"/>
                <a:cs typeface="Times New Roman" panose="02020603050405020304" pitchFamily="18" charset="0"/>
              </a:rPr>
              <a:t>Reducing vulnerabilities to the impacts of climate change by incorporating climate risk into our business continuity plans. </a:t>
            </a:r>
          </a:p>
        </p:txBody>
      </p:sp>
      <p:sp>
        <p:nvSpPr>
          <p:cNvPr id="148" name="TextBox 147">
            <a:extLst>
              <a:ext uri="{FF2B5EF4-FFF2-40B4-BE49-F238E27FC236}">
                <a16:creationId xmlns:a16="http://schemas.microsoft.com/office/drawing/2014/main" id="{D39B7BB8-3413-0310-EF4B-28399DAA6E16}"/>
              </a:ext>
            </a:extLst>
          </p:cNvPr>
          <p:cNvSpPr txBox="1"/>
          <p:nvPr/>
        </p:nvSpPr>
        <p:spPr>
          <a:xfrm>
            <a:off x="731996" y="5192480"/>
            <a:ext cx="5191124" cy="836126"/>
          </a:xfrm>
          <a:prstGeom prst="rect">
            <a:avLst/>
          </a:prstGeom>
          <a:noFill/>
        </p:spPr>
        <p:txBody>
          <a:bodyPr wrap="square" rtlCol="0">
            <a:noAutofit/>
          </a:bodyPr>
          <a:lstStyle/>
          <a:p>
            <a:pPr>
              <a:spcBef>
                <a:spcPts val="400"/>
              </a:spcBef>
            </a:pPr>
            <a:r>
              <a:rPr lang="en-US" sz="1200" b="1">
                <a:solidFill>
                  <a:schemeClr val="accent4"/>
                </a:solidFill>
                <a:latin typeface="+mj-lt"/>
              </a:rPr>
              <a:t>GLOBAL WARMING</a:t>
            </a:r>
          </a:p>
          <a:p>
            <a:pPr>
              <a:spcBef>
                <a:spcPts val="400"/>
              </a:spcBef>
            </a:pPr>
            <a:r>
              <a:rPr lang="en-US" sz="1100">
                <a:solidFill>
                  <a:schemeClr val="bg1"/>
                </a:solidFill>
                <a:ea typeface="Calibri" panose="020F0502020204030204" pitchFamily="34" charset="0"/>
                <a:cs typeface="Times New Roman" panose="02020603050405020304" pitchFamily="18" charset="0"/>
              </a:rPr>
              <a:t>The warming of the planet's overall temperature generally attributed to the greenhouse gas effect caused by increased levels of carbon dioxide, chlorofluorocarbons, and other pollutants.</a:t>
            </a:r>
          </a:p>
        </p:txBody>
      </p:sp>
      <p:cxnSp>
        <p:nvCxnSpPr>
          <p:cNvPr id="141" name="Straight Connector 140">
            <a:extLst>
              <a:ext uri="{FF2B5EF4-FFF2-40B4-BE49-F238E27FC236}">
                <a16:creationId xmlns:a16="http://schemas.microsoft.com/office/drawing/2014/main" id="{82E49710-20D1-CF66-9953-0851F53C5706}"/>
              </a:ext>
            </a:extLst>
          </p:cNvPr>
          <p:cNvCxnSpPr>
            <a:cxnSpLocks/>
          </p:cNvCxnSpPr>
          <p:nvPr/>
        </p:nvCxnSpPr>
        <p:spPr>
          <a:xfrm>
            <a:off x="731996" y="2559435"/>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0384FB82-3D3D-A12A-2D99-B31F2009BB46}"/>
              </a:ext>
            </a:extLst>
          </p:cNvPr>
          <p:cNvCxnSpPr>
            <a:cxnSpLocks/>
          </p:cNvCxnSpPr>
          <p:nvPr/>
        </p:nvCxnSpPr>
        <p:spPr>
          <a:xfrm>
            <a:off x="731996" y="3406998"/>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B86FF709-2CDF-141D-1D65-FB0C7368D641}"/>
              </a:ext>
            </a:extLst>
          </p:cNvPr>
          <p:cNvCxnSpPr>
            <a:cxnSpLocks/>
          </p:cNvCxnSpPr>
          <p:nvPr/>
        </p:nvCxnSpPr>
        <p:spPr>
          <a:xfrm>
            <a:off x="731996" y="4254561"/>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9AAE158-AEE8-74D6-D38D-E5BA23B6A9A0}"/>
              </a:ext>
            </a:extLst>
          </p:cNvPr>
          <p:cNvCxnSpPr>
            <a:cxnSpLocks/>
          </p:cNvCxnSpPr>
          <p:nvPr/>
        </p:nvCxnSpPr>
        <p:spPr>
          <a:xfrm>
            <a:off x="731996" y="5102124"/>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5DD7DD56-B56F-D24B-7626-1DDB44059A50}"/>
              </a:ext>
            </a:extLst>
          </p:cNvPr>
          <p:cNvSpPr/>
          <p:nvPr/>
        </p:nvSpPr>
        <p:spPr>
          <a:xfrm>
            <a:off x="6073140" y="1421131"/>
            <a:ext cx="45720" cy="4663440"/>
          </a:xfrm>
          <a:prstGeom prst="roundRect">
            <a:avLst>
              <a:gd name="adj" fmla="val 50000"/>
            </a:avLst>
          </a:prstGeom>
          <a:solidFill>
            <a:srgbClr val="5D91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5898C400-39AA-55F7-5E8E-33EC0006E570}"/>
              </a:ext>
            </a:extLst>
          </p:cNvPr>
          <p:cNvGrpSpPr/>
          <p:nvPr/>
        </p:nvGrpSpPr>
        <p:grpSpPr>
          <a:xfrm>
            <a:off x="304800" y="140391"/>
            <a:ext cx="618170" cy="618170"/>
            <a:chOff x="304800" y="140391"/>
            <a:chExt cx="618170" cy="618170"/>
          </a:xfrm>
        </p:grpSpPr>
        <p:sp>
          <p:nvSpPr>
            <p:cNvPr id="153" name="Oval 152">
              <a:extLst>
                <a:ext uri="{FF2B5EF4-FFF2-40B4-BE49-F238E27FC236}">
                  <a16:creationId xmlns:a16="http://schemas.microsoft.com/office/drawing/2014/main" id="{C0EB0FAF-D052-BCC2-240B-3F32649A225D}"/>
                </a:ext>
              </a:extLst>
            </p:cNvPr>
            <p:cNvSpPr/>
            <p:nvPr/>
          </p:nvSpPr>
          <p:spPr>
            <a:xfrm>
              <a:off x="304800" y="140391"/>
              <a:ext cx="618170" cy="618170"/>
            </a:xfrm>
            <a:prstGeom prst="ellipse">
              <a:avLst/>
            </a:prstGeom>
            <a:solidFill>
              <a:srgbClr val="A4CA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4078656C-6D40-76A9-58EF-E33C6D590C6E}"/>
                </a:ext>
              </a:extLst>
            </p:cNvPr>
            <p:cNvGrpSpPr/>
            <p:nvPr/>
          </p:nvGrpSpPr>
          <p:grpSpPr>
            <a:xfrm>
              <a:off x="418661" y="254252"/>
              <a:ext cx="390449" cy="390449"/>
              <a:chOff x="-960358" y="2403999"/>
              <a:chExt cx="281801" cy="281668"/>
            </a:xfrm>
          </p:grpSpPr>
          <p:sp>
            <p:nvSpPr>
              <p:cNvPr id="17" name="Oval 16">
                <a:extLst>
                  <a:ext uri="{FF2B5EF4-FFF2-40B4-BE49-F238E27FC236}">
                    <a16:creationId xmlns:a16="http://schemas.microsoft.com/office/drawing/2014/main" id="{D0A578F1-FB7F-7EF8-86DE-15E250D39CE3}"/>
                  </a:ext>
                </a:extLst>
              </p:cNvPr>
              <p:cNvSpPr/>
              <p:nvPr/>
            </p:nvSpPr>
            <p:spPr>
              <a:xfrm>
                <a:off x="-960358" y="2403999"/>
                <a:ext cx="281801" cy="281668"/>
              </a:xfrm>
              <a:prstGeom prst="ellipse">
                <a:avLst/>
              </a:prstGeom>
              <a:solidFill>
                <a:srgbClr val="357FCD"/>
              </a:solidFill>
              <a:ln w="7189" cap="flat">
                <a:noFill/>
                <a:prstDash val="solid"/>
                <a:miter/>
              </a:ln>
            </p:spPr>
            <p:txBody>
              <a:bodyPr/>
              <a:lstStyle/>
              <a:p>
                <a:endParaRPr lang="en-US"/>
              </a:p>
            </p:txBody>
          </p:sp>
          <p:grpSp>
            <p:nvGrpSpPr>
              <p:cNvPr id="18" name="Picture 9">
                <a:extLst>
                  <a:ext uri="{FF2B5EF4-FFF2-40B4-BE49-F238E27FC236}">
                    <a16:creationId xmlns:a16="http://schemas.microsoft.com/office/drawing/2014/main" id="{9CA08653-3AF4-F4FD-0122-F2AA85CAEB2A}"/>
                  </a:ext>
                </a:extLst>
              </p:cNvPr>
              <p:cNvGrpSpPr/>
              <p:nvPr/>
            </p:nvGrpSpPr>
            <p:grpSpPr>
              <a:xfrm>
                <a:off x="-861161" y="2461574"/>
                <a:ext cx="81820" cy="167955"/>
                <a:chOff x="-861161" y="2461574"/>
                <a:chExt cx="81820" cy="167955"/>
              </a:xfrm>
              <a:solidFill>
                <a:srgbClr val="FFFFFF"/>
              </a:solidFill>
            </p:grpSpPr>
            <p:sp>
              <p:nvSpPr>
                <p:cNvPr id="19" name="Freeform: Shape 18">
                  <a:extLst>
                    <a:ext uri="{FF2B5EF4-FFF2-40B4-BE49-F238E27FC236}">
                      <a16:creationId xmlns:a16="http://schemas.microsoft.com/office/drawing/2014/main" id="{C0B6E760-36E5-9413-74A5-FA38D8AEB244}"/>
                    </a:ext>
                  </a:extLst>
                </p:cNvPr>
                <p:cNvSpPr/>
                <p:nvPr/>
              </p:nvSpPr>
              <p:spPr>
                <a:xfrm>
                  <a:off x="-821520" y="2461574"/>
                  <a:ext cx="42179" cy="39602"/>
                </a:xfrm>
                <a:custGeom>
                  <a:avLst/>
                  <a:gdLst>
                    <a:gd name="csX0" fmla="*/ 37322 w 42179"/>
                    <a:gd name="csY0" fmla="*/ 5985 h 39602"/>
                    <a:gd name="csX1" fmla="*/ 7630 w 42179"/>
                    <a:gd name="csY1" fmla="*/ 5613 h 39602"/>
                    <a:gd name="csX2" fmla="*/ 4854 w 42179"/>
                    <a:gd name="csY2" fmla="*/ 33610 h 39602"/>
                    <a:gd name="csX3" fmla="*/ 34553 w 42179"/>
                    <a:gd name="csY3" fmla="*/ 33997 h 39602"/>
                    <a:gd name="csX4" fmla="*/ 37322 w 42179"/>
                    <a:gd name="csY4" fmla="*/ 5985 h 39602"/>
                  </a:gdLst>
                  <a:ahLst/>
                  <a:cxnLst>
                    <a:cxn ang="0">
                      <a:pos x="csX0" y="csY0"/>
                    </a:cxn>
                    <a:cxn ang="0">
                      <a:pos x="csX1" y="csY1"/>
                    </a:cxn>
                    <a:cxn ang="0">
                      <a:pos x="csX2" y="csY2"/>
                    </a:cxn>
                    <a:cxn ang="0">
                      <a:pos x="csX3" y="csY3"/>
                    </a:cxn>
                    <a:cxn ang="0">
                      <a:pos x="csX4" y="csY4"/>
                    </a:cxn>
                  </a:cxnLst>
                  <a:rect l="l" t="t" r="r" b="b"/>
                  <a:pathLst>
                    <a:path w="42179" h="39602">
                      <a:moveTo>
                        <a:pt x="37322" y="5985"/>
                      </a:moveTo>
                      <a:cubicBezTo>
                        <a:pt x="29884" y="-1843"/>
                        <a:pt x="16595" y="-2018"/>
                        <a:pt x="7630" y="5613"/>
                      </a:cubicBezTo>
                      <a:cubicBezTo>
                        <a:pt x="-1341" y="13244"/>
                        <a:pt x="-2576" y="25782"/>
                        <a:pt x="4854" y="33610"/>
                      </a:cubicBezTo>
                      <a:cubicBezTo>
                        <a:pt x="12292" y="41453"/>
                        <a:pt x="25581" y="41614"/>
                        <a:pt x="34553" y="33997"/>
                      </a:cubicBezTo>
                      <a:cubicBezTo>
                        <a:pt x="43517" y="26352"/>
                        <a:pt x="44759" y="13813"/>
                        <a:pt x="37322" y="5985"/>
                      </a:cubicBezTo>
                      <a:close/>
                    </a:path>
                  </a:pathLst>
                </a:custGeom>
                <a:solidFill>
                  <a:srgbClr val="FFFFFF"/>
                </a:solidFill>
                <a:ln w="7189" cap="flat">
                  <a:noFill/>
                  <a:prstDash val="solid"/>
                  <a:miter/>
                </a:ln>
              </p:spPr>
              <p:txBody>
                <a:bodyPr/>
                <a:lstStyle/>
                <a:p>
                  <a:endParaRPr lang="en-US"/>
                </a:p>
              </p:txBody>
            </p:sp>
            <p:sp>
              <p:nvSpPr>
                <p:cNvPr id="20" name="Freeform: Shape 19">
                  <a:extLst>
                    <a:ext uri="{FF2B5EF4-FFF2-40B4-BE49-F238E27FC236}">
                      <a16:creationId xmlns:a16="http://schemas.microsoft.com/office/drawing/2014/main" id="{C005EF0F-9EFD-E504-55FC-CE3E71B6D74D}"/>
                    </a:ext>
                  </a:extLst>
                </p:cNvPr>
                <p:cNvSpPr/>
                <p:nvPr/>
              </p:nvSpPr>
              <p:spPr>
                <a:xfrm>
                  <a:off x="-861161" y="2515089"/>
                  <a:ext cx="69269" cy="114440"/>
                </a:xfrm>
                <a:custGeom>
                  <a:avLst/>
                  <a:gdLst>
                    <a:gd name="csX0" fmla="*/ 65207 w 69269"/>
                    <a:gd name="csY0" fmla="*/ 79831 h 114440"/>
                    <a:gd name="csX1" fmla="*/ 62511 w 69269"/>
                    <a:gd name="csY1" fmla="*/ 80861 h 114440"/>
                    <a:gd name="csX2" fmla="*/ 52225 w 69269"/>
                    <a:gd name="csY2" fmla="*/ 88974 h 114440"/>
                    <a:gd name="csX3" fmla="*/ 45313 w 69269"/>
                    <a:gd name="csY3" fmla="*/ 80014 h 114440"/>
                    <a:gd name="csX4" fmla="*/ 62548 w 69269"/>
                    <a:gd name="csY4" fmla="*/ 33162 h 114440"/>
                    <a:gd name="csX5" fmla="*/ 32060 w 69269"/>
                    <a:gd name="csY5" fmla="*/ 1031 h 114440"/>
                    <a:gd name="csX6" fmla="*/ 3809 w 69269"/>
                    <a:gd name="csY6" fmla="*/ 17388 h 114440"/>
                    <a:gd name="csX7" fmla="*/ 2377 w 69269"/>
                    <a:gd name="csY7" fmla="*/ 20528 h 114440"/>
                    <a:gd name="csX8" fmla="*/ 6526 w 69269"/>
                    <a:gd name="csY8" fmla="*/ 24676 h 114440"/>
                    <a:gd name="csX9" fmla="*/ 8952 w 69269"/>
                    <a:gd name="csY9" fmla="*/ 23895 h 114440"/>
                    <a:gd name="csX10" fmla="*/ 9208 w 69269"/>
                    <a:gd name="csY10" fmla="*/ 23683 h 114440"/>
                    <a:gd name="csX11" fmla="*/ 17178 w 69269"/>
                    <a:gd name="csY11" fmla="*/ 17994 h 114440"/>
                    <a:gd name="csX12" fmla="*/ 25127 w 69269"/>
                    <a:gd name="csY12" fmla="*/ 24654 h 114440"/>
                    <a:gd name="csX13" fmla="*/ 419 w 69269"/>
                    <a:gd name="csY13" fmla="*/ 91961 h 114440"/>
                    <a:gd name="csX14" fmla="*/ 33222 w 69269"/>
                    <a:gd name="csY14" fmla="*/ 111969 h 114440"/>
                    <a:gd name="csX15" fmla="*/ 67969 w 69269"/>
                    <a:gd name="csY15" fmla="*/ 86878 h 114440"/>
                    <a:gd name="csX16" fmla="*/ 67969 w 69269"/>
                    <a:gd name="csY16" fmla="*/ 86864 h 114440"/>
                    <a:gd name="csX17" fmla="*/ 69269 w 69269"/>
                    <a:gd name="csY17" fmla="*/ 83899 h 114440"/>
                    <a:gd name="csX18" fmla="*/ 65207 w 69269"/>
                    <a:gd name="csY18" fmla="*/ 79831 h 11444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69269" h="114440">
                      <a:moveTo>
                        <a:pt x="65207" y="79831"/>
                      </a:moveTo>
                      <a:cubicBezTo>
                        <a:pt x="64170" y="79831"/>
                        <a:pt x="63227" y="80218"/>
                        <a:pt x="62511" y="80861"/>
                      </a:cubicBezTo>
                      <a:cubicBezTo>
                        <a:pt x="58705" y="84366"/>
                        <a:pt x="57105" y="85651"/>
                        <a:pt x="52225" y="88974"/>
                      </a:cubicBezTo>
                      <a:cubicBezTo>
                        <a:pt x="45985" y="93224"/>
                        <a:pt x="41741" y="90946"/>
                        <a:pt x="45313" y="80014"/>
                      </a:cubicBezTo>
                      <a:cubicBezTo>
                        <a:pt x="48886" y="69082"/>
                        <a:pt x="54541" y="54412"/>
                        <a:pt x="62548" y="33162"/>
                      </a:cubicBezTo>
                      <a:cubicBezTo>
                        <a:pt x="73762" y="3338"/>
                        <a:pt x="47673" y="-2825"/>
                        <a:pt x="32060" y="1031"/>
                      </a:cubicBezTo>
                      <a:cubicBezTo>
                        <a:pt x="20481" y="3886"/>
                        <a:pt x="10523" y="11174"/>
                        <a:pt x="3809" y="17388"/>
                      </a:cubicBezTo>
                      <a:cubicBezTo>
                        <a:pt x="2939" y="18155"/>
                        <a:pt x="2377" y="19287"/>
                        <a:pt x="2377" y="20528"/>
                      </a:cubicBezTo>
                      <a:cubicBezTo>
                        <a:pt x="2377" y="22821"/>
                        <a:pt x="4232" y="24676"/>
                        <a:pt x="6526" y="24676"/>
                      </a:cubicBezTo>
                      <a:cubicBezTo>
                        <a:pt x="7432" y="24676"/>
                        <a:pt x="8265" y="24377"/>
                        <a:pt x="8952" y="23895"/>
                      </a:cubicBezTo>
                      <a:cubicBezTo>
                        <a:pt x="8959" y="23880"/>
                        <a:pt x="9171" y="23727"/>
                        <a:pt x="9208" y="23683"/>
                      </a:cubicBezTo>
                      <a:cubicBezTo>
                        <a:pt x="12086" y="21375"/>
                        <a:pt x="15030" y="19221"/>
                        <a:pt x="17178" y="17994"/>
                      </a:cubicBezTo>
                      <a:cubicBezTo>
                        <a:pt x="22672" y="14854"/>
                        <a:pt x="27808" y="16965"/>
                        <a:pt x="25127" y="24654"/>
                      </a:cubicBezTo>
                      <a:cubicBezTo>
                        <a:pt x="22446" y="32344"/>
                        <a:pt x="3684" y="72974"/>
                        <a:pt x="419" y="91961"/>
                      </a:cubicBezTo>
                      <a:cubicBezTo>
                        <a:pt x="-2847" y="110947"/>
                        <a:pt x="13452" y="118899"/>
                        <a:pt x="33222" y="111969"/>
                      </a:cubicBezTo>
                      <a:cubicBezTo>
                        <a:pt x="46270" y="107303"/>
                        <a:pt x="61357" y="93655"/>
                        <a:pt x="67969" y="86878"/>
                      </a:cubicBezTo>
                      <a:lnTo>
                        <a:pt x="67969" y="86864"/>
                      </a:lnTo>
                      <a:cubicBezTo>
                        <a:pt x="68765" y="86119"/>
                        <a:pt x="69269" y="85067"/>
                        <a:pt x="69269" y="83899"/>
                      </a:cubicBezTo>
                      <a:cubicBezTo>
                        <a:pt x="69269" y="81657"/>
                        <a:pt x="67450" y="79831"/>
                        <a:pt x="65207" y="79831"/>
                      </a:cubicBezTo>
                      <a:close/>
                    </a:path>
                  </a:pathLst>
                </a:custGeom>
                <a:solidFill>
                  <a:srgbClr val="FFFFFF"/>
                </a:solidFill>
                <a:ln w="7189" cap="flat">
                  <a:noFill/>
                  <a:prstDash val="solid"/>
                  <a:miter/>
                </a:ln>
              </p:spPr>
              <p:txBody>
                <a:bodyPr/>
                <a:lstStyle/>
                <a:p>
                  <a:endParaRPr lang="en-US"/>
                </a:p>
              </p:txBody>
            </p:sp>
          </p:grpSp>
        </p:grpSp>
      </p:grpSp>
      <p:grpSp>
        <p:nvGrpSpPr>
          <p:cNvPr id="36" name="Group 35">
            <a:extLst>
              <a:ext uri="{FF2B5EF4-FFF2-40B4-BE49-F238E27FC236}">
                <a16:creationId xmlns:a16="http://schemas.microsoft.com/office/drawing/2014/main" id="{C78BB056-7377-C33C-0E3C-3C247B33FBF7}"/>
              </a:ext>
            </a:extLst>
          </p:cNvPr>
          <p:cNvGrpSpPr/>
          <p:nvPr/>
        </p:nvGrpSpPr>
        <p:grpSpPr>
          <a:xfrm>
            <a:off x="372424" y="1440815"/>
            <a:ext cx="354334" cy="354334"/>
            <a:chOff x="372424" y="1440815"/>
            <a:chExt cx="354334" cy="354334"/>
          </a:xfrm>
        </p:grpSpPr>
        <p:sp>
          <p:nvSpPr>
            <p:cNvPr id="144" name="Oval 143">
              <a:extLst>
                <a:ext uri="{FF2B5EF4-FFF2-40B4-BE49-F238E27FC236}">
                  <a16:creationId xmlns:a16="http://schemas.microsoft.com/office/drawing/2014/main" id="{BF335BE2-05AC-EEA7-DD8B-A44DA56E3EBA}"/>
                </a:ext>
              </a:extLst>
            </p:cNvPr>
            <p:cNvSpPr/>
            <p:nvPr/>
          </p:nvSpPr>
          <p:spPr>
            <a:xfrm>
              <a:off x="372424"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aphic 28">
              <a:extLst>
                <a:ext uri="{FF2B5EF4-FFF2-40B4-BE49-F238E27FC236}">
                  <a16:creationId xmlns:a16="http://schemas.microsoft.com/office/drawing/2014/main" id="{07AC5E8C-6A77-1B27-590E-C714472B2A0F}"/>
                </a:ext>
              </a:extLst>
            </p:cNvPr>
            <p:cNvGrpSpPr/>
            <p:nvPr/>
          </p:nvGrpSpPr>
          <p:grpSpPr>
            <a:xfrm>
              <a:off x="424178" y="1492569"/>
              <a:ext cx="250826" cy="250826"/>
              <a:chOff x="3657600" y="990599"/>
              <a:chExt cx="4876800" cy="4876800"/>
            </a:xfrm>
            <a:solidFill>
              <a:srgbClr val="2B660F"/>
            </a:solidFill>
          </p:grpSpPr>
          <p:sp>
            <p:nvSpPr>
              <p:cNvPr id="31" name="Freeform: Shape 30">
                <a:extLst>
                  <a:ext uri="{FF2B5EF4-FFF2-40B4-BE49-F238E27FC236}">
                    <a16:creationId xmlns:a16="http://schemas.microsoft.com/office/drawing/2014/main" id="{B32C6577-F1BC-9E17-81C7-62EC71BDB988}"/>
                  </a:ext>
                </a:extLst>
              </p:cNvPr>
              <p:cNvSpPr/>
              <p:nvPr/>
            </p:nvSpPr>
            <p:spPr>
              <a:xfrm>
                <a:off x="5486400" y="990599"/>
                <a:ext cx="2733675" cy="1428750"/>
              </a:xfrm>
              <a:custGeom>
                <a:avLst/>
                <a:gdLst>
                  <a:gd name="csX0" fmla="*/ 1895475 w 2733675"/>
                  <a:gd name="csY0" fmla="*/ 1428750 h 1428750"/>
                  <a:gd name="csX1" fmla="*/ 2733675 w 2733675"/>
                  <a:gd name="csY1" fmla="*/ 1428750 h 1428750"/>
                  <a:gd name="csX2" fmla="*/ 2733675 w 2733675"/>
                  <a:gd name="csY2" fmla="*/ 571500 h 1428750"/>
                  <a:gd name="csX3" fmla="*/ 2438400 w 2733675"/>
                  <a:gd name="csY3" fmla="*/ 571500 h 1428750"/>
                  <a:gd name="csX4" fmla="*/ 2438400 w 2733675"/>
                  <a:gd name="csY4" fmla="*/ 847992 h 1428750"/>
                  <a:gd name="csX5" fmla="*/ 607514 w 2733675"/>
                  <a:gd name="csY5" fmla="*/ 0 h 1428750"/>
                  <a:gd name="csX6" fmla="*/ 0 w 2733675"/>
                  <a:gd name="csY6" fmla="*/ 76457 h 1428750"/>
                  <a:gd name="csX7" fmla="*/ 71438 w 2733675"/>
                  <a:gd name="csY7" fmla="*/ 353282 h 1428750"/>
                  <a:gd name="csX8" fmla="*/ 607514 w 2733675"/>
                  <a:gd name="csY8" fmla="*/ 285750 h 1428750"/>
                  <a:gd name="csX9" fmla="*/ 2320147 w 2733675"/>
                  <a:gd name="csY9" fmla="*/ 1143000 h 1428750"/>
                  <a:gd name="csX10" fmla="*/ 1895475 w 2733675"/>
                  <a:gd name="csY10" fmla="*/ 1143000 h 14287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2733675" h="1428750">
                    <a:moveTo>
                      <a:pt x="1895475" y="1428750"/>
                    </a:moveTo>
                    <a:lnTo>
                      <a:pt x="2733675" y="1428750"/>
                    </a:lnTo>
                    <a:lnTo>
                      <a:pt x="2733675" y="571500"/>
                    </a:lnTo>
                    <a:lnTo>
                      <a:pt x="2438400" y="571500"/>
                    </a:lnTo>
                    <a:lnTo>
                      <a:pt x="2438400" y="847992"/>
                    </a:lnTo>
                    <a:cubicBezTo>
                      <a:pt x="1981229" y="318783"/>
                      <a:pt x="1318889" y="0"/>
                      <a:pt x="607514" y="0"/>
                    </a:cubicBezTo>
                    <a:cubicBezTo>
                      <a:pt x="402136" y="0"/>
                      <a:pt x="197568" y="25670"/>
                      <a:pt x="0" y="76457"/>
                    </a:cubicBezTo>
                    <a:lnTo>
                      <a:pt x="71438" y="353282"/>
                    </a:lnTo>
                    <a:cubicBezTo>
                      <a:pt x="245288" y="308496"/>
                      <a:pt x="426130" y="285750"/>
                      <a:pt x="607514" y="285750"/>
                    </a:cubicBezTo>
                    <a:cubicBezTo>
                      <a:pt x="1283522" y="285750"/>
                      <a:pt x="1917983" y="609381"/>
                      <a:pt x="2320147" y="1143000"/>
                    </a:cubicBezTo>
                    <a:lnTo>
                      <a:pt x="1895475" y="1143000"/>
                    </a:lnTo>
                    <a:close/>
                  </a:path>
                </a:pathLst>
              </a:custGeom>
              <a:grpFill/>
              <a:ln w="9525" cap="flat">
                <a:noFill/>
                <a:prstDash val="solid"/>
                <a:miter/>
              </a:ln>
            </p:spPr>
            <p:txBody>
              <a:bodyPr/>
              <a:lstStyle/>
              <a:p>
                <a:endParaRPr lang="en-US"/>
              </a:p>
            </p:txBody>
          </p:sp>
          <p:sp>
            <p:nvSpPr>
              <p:cNvPr id="32" name="Freeform: Shape 31">
                <a:extLst>
                  <a:ext uri="{FF2B5EF4-FFF2-40B4-BE49-F238E27FC236}">
                    <a16:creationId xmlns:a16="http://schemas.microsoft.com/office/drawing/2014/main" id="{B2C30295-AA16-B951-3D7F-10E5D911CE1A}"/>
                  </a:ext>
                </a:extLst>
              </p:cNvPr>
              <p:cNvSpPr/>
              <p:nvPr/>
            </p:nvSpPr>
            <p:spPr>
              <a:xfrm>
                <a:off x="3962400" y="4438650"/>
                <a:ext cx="2743200" cy="1428750"/>
              </a:xfrm>
              <a:custGeom>
                <a:avLst/>
                <a:gdLst>
                  <a:gd name="csX0" fmla="*/ 838200 w 2743200"/>
                  <a:gd name="csY0" fmla="*/ 0 h 1428750"/>
                  <a:gd name="csX1" fmla="*/ 0 w 2743200"/>
                  <a:gd name="csY1" fmla="*/ 0 h 1428750"/>
                  <a:gd name="csX2" fmla="*/ 0 w 2743200"/>
                  <a:gd name="csY2" fmla="*/ 857250 h 1428750"/>
                  <a:gd name="csX3" fmla="*/ 295275 w 2743200"/>
                  <a:gd name="csY3" fmla="*/ 857250 h 1428750"/>
                  <a:gd name="csX4" fmla="*/ 295275 w 2743200"/>
                  <a:gd name="csY4" fmla="*/ 579787 h 1428750"/>
                  <a:gd name="csX5" fmla="*/ 2131514 w 2743200"/>
                  <a:gd name="csY5" fmla="*/ 1428750 h 1428750"/>
                  <a:gd name="csX6" fmla="*/ 2743200 w 2743200"/>
                  <a:gd name="csY6" fmla="*/ 1352293 h 1428750"/>
                  <a:gd name="csX7" fmla="*/ 2671763 w 2743200"/>
                  <a:gd name="csY7" fmla="*/ 1075468 h 1428750"/>
                  <a:gd name="csX8" fmla="*/ 2131514 w 2743200"/>
                  <a:gd name="csY8" fmla="*/ 1143000 h 1428750"/>
                  <a:gd name="csX9" fmla="*/ 418824 w 2743200"/>
                  <a:gd name="csY9" fmla="*/ 285750 h 1428750"/>
                  <a:gd name="csX10" fmla="*/ 838200 w 2743200"/>
                  <a:gd name="csY10" fmla="*/ 285750 h 14287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2743200" h="1428750">
                    <a:moveTo>
                      <a:pt x="838200" y="0"/>
                    </a:moveTo>
                    <a:lnTo>
                      <a:pt x="0" y="0"/>
                    </a:lnTo>
                    <a:lnTo>
                      <a:pt x="0" y="857250"/>
                    </a:lnTo>
                    <a:lnTo>
                      <a:pt x="295275" y="857250"/>
                    </a:lnTo>
                    <a:lnTo>
                      <a:pt x="295275" y="579787"/>
                    </a:lnTo>
                    <a:cubicBezTo>
                      <a:pt x="752446" y="1109529"/>
                      <a:pt x="1419616" y="1428750"/>
                      <a:pt x="2131514" y="1428750"/>
                    </a:cubicBezTo>
                    <a:cubicBezTo>
                      <a:pt x="2336902" y="1428750"/>
                      <a:pt x="2545633" y="1403080"/>
                      <a:pt x="2743200" y="1352293"/>
                    </a:cubicBezTo>
                    <a:lnTo>
                      <a:pt x="2671763" y="1075468"/>
                    </a:lnTo>
                    <a:cubicBezTo>
                      <a:pt x="2497912" y="1120254"/>
                      <a:pt x="2312899" y="1143000"/>
                      <a:pt x="2131514" y="1143000"/>
                    </a:cubicBezTo>
                    <a:cubicBezTo>
                      <a:pt x="1455630" y="1143000"/>
                      <a:pt x="821026" y="819388"/>
                      <a:pt x="418824" y="285750"/>
                    </a:cubicBezTo>
                    <a:lnTo>
                      <a:pt x="838200" y="285750"/>
                    </a:lnTo>
                    <a:close/>
                  </a:path>
                </a:pathLst>
              </a:custGeom>
              <a:grpFill/>
              <a:ln w="9525" cap="flat">
                <a:noFill/>
                <a:prstDash val="solid"/>
                <a:miter/>
              </a:ln>
            </p:spPr>
            <p:txBody>
              <a:bodyPr/>
              <a:lstStyle/>
              <a:p>
                <a:endParaRPr lang="en-US"/>
              </a:p>
            </p:txBody>
          </p:sp>
          <p:sp>
            <p:nvSpPr>
              <p:cNvPr id="33" name="Freeform: Shape 32">
                <a:extLst>
                  <a:ext uri="{FF2B5EF4-FFF2-40B4-BE49-F238E27FC236}">
                    <a16:creationId xmlns:a16="http://schemas.microsoft.com/office/drawing/2014/main" id="{CB09A3FE-D7C2-9A71-1A60-3A9574BEE99E}"/>
                  </a:ext>
                </a:extLst>
              </p:cNvPr>
              <p:cNvSpPr/>
              <p:nvPr/>
            </p:nvSpPr>
            <p:spPr>
              <a:xfrm>
                <a:off x="7105650" y="2828925"/>
                <a:ext cx="1428750" cy="2724150"/>
              </a:xfrm>
              <a:custGeom>
                <a:avLst/>
                <a:gdLst>
                  <a:gd name="csX0" fmla="*/ 1143000 w 1428750"/>
                  <a:gd name="csY0" fmla="*/ 600075 h 2724150"/>
                  <a:gd name="csX1" fmla="*/ 285750 w 1428750"/>
                  <a:gd name="csY1" fmla="*/ 2312623 h 2724150"/>
                  <a:gd name="csX2" fmla="*/ 285750 w 1428750"/>
                  <a:gd name="csY2" fmla="*/ 1895475 h 2724150"/>
                  <a:gd name="csX3" fmla="*/ 0 w 1428750"/>
                  <a:gd name="csY3" fmla="*/ 1895475 h 2724150"/>
                  <a:gd name="csX4" fmla="*/ 0 w 1428750"/>
                  <a:gd name="csY4" fmla="*/ 2724150 h 2724150"/>
                  <a:gd name="csX5" fmla="*/ 857250 w 1428750"/>
                  <a:gd name="csY5" fmla="*/ 2724150 h 2724150"/>
                  <a:gd name="csX6" fmla="*/ 857250 w 1428750"/>
                  <a:gd name="csY6" fmla="*/ 2438400 h 2724150"/>
                  <a:gd name="csX7" fmla="*/ 581568 w 1428750"/>
                  <a:gd name="csY7" fmla="*/ 2438400 h 2724150"/>
                  <a:gd name="csX8" fmla="*/ 1428750 w 1428750"/>
                  <a:gd name="csY8" fmla="*/ 600075 h 2724150"/>
                  <a:gd name="csX9" fmla="*/ 1352293 w 1428750"/>
                  <a:gd name="csY9" fmla="*/ 0 h 2724150"/>
                  <a:gd name="csX10" fmla="*/ 1075468 w 1428750"/>
                  <a:gd name="csY10" fmla="*/ 71161 h 2724150"/>
                  <a:gd name="csX11" fmla="*/ 1143000 w 1428750"/>
                  <a:gd name="csY11" fmla="*/ 600075 h 27241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1428750" h="2724150">
                    <a:moveTo>
                      <a:pt x="1143000" y="600075"/>
                    </a:moveTo>
                    <a:cubicBezTo>
                      <a:pt x="1143000" y="1276045"/>
                      <a:pt x="819350" y="1910591"/>
                      <a:pt x="285750" y="2312623"/>
                    </a:cubicBezTo>
                    <a:lnTo>
                      <a:pt x="285750" y="1895475"/>
                    </a:lnTo>
                    <a:lnTo>
                      <a:pt x="0" y="1895475"/>
                    </a:lnTo>
                    <a:lnTo>
                      <a:pt x="0" y="2724150"/>
                    </a:lnTo>
                    <a:lnTo>
                      <a:pt x="857250" y="2724150"/>
                    </a:lnTo>
                    <a:lnTo>
                      <a:pt x="857250" y="2438400"/>
                    </a:lnTo>
                    <a:lnTo>
                      <a:pt x="581568" y="2438400"/>
                    </a:lnTo>
                    <a:cubicBezTo>
                      <a:pt x="1110158" y="1981295"/>
                      <a:pt x="1428750" y="1311116"/>
                      <a:pt x="1428750" y="600075"/>
                    </a:cubicBezTo>
                    <a:cubicBezTo>
                      <a:pt x="1428750" y="394973"/>
                      <a:pt x="1403080" y="197710"/>
                      <a:pt x="1352293" y="0"/>
                    </a:cubicBezTo>
                    <a:lnTo>
                      <a:pt x="1075468" y="71161"/>
                    </a:lnTo>
                    <a:cubicBezTo>
                      <a:pt x="1120397" y="245564"/>
                      <a:pt x="1143000" y="418967"/>
                      <a:pt x="1143000" y="600075"/>
                    </a:cubicBezTo>
                    <a:close/>
                  </a:path>
                </a:pathLst>
              </a:custGeom>
              <a:grpFill/>
              <a:ln w="9525" cap="flat">
                <a:noFill/>
                <a:prstDash val="solid"/>
                <a:miter/>
              </a:ln>
            </p:spPr>
            <p:txBody>
              <a:bodyPr/>
              <a:lstStyle/>
              <a:p>
                <a:endParaRPr lang="en-US"/>
              </a:p>
            </p:txBody>
          </p:sp>
          <p:sp>
            <p:nvSpPr>
              <p:cNvPr id="34" name="Freeform: Shape 33">
                <a:extLst>
                  <a:ext uri="{FF2B5EF4-FFF2-40B4-BE49-F238E27FC236}">
                    <a16:creationId xmlns:a16="http://schemas.microsoft.com/office/drawing/2014/main" id="{695534D5-E607-0FD8-FC14-85C559A07A72}"/>
                  </a:ext>
                </a:extLst>
              </p:cNvPr>
              <p:cNvSpPr/>
              <p:nvPr/>
            </p:nvSpPr>
            <p:spPr>
              <a:xfrm>
                <a:off x="4800600" y="2428875"/>
                <a:ext cx="2571750" cy="2286000"/>
              </a:xfrm>
              <a:custGeom>
                <a:avLst/>
                <a:gdLst>
                  <a:gd name="csX0" fmla="*/ 2571750 w 2571750"/>
                  <a:gd name="csY0" fmla="*/ 428625 h 2286000"/>
                  <a:gd name="csX1" fmla="*/ 2571750 w 2571750"/>
                  <a:gd name="csY1" fmla="*/ 285750 h 2286000"/>
                  <a:gd name="csX2" fmla="*/ 2143125 w 2571750"/>
                  <a:gd name="csY2" fmla="*/ 285750 h 2286000"/>
                  <a:gd name="csX3" fmla="*/ 1366361 w 2571750"/>
                  <a:gd name="csY3" fmla="*/ 663740 h 2286000"/>
                  <a:gd name="csX4" fmla="*/ 428625 w 2571750"/>
                  <a:gd name="csY4" fmla="*/ 0 h 2286000"/>
                  <a:gd name="csX5" fmla="*/ 0 w 2571750"/>
                  <a:gd name="csY5" fmla="*/ 0 h 2286000"/>
                  <a:gd name="csX6" fmla="*/ 0 w 2571750"/>
                  <a:gd name="csY6" fmla="*/ 142875 h 2286000"/>
                  <a:gd name="csX7" fmla="*/ 1000125 w 2571750"/>
                  <a:gd name="csY7" fmla="*/ 1143000 h 2286000"/>
                  <a:gd name="csX8" fmla="*/ 1143000 w 2571750"/>
                  <a:gd name="csY8" fmla="*/ 1143000 h 2286000"/>
                  <a:gd name="csX9" fmla="*/ 1143400 w 2571750"/>
                  <a:gd name="csY9" fmla="*/ 2000250 h 2286000"/>
                  <a:gd name="csX10" fmla="*/ 857250 w 2571750"/>
                  <a:gd name="csY10" fmla="*/ 2000250 h 2286000"/>
                  <a:gd name="csX11" fmla="*/ 857250 w 2571750"/>
                  <a:gd name="csY11" fmla="*/ 2286000 h 2286000"/>
                  <a:gd name="csX12" fmla="*/ 1714500 w 2571750"/>
                  <a:gd name="csY12" fmla="*/ 2286000 h 2286000"/>
                  <a:gd name="csX13" fmla="*/ 1714500 w 2571750"/>
                  <a:gd name="csY13" fmla="*/ 2000250 h 2286000"/>
                  <a:gd name="csX14" fmla="*/ 1428750 w 2571750"/>
                  <a:gd name="csY14" fmla="*/ 2000250 h 2286000"/>
                  <a:gd name="csX15" fmla="*/ 1428493 w 2571750"/>
                  <a:gd name="csY15" fmla="*/ 1428750 h 2286000"/>
                  <a:gd name="csX16" fmla="*/ 1571625 w 2571750"/>
                  <a:gd name="csY16" fmla="*/ 1428750 h 2286000"/>
                  <a:gd name="csX17" fmla="*/ 2571750 w 2571750"/>
                  <a:gd name="csY17" fmla="*/ 428625 h 2286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2571750" h="2286000">
                    <a:moveTo>
                      <a:pt x="2571750" y="428625"/>
                    </a:moveTo>
                    <a:lnTo>
                      <a:pt x="2571750" y="285750"/>
                    </a:lnTo>
                    <a:lnTo>
                      <a:pt x="2143125" y="285750"/>
                    </a:lnTo>
                    <a:cubicBezTo>
                      <a:pt x="1827991" y="285750"/>
                      <a:pt x="1549822" y="435197"/>
                      <a:pt x="1366361" y="663740"/>
                    </a:cubicBezTo>
                    <a:cubicBezTo>
                      <a:pt x="1227449" y="278130"/>
                      <a:pt x="861470" y="0"/>
                      <a:pt x="428625" y="0"/>
                    </a:cubicBezTo>
                    <a:lnTo>
                      <a:pt x="0" y="0"/>
                    </a:lnTo>
                    <a:lnTo>
                      <a:pt x="0" y="142875"/>
                    </a:lnTo>
                    <a:cubicBezTo>
                      <a:pt x="0" y="694287"/>
                      <a:pt x="448713" y="1143000"/>
                      <a:pt x="1000125" y="1143000"/>
                    </a:cubicBezTo>
                    <a:lnTo>
                      <a:pt x="1143000" y="1143000"/>
                    </a:lnTo>
                    <a:lnTo>
                      <a:pt x="1143400" y="2000250"/>
                    </a:lnTo>
                    <a:lnTo>
                      <a:pt x="857250" y="2000250"/>
                    </a:lnTo>
                    <a:lnTo>
                      <a:pt x="857250" y="2286000"/>
                    </a:lnTo>
                    <a:lnTo>
                      <a:pt x="1714500" y="2286000"/>
                    </a:lnTo>
                    <a:lnTo>
                      <a:pt x="1714500" y="2000250"/>
                    </a:lnTo>
                    <a:lnTo>
                      <a:pt x="1428750" y="2000250"/>
                    </a:lnTo>
                    <a:lnTo>
                      <a:pt x="1428493" y="1428750"/>
                    </a:lnTo>
                    <a:lnTo>
                      <a:pt x="1571625" y="1428750"/>
                    </a:lnTo>
                    <a:cubicBezTo>
                      <a:pt x="2123037" y="1428750"/>
                      <a:pt x="2571750" y="980037"/>
                      <a:pt x="2571750" y="428625"/>
                    </a:cubicBezTo>
                    <a:close/>
                  </a:path>
                </a:pathLst>
              </a:custGeom>
              <a:grpFill/>
              <a:ln w="9525" cap="flat">
                <a:noFill/>
                <a:prstDash val="solid"/>
                <a:miter/>
              </a:ln>
            </p:spPr>
            <p:txBody>
              <a:bodyPr/>
              <a:lstStyle/>
              <a:p>
                <a:endParaRPr lang="en-US"/>
              </a:p>
            </p:txBody>
          </p:sp>
          <p:sp>
            <p:nvSpPr>
              <p:cNvPr id="35" name="Freeform: Shape 34">
                <a:extLst>
                  <a:ext uri="{FF2B5EF4-FFF2-40B4-BE49-F238E27FC236}">
                    <a16:creationId xmlns:a16="http://schemas.microsoft.com/office/drawing/2014/main" id="{6266D314-056E-371B-D179-68CDD86FBBC1}"/>
                  </a:ext>
                </a:extLst>
              </p:cNvPr>
              <p:cNvSpPr/>
              <p:nvPr/>
            </p:nvSpPr>
            <p:spPr>
              <a:xfrm>
                <a:off x="3657600" y="1304925"/>
                <a:ext cx="1428750" cy="2733675"/>
              </a:xfrm>
              <a:custGeom>
                <a:avLst/>
                <a:gdLst>
                  <a:gd name="csX0" fmla="*/ 353282 w 1428750"/>
                  <a:gd name="csY0" fmla="*/ 2662514 h 2733675"/>
                  <a:gd name="csX1" fmla="*/ 285750 w 1428750"/>
                  <a:gd name="csY1" fmla="*/ 2124075 h 2733675"/>
                  <a:gd name="csX2" fmla="*/ 1143000 w 1428750"/>
                  <a:gd name="csY2" fmla="*/ 411280 h 2733675"/>
                  <a:gd name="csX3" fmla="*/ 1143000 w 1428750"/>
                  <a:gd name="csY3" fmla="*/ 838200 h 2733675"/>
                  <a:gd name="csX4" fmla="*/ 1428750 w 1428750"/>
                  <a:gd name="csY4" fmla="*/ 838200 h 2733675"/>
                  <a:gd name="csX5" fmla="*/ 1428750 w 1428750"/>
                  <a:gd name="csY5" fmla="*/ 0 h 2733675"/>
                  <a:gd name="csX6" fmla="*/ 571500 w 1428750"/>
                  <a:gd name="csY6" fmla="*/ 0 h 2733675"/>
                  <a:gd name="csX7" fmla="*/ 571500 w 1428750"/>
                  <a:gd name="csY7" fmla="*/ 285750 h 2733675"/>
                  <a:gd name="csX8" fmla="*/ 849297 w 1428750"/>
                  <a:gd name="csY8" fmla="*/ 285750 h 2733675"/>
                  <a:gd name="csX9" fmla="*/ 0 w 1428750"/>
                  <a:gd name="csY9" fmla="*/ 2124075 h 2733675"/>
                  <a:gd name="csX10" fmla="*/ 76457 w 1428750"/>
                  <a:gd name="csY10" fmla="*/ 2733675 h 2733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428750" h="2733675">
                    <a:moveTo>
                      <a:pt x="353282" y="2662514"/>
                    </a:moveTo>
                    <a:cubicBezTo>
                      <a:pt x="308353" y="2488111"/>
                      <a:pt x="285750" y="2305184"/>
                      <a:pt x="285750" y="2124075"/>
                    </a:cubicBezTo>
                    <a:cubicBezTo>
                      <a:pt x="285750" y="1448038"/>
                      <a:pt x="609400" y="813378"/>
                      <a:pt x="1143000" y="411280"/>
                    </a:cubicBezTo>
                    <a:lnTo>
                      <a:pt x="1143000" y="838200"/>
                    </a:lnTo>
                    <a:lnTo>
                      <a:pt x="1428750" y="838200"/>
                    </a:lnTo>
                    <a:lnTo>
                      <a:pt x="1428750" y="0"/>
                    </a:lnTo>
                    <a:lnTo>
                      <a:pt x="571500" y="0"/>
                    </a:lnTo>
                    <a:lnTo>
                      <a:pt x="571500" y="285750"/>
                    </a:lnTo>
                    <a:lnTo>
                      <a:pt x="849297" y="285750"/>
                    </a:lnTo>
                    <a:cubicBezTo>
                      <a:pt x="319326" y="742893"/>
                      <a:pt x="0" y="1412072"/>
                      <a:pt x="0" y="2124075"/>
                    </a:cubicBezTo>
                    <a:cubicBezTo>
                      <a:pt x="0" y="2329177"/>
                      <a:pt x="25670" y="2535965"/>
                      <a:pt x="76457" y="2733675"/>
                    </a:cubicBezTo>
                    <a:close/>
                  </a:path>
                </a:pathLst>
              </a:custGeom>
              <a:grpFill/>
              <a:ln w="9525" cap="flat">
                <a:noFill/>
                <a:prstDash val="solid"/>
                <a:miter/>
              </a:ln>
            </p:spPr>
            <p:txBody>
              <a:bodyPr/>
              <a:lstStyle/>
              <a:p>
                <a:endParaRPr lang="en-US"/>
              </a:p>
            </p:txBody>
          </p:sp>
        </p:grpSp>
      </p:grpSp>
      <p:grpSp>
        <p:nvGrpSpPr>
          <p:cNvPr id="40" name="Group 39">
            <a:extLst>
              <a:ext uri="{FF2B5EF4-FFF2-40B4-BE49-F238E27FC236}">
                <a16:creationId xmlns:a16="http://schemas.microsoft.com/office/drawing/2014/main" id="{8CB57643-DEA2-8A15-8F7C-98DEF5C14B76}"/>
              </a:ext>
            </a:extLst>
          </p:cNvPr>
          <p:cNvGrpSpPr/>
          <p:nvPr/>
        </p:nvGrpSpPr>
        <p:grpSpPr>
          <a:xfrm>
            <a:off x="372424" y="2608938"/>
            <a:ext cx="354334" cy="354334"/>
            <a:chOff x="372424" y="2608938"/>
            <a:chExt cx="354334" cy="354334"/>
          </a:xfrm>
        </p:grpSpPr>
        <p:sp>
          <p:nvSpPr>
            <p:cNvPr id="145" name="Oval 144">
              <a:extLst>
                <a:ext uri="{FF2B5EF4-FFF2-40B4-BE49-F238E27FC236}">
                  <a16:creationId xmlns:a16="http://schemas.microsoft.com/office/drawing/2014/main" id="{3A9C5F94-D12D-D746-9949-B16462B8FC45}"/>
                </a:ext>
              </a:extLst>
            </p:cNvPr>
            <p:cNvSpPr/>
            <p:nvPr/>
          </p:nvSpPr>
          <p:spPr>
            <a:xfrm>
              <a:off x="372424" y="2608938"/>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Graphic 37">
              <a:extLst>
                <a:ext uri="{FF2B5EF4-FFF2-40B4-BE49-F238E27FC236}">
                  <a16:creationId xmlns:a16="http://schemas.microsoft.com/office/drawing/2014/main" id="{6C7CA646-5547-7597-4982-E09060A1F8D3}"/>
                </a:ext>
              </a:extLst>
            </p:cNvPr>
            <p:cNvSpPr/>
            <p:nvPr/>
          </p:nvSpPr>
          <p:spPr>
            <a:xfrm>
              <a:off x="415764" y="2649471"/>
              <a:ext cx="267656" cy="273268"/>
            </a:xfrm>
            <a:custGeom>
              <a:avLst/>
              <a:gdLst>
                <a:gd name="csX0" fmla="*/ 2617079 w 4552673"/>
                <a:gd name="csY0" fmla="*/ 4122534 h 4648146"/>
                <a:gd name="csX1" fmla="*/ 3070470 w 4552673"/>
                <a:gd name="csY1" fmla="*/ 3977545 h 4648146"/>
                <a:gd name="csX2" fmla="*/ 3038789 w 4552673"/>
                <a:gd name="csY2" fmla="*/ 4243826 h 4648146"/>
                <a:gd name="csX3" fmla="*/ 3090539 w 4552673"/>
                <a:gd name="csY3" fmla="*/ 4402350 h 4648146"/>
                <a:gd name="csX4" fmla="*/ 2686517 w 4552673"/>
                <a:gd name="csY4" fmla="*/ 4515450 h 4648146"/>
                <a:gd name="csX5" fmla="*/ 2617079 w 4552673"/>
                <a:gd name="csY5" fmla="*/ 4122534 h 4648146"/>
                <a:gd name="csX6" fmla="*/ 3277772 w 4552673"/>
                <a:gd name="csY6" fmla="*/ 2352361 h 4648146"/>
                <a:gd name="csX7" fmla="*/ 3266932 w 4552673"/>
                <a:gd name="csY7" fmla="*/ 2493559 h 4648146"/>
                <a:gd name="csX8" fmla="*/ 3572332 w 4552673"/>
                <a:gd name="csY8" fmla="*/ 2470633 h 4648146"/>
                <a:gd name="csX9" fmla="*/ 3744059 w 4552673"/>
                <a:gd name="csY9" fmla="*/ 2612793 h 4648146"/>
                <a:gd name="csX10" fmla="*/ 3779939 w 4552673"/>
                <a:gd name="csY10" fmla="*/ 2352370 h 4648146"/>
                <a:gd name="csX11" fmla="*/ 3277772 w 4552673"/>
                <a:gd name="csY11" fmla="*/ 2352370 h 4648146"/>
                <a:gd name="csX12" fmla="*/ 2352532 w 4552673"/>
                <a:gd name="csY12" fmla="*/ 2352361 h 4648146"/>
                <a:gd name="csX13" fmla="*/ 2352532 w 4552673"/>
                <a:gd name="csY13" fmla="*/ 2917450 h 4648146"/>
                <a:gd name="csX14" fmla="*/ 3110046 w 4552673"/>
                <a:gd name="csY14" fmla="*/ 2519982 h 4648146"/>
                <a:gd name="csX15" fmla="*/ 3125238 w 4552673"/>
                <a:gd name="csY15" fmla="*/ 2352361 h 4648146"/>
                <a:gd name="csX16" fmla="*/ 1427417 w 4552673"/>
                <a:gd name="csY16" fmla="*/ 2352361 h 4648146"/>
                <a:gd name="csX17" fmla="*/ 1439990 w 4552673"/>
                <a:gd name="csY17" fmla="*/ 2500208 h 4648146"/>
                <a:gd name="csX18" fmla="*/ 2184340 w 4552673"/>
                <a:gd name="csY18" fmla="*/ 3009948 h 4648146"/>
                <a:gd name="csX19" fmla="*/ 2200123 w 4552673"/>
                <a:gd name="csY19" fmla="*/ 3009472 h 4648146"/>
                <a:gd name="csX20" fmla="*/ 2200123 w 4552673"/>
                <a:gd name="csY20" fmla="*/ 2352361 h 4648146"/>
                <a:gd name="csX21" fmla="*/ 1274874 w 4552673"/>
                <a:gd name="csY21" fmla="*/ 2352361 h 4648146"/>
                <a:gd name="csX22" fmla="*/ 772725 w 4552673"/>
                <a:gd name="csY22" fmla="*/ 2352361 h 4648146"/>
                <a:gd name="csX23" fmla="*/ 789041 w 4552673"/>
                <a:gd name="csY23" fmla="*/ 2511009 h 4648146"/>
                <a:gd name="csX24" fmla="*/ 1284427 w 4552673"/>
                <a:gd name="csY24" fmla="*/ 2481939 h 4648146"/>
                <a:gd name="csX25" fmla="*/ 1274874 w 4552673"/>
                <a:gd name="csY25" fmla="*/ 2352361 h 4648146"/>
                <a:gd name="csX26" fmla="*/ 1274655 w 4552673"/>
                <a:gd name="csY26" fmla="*/ 2199961 h 4648146"/>
                <a:gd name="csX27" fmla="*/ 1473565 w 4552673"/>
                <a:gd name="csY27" fmla="*/ 1419844 h 4648146"/>
                <a:gd name="csX28" fmla="*/ 1150449 w 4552673"/>
                <a:gd name="csY28" fmla="*/ 1276626 h 4648146"/>
                <a:gd name="csX29" fmla="*/ 772716 w 4552673"/>
                <a:gd name="csY29" fmla="*/ 2199961 h 4648146"/>
                <a:gd name="csX30" fmla="*/ 2200132 w 4552673"/>
                <a:gd name="csY30" fmla="*/ 2199961 h 4648146"/>
                <a:gd name="csX31" fmla="*/ 1427159 w 4552673"/>
                <a:gd name="csY31" fmla="*/ 2199961 h 4648146"/>
                <a:gd name="csX32" fmla="*/ 1622012 w 4552673"/>
                <a:gd name="csY32" fmla="*/ 1463659 h 4648146"/>
                <a:gd name="csX33" fmla="*/ 2200132 w 4552673"/>
                <a:gd name="csY33" fmla="*/ 1542850 h 4648146"/>
                <a:gd name="csX34" fmla="*/ 3125496 w 4552673"/>
                <a:gd name="csY34" fmla="*/ 2199961 h 4648146"/>
                <a:gd name="csX35" fmla="*/ 2930652 w 4552673"/>
                <a:gd name="csY35" fmla="*/ 1463659 h 4648146"/>
                <a:gd name="csX36" fmla="*/ 2352532 w 4552673"/>
                <a:gd name="csY36" fmla="*/ 1542841 h 4648146"/>
                <a:gd name="csX37" fmla="*/ 2352532 w 4552673"/>
                <a:gd name="csY37" fmla="*/ 2199951 h 4648146"/>
                <a:gd name="csX38" fmla="*/ 3125496 w 4552673"/>
                <a:gd name="csY38" fmla="*/ 2199951 h 4648146"/>
                <a:gd name="csX39" fmla="*/ 3079080 w 4552673"/>
                <a:gd name="csY39" fmla="*/ 1419844 h 4648146"/>
                <a:gd name="csX40" fmla="*/ 3402206 w 4552673"/>
                <a:gd name="csY40" fmla="*/ 1276626 h 4648146"/>
                <a:gd name="csX41" fmla="*/ 3779949 w 4552673"/>
                <a:gd name="csY41" fmla="*/ 2199961 h 4648146"/>
                <a:gd name="csX42" fmla="*/ 3278000 w 4552673"/>
                <a:gd name="csY42" fmla="*/ 2199961 h 4648146"/>
                <a:gd name="csX43" fmla="*/ 3079080 w 4552673"/>
                <a:gd name="csY43" fmla="*/ 1419844 h 4648146"/>
                <a:gd name="csX44" fmla="*/ 2596029 w 4552673"/>
                <a:gd name="csY44" fmla="*/ 804682 h 4648146"/>
                <a:gd name="csX45" fmla="*/ 3004585 w 4552673"/>
                <a:gd name="csY45" fmla="*/ 1284189 h 4648146"/>
                <a:gd name="csX46" fmla="*/ 3291259 w 4552673"/>
                <a:gd name="csY46" fmla="*/ 1164174 h 4648146"/>
                <a:gd name="csX47" fmla="*/ 2596029 w 4552673"/>
                <a:gd name="csY47" fmla="*/ 804682 h 4648146"/>
                <a:gd name="csX48" fmla="*/ 2352532 w 4552673"/>
                <a:gd name="csY48" fmla="*/ 809997 h 4648146"/>
                <a:gd name="csX49" fmla="*/ 2851814 w 4552673"/>
                <a:gd name="csY49" fmla="*/ 1326471 h 4648146"/>
                <a:gd name="csX50" fmla="*/ 2352532 w 4552673"/>
                <a:gd name="csY50" fmla="*/ 1390383 h 4648146"/>
                <a:gd name="csX51" fmla="*/ 2200132 w 4552673"/>
                <a:gd name="csY51" fmla="*/ 810006 h 4648146"/>
                <a:gd name="csX52" fmla="*/ 1700851 w 4552673"/>
                <a:gd name="csY52" fmla="*/ 1326471 h 4648146"/>
                <a:gd name="csX53" fmla="*/ 2200132 w 4552673"/>
                <a:gd name="csY53" fmla="*/ 1390383 h 4648146"/>
                <a:gd name="csX54" fmla="*/ 1548070 w 4552673"/>
                <a:gd name="csY54" fmla="*/ 1284189 h 4648146"/>
                <a:gd name="csX55" fmla="*/ 1261405 w 4552673"/>
                <a:gd name="csY55" fmla="*/ 1164174 h 4648146"/>
                <a:gd name="csX56" fmla="*/ 1956616 w 4552673"/>
                <a:gd name="csY56" fmla="*/ 804691 h 4648146"/>
                <a:gd name="csX57" fmla="*/ 1548070 w 4552673"/>
                <a:gd name="csY57" fmla="*/ 1284189 h 4648146"/>
                <a:gd name="csX58" fmla="*/ 1930327 w 4552673"/>
                <a:gd name="csY58" fmla="*/ 3740058 h 4648146"/>
                <a:gd name="csX59" fmla="*/ 1311269 w 4552673"/>
                <a:gd name="csY59" fmla="*/ 3170416 h 4648146"/>
                <a:gd name="csX60" fmla="*/ 2087099 w 4552673"/>
                <a:gd name="csY60" fmla="*/ 3722532 h 4648146"/>
                <a:gd name="csX61" fmla="*/ 2386175 w 4552673"/>
                <a:gd name="csY61" fmla="*/ 4578230 h 4648146"/>
                <a:gd name="csX62" fmla="*/ 2468328 w 4552673"/>
                <a:gd name="csY62" fmla="*/ 4647886 h 4648146"/>
                <a:gd name="csX63" fmla="*/ 2537984 w 4552673"/>
                <a:gd name="csY63" fmla="*/ 4565733 h 4648146"/>
                <a:gd name="csX64" fmla="*/ 2412683 w 4552673"/>
                <a:gd name="csY64" fmla="*/ 3989470 h 4648146"/>
                <a:gd name="csX65" fmla="*/ 2871064 w 4552673"/>
                <a:gd name="csY65" fmla="*/ 3154823 h 4648146"/>
                <a:gd name="csX66" fmla="*/ 2562663 w 4552673"/>
                <a:gd name="csY66" fmla="*/ 3968877 h 4648146"/>
                <a:gd name="csX67" fmla="*/ 3587172 w 4552673"/>
                <a:gd name="csY67" fmla="*/ 2657113 h 4648146"/>
                <a:gd name="csX68" fmla="*/ 3575476 w 4552673"/>
                <a:gd name="csY68" fmla="*/ 2622995 h 4648146"/>
                <a:gd name="csX69" fmla="*/ 2281695 w 4552673"/>
                <a:gd name="csY69" fmla="*/ 3734095 h 4648146"/>
                <a:gd name="csX70" fmla="*/ 2175777 w 4552673"/>
                <a:gd name="csY70" fmla="*/ 3590115 h 4648146"/>
                <a:gd name="csX71" fmla="*/ 623192 w 4552673"/>
                <a:gd name="csY71" fmla="*/ 2701090 h 4648146"/>
                <a:gd name="csX72" fmla="*/ 620725 w 4552673"/>
                <a:gd name="csY72" fmla="*/ 2737075 h 4648146"/>
                <a:gd name="csX73" fmla="*/ 1930327 w 4552673"/>
                <a:gd name="csY73" fmla="*/ 3740058 h 4648146"/>
                <a:gd name="csX74" fmla="*/ 2230774 w 4552673"/>
                <a:gd name="csY74" fmla="*/ 4551741 h 4648146"/>
                <a:gd name="csX75" fmla="*/ 0 w 4552673"/>
                <a:gd name="csY75" fmla="*/ 2276075 h 4648146"/>
                <a:gd name="csX76" fmla="*/ 840248 w 4552673"/>
                <a:gd name="csY76" fmla="*/ 509930 h 4648146"/>
                <a:gd name="csX77" fmla="*/ 715537 w 4552673"/>
                <a:gd name="csY77" fmla="*/ 385229 h 4648146"/>
                <a:gd name="csX78" fmla="*/ 742569 w 4552673"/>
                <a:gd name="csY78" fmla="*/ 307200 h 4648146"/>
                <a:gd name="csX79" fmla="*/ 1311545 w 4552673"/>
                <a:gd name="csY79" fmla="*/ 239497 h 4648146"/>
                <a:gd name="csX80" fmla="*/ 1362551 w 4552673"/>
                <a:gd name="csY80" fmla="*/ 290493 h 4648146"/>
                <a:gd name="csX81" fmla="*/ 1294848 w 4552673"/>
                <a:gd name="csY81" fmla="*/ 859469 h 4648146"/>
                <a:gd name="csX82" fmla="*/ 1216819 w 4552673"/>
                <a:gd name="csY82" fmla="*/ 886501 h 4648146"/>
                <a:gd name="csX83" fmla="*/ 1124198 w 4552673"/>
                <a:gd name="csY83" fmla="*/ 793880 h 4648146"/>
                <a:gd name="csX84" fmla="*/ 398898 w 4552673"/>
                <a:gd name="csY84" fmla="*/ 2276085 h 4648146"/>
                <a:gd name="csX85" fmla="*/ 2146802 w 4552673"/>
                <a:gd name="csY85" fmla="*/ 4148919 h 4648146"/>
                <a:gd name="csX86" fmla="*/ 2230774 w 4552673"/>
                <a:gd name="csY86" fmla="*/ 4551741 h 4648146"/>
                <a:gd name="csX87" fmla="*/ 2276418 w 4552673"/>
                <a:gd name="csY87" fmla="*/ 398878 h 4648146"/>
                <a:gd name="csX88" fmla="*/ 4153767 w 4552673"/>
                <a:gd name="csY88" fmla="*/ 2276237 h 4648146"/>
                <a:gd name="csX89" fmla="*/ 3428467 w 4552673"/>
                <a:gd name="csY89" fmla="*/ 3758441 h 4648146"/>
                <a:gd name="csX90" fmla="*/ 3335845 w 4552673"/>
                <a:gd name="csY90" fmla="*/ 3665820 h 4648146"/>
                <a:gd name="csX91" fmla="*/ 3257817 w 4552673"/>
                <a:gd name="csY91" fmla="*/ 3692852 h 4648146"/>
                <a:gd name="csX92" fmla="*/ 3190113 w 4552673"/>
                <a:gd name="csY92" fmla="*/ 4261828 h 4648146"/>
                <a:gd name="csX93" fmla="*/ 3241120 w 4552673"/>
                <a:gd name="csY93" fmla="*/ 4312825 h 4648146"/>
                <a:gd name="csX94" fmla="*/ 3810095 w 4552673"/>
                <a:gd name="csY94" fmla="*/ 4245121 h 4648146"/>
                <a:gd name="csX95" fmla="*/ 3837127 w 4552673"/>
                <a:gd name="csY95" fmla="*/ 4167092 h 4648146"/>
                <a:gd name="csX96" fmla="*/ 3712426 w 4552673"/>
                <a:gd name="csY96" fmla="*/ 4042391 h 4648146"/>
                <a:gd name="csX97" fmla="*/ 4552674 w 4552673"/>
                <a:gd name="csY97" fmla="*/ 2276247 h 4648146"/>
                <a:gd name="csX98" fmla="*/ 2276428 w 4552673"/>
                <a:gd name="csY98" fmla="*/ 0 h 4648146"/>
                <a:gd name="csX99" fmla="*/ 1462154 w 4552673"/>
                <a:gd name="csY99" fmla="*/ 150000 h 4648146"/>
                <a:gd name="csX100" fmla="*/ 1513885 w 4552673"/>
                <a:gd name="csY100" fmla="*/ 308505 h 4648146"/>
                <a:gd name="csX101" fmla="*/ 1482204 w 4552673"/>
                <a:gd name="csY101" fmla="*/ 574758 h 4648146"/>
                <a:gd name="csX102" fmla="*/ 2276418 w 4552673"/>
                <a:gd name="csY102" fmla="*/ 398878 h 46481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Lst>
              <a:rect l="l" t="t" r="r" b="b"/>
              <a:pathLst>
                <a:path w="4552673" h="4648146">
                  <a:moveTo>
                    <a:pt x="2617079" y="4122534"/>
                  </a:moveTo>
                  <a:cubicBezTo>
                    <a:pt x="2776128" y="4093340"/>
                    <a:pt x="2928157" y="4044106"/>
                    <a:pt x="3070470" y="3977545"/>
                  </a:cubicBezTo>
                  <a:lnTo>
                    <a:pt x="3038789" y="4243826"/>
                  </a:lnTo>
                  <a:cubicBezTo>
                    <a:pt x="3031855" y="4302081"/>
                    <a:pt x="3050743" y="4359631"/>
                    <a:pt x="3090539" y="4402350"/>
                  </a:cubicBezTo>
                  <a:cubicBezTo>
                    <a:pt x="2961132" y="4451938"/>
                    <a:pt x="2826049" y="4490047"/>
                    <a:pt x="2686517" y="4515450"/>
                  </a:cubicBezTo>
                  <a:cubicBezTo>
                    <a:pt x="2673849" y="4382729"/>
                    <a:pt x="2652065" y="4250912"/>
                    <a:pt x="2617079" y="4122534"/>
                  </a:cubicBezTo>
                  <a:close/>
                  <a:moveTo>
                    <a:pt x="3277772" y="2352361"/>
                  </a:moveTo>
                  <a:cubicBezTo>
                    <a:pt x="3275857" y="2399767"/>
                    <a:pt x="3272228" y="2446858"/>
                    <a:pt x="3266932" y="2493559"/>
                  </a:cubicBezTo>
                  <a:cubicBezTo>
                    <a:pt x="3369554" y="2479834"/>
                    <a:pt x="3472387" y="2472700"/>
                    <a:pt x="3572332" y="2470633"/>
                  </a:cubicBezTo>
                  <a:cubicBezTo>
                    <a:pt x="3666001" y="2468699"/>
                    <a:pt x="3730095" y="2536012"/>
                    <a:pt x="3744059" y="2612793"/>
                  </a:cubicBezTo>
                  <a:cubicBezTo>
                    <a:pt x="3763318" y="2528459"/>
                    <a:pt x="3775501" y="2441429"/>
                    <a:pt x="3779939" y="2352370"/>
                  </a:cubicBezTo>
                  <a:lnTo>
                    <a:pt x="3277772" y="2352370"/>
                  </a:lnTo>
                  <a:close/>
                  <a:moveTo>
                    <a:pt x="2352532" y="2352361"/>
                  </a:moveTo>
                  <a:lnTo>
                    <a:pt x="2352532" y="2917450"/>
                  </a:lnTo>
                  <a:cubicBezTo>
                    <a:pt x="2544442" y="2695680"/>
                    <a:pt x="2828306" y="2577799"/>
                    <a:pt x="3110046" y="2519982"/>
                  </a:cubicBezTo>
                  <a:cubicBezTo>
                    <a:pt x="3117675" y="2464718"/>
                    <a:pt x="3122762" y="2408787"/>
                    <a:pt x="3125238" y="2352361"/>
                  </a:cubicBezTo>
                  <a:close/>
                  <a:moveTo>
                    <a:pt x="1427417" y="2352361"/>
                  </a:moveTo>
                  <a:cubicBezTo>
                    <a:pt x="1429588" y="2402072"/>
                    <a:pt x="1433798" y="2451383"/>
                    <a:pt x="1439990" y="2500208"/>
                  </a:cubicBezTo>
                  <a:cubicBezTo>
                    <a:pt x="1760963" y="2554910"/>
                    <a:pt x="2028577" y="2713368"/>
                    <a:pt x="2184340" y="3009948"/>
                  </a:cubicBezTo>
                  <a:cubicBezTo>
                    <a:pt x="2189598" y="3009776"/>
                    <a:pt x="2194865" y="3009614"/>
                    <a:pt x="2200123" y="3009472"/>
                  </a:cubicBezTo>
                  <a:lnTo>
                    <a:pt x="2200123" y="2352361"/>
                  </a:lnTo>
                  <a:close/>
                  <a:moveTo>
                    <a:pt x="1274874" y="2352361"/>
                  </a:moveTo>
                  <a:lnTo>
                    <a:pt x="772725" y="2352361"/>
                  </a:lnTo>
                  <a:cubicBezTo>
                    <a:pt x="775402" y="2406034"/>
                    <a:pt x="780888" y="2458964"/>
                    <a:pt x="789041" y="2511009"/>
                  </a:cubicBezTo>
                  <a:cubicBezTo>
                    <a:pt x="959844" y="2482120"/>
                    <a:pt x="1126970" y="2471252"/>
                    <a:pt x="1284427" y="2481939"/>
                  </a:cubicBezTo>
                  <a:cubicBezTo>
                    <a:pt x="1279827" y="2439057"/>
                    <a:pt x="1276636" y="2395842"/>
                    <a:pt x="1274874" y="2352361"/>
                  </a:cubicBezTo>
                  <a:close/>
                  <a:moveTo>
                    <a:pt x="1274655" y="2199961"/>
                  </a:moveTo>
                  <a:cubicBezTo>
                    <a:pt x="1285170" y="1920897"/>
                    <a:pt x="1355665" y="1656674"/>
                    <a:pt x="1473565" y="1419844"/>
                  </a:cubicBezTo>
                  <a:cubicBezTo>
                    <a:pt x="1357970" y="1381154"/>
                    <a:pt x="1249175" y="1333424"/>
                    <a:pt x="1150449" y="1276626"/>
                  </a:cubicBezTo>
                  <a:cubicBezTo>
                    <a:pt x="929992" y="1524762"/>
                    <a:pt x="790346" y="1846297"/>
                    <a:pt x="772716" y="2199961"/>
                  </a:cubicBezTo>
                  <a:close/>
                  <a:moveTo>
                    <a:pt x="2200132" y="2199961"/>
                  </a:moveTo>
                  <a:lnTo>
                    <a:pt x="1427159" y="2199961"/>
                  </a:lnTo>
                  <a:cubicBezTo>
                    <a:pt x="1437961" y="1935651"/>
                    <a:pt x="1507112" y="1686020"/>
                    <a:pt x="1622012" y="1463659"/>
                  </a:cubicBezTo>
                  <a:cubicBezTo>
                    <a:pt x="1805892" y="1511056"/>
                    <a:pt x="2002422" y="1537449"/>
                    <a:pt x="2200132" y="1542850"/>
                  </a:cubicBezTo>
                  <a:close/>
                  <a:moveTo>
                    <a:pt x="3125496" y="2199961"/>
                  </a:moveTo>
                  <a:cubicBezTo>
                    <a:pt x="3114704" y="1935651"/>
                    <a:pt x="3045543" y="1686030"/>
                    <a:pt x="2930652" y="1463659"/>
                  </a:cubicBezTo>
                  <a:cubicBezTo>
                    <a:pt x="2746781" y="1511056"/>
                    <a:pt x="2550252" y="1537449"/>
                    <a:pt x="2352532" y="1542841"/>
                  </a:cubicBezTo>
                  <a:lnTo>
                    <a:pt x="2352532" y="2199951"/>
                  </a:lnTo>
                  <a:lnTo>
                    <a:pt x="3125496" y="2199951"/>
                  </a:lnTo>
                  <a:close/>
                  <a:moveTo>
                    <a:pt x="3079080" y="1419844"/>
                  </a:moveTo>
                  <a:cubicBezTo>
                    <a:pt x="3194676" y="1381154"/>
                    <a:pt x="3303480" y="1333414"/>
                    <a:pt x="3402206" y="1276626"/>
                  </a:cubicBezTo>
                  <a:cubicBezTo>
                    <a:pt x="3622662" y="1524762"/>
                    <a:pt x="3762308" y="1846297"/>
                    <a:pt x="3779949" y="2199961"/>
                  </a:cubicBezTo>
                  <a:lnTo>
                    <a:pt x="3278000" y="2199961"/>
                  </a:lnTo>
                  <a:cubicBezTo>
                    <a:pt x="3267485" y="1920907"/>
                    <a:pt x="3196990" y="1656674"/>
                    <a:pt x="3079080" y="1419844"/>
                  </a:cubicBezTo>
                  <a:close/>
                  <a:moveTo>
                    <a:pt x="2596029" y="804682"/>
                  </a:moveTo>
                  <a:cubicBezTo>
                    <a:pt x="2756935" y="940841"/>
                    <a:pt x="2895295" y="1102852"/>
                    <a:pt x="3004585" y="1284189"/>
                  </a:cubicBezTo>
                  <a:cubicBezTo>
                    <a:pt x="3106722" y="1251604"/>
                    <a:pt x="3203143" y="1211609"/>
                    <a:pt x="3291259" y="1164174"/>
                  </a:cubicBezTo>
                  <a:cubicBezTo>
                    <a:pt x="3098692" y="988305"/>
                    <a:pt x="2860272" y="861813"/>
                    <a:pt x="2596029" y="804682"/>
                  </a:cubicBezTo>
                  <a:close/>
                  <a:moveTo>
                    <a:pt x="2352532" y="809997"/>
                  </a:moveTo>
                  <a:cubicBezTo>
                    <a:pt x="2551833" y="946366"/>
                    <a:pt x="2722093" y="1122359"/>
                    <a:pt x="2851814" y="1326471"/>
                  </a:cubicBezTo>
                  <a:cubicBezTo>
                    <a:pt x="2692508" y="1364199"/>
                    <a:pt x="2523268" y="1385497"/>
                    <a:pt x="2352532" y="1390383"/>
                  </a:cubicBezTo>
                  <a:close/>
                  <a:moveTo>
                    <a:pt x="2200132" y="810006"/>
                  </a:moveTo>
                  <a:cubicBezTo>
                    <a:pt x="2000831" y="946375"/>
                    <a:pt x="1830572" y="1122359"/>
                    <a:pt x="1700851" y="1326471"/>
                  </a:cubicBezTo>
                  <a:cubicBezTo>
                    <a:pt x="1860166" y="1364199"/>
                    <a:pt x="2029397" y="1385507"/>
                    <a:pt x="2200132" y="1390383"/>
                  </a:cubicBezTo>
                  <a:close/>
                  <a:moveTo>
                    <a:pt x="1548070" y="1284189"/>
                  </a:moveTo>
                  <a:cubicBezTo>
                    <a:pt x="1445933" y="1251604"/>
                    <a:pt x="1349521" y="1211609"/>
                    <a:pt x="1261405" y="1164174"/>
                  </a:cubicBezTo>
                  <a:cubicBezTo>
                    <a:pt x="1453972" y="988314"/>
                    <a:pt x="1692383" y="861832"/>
                    <a:pt x="1956616" y="804691"/>
                  </a:cubicBezTo>
                  <a:cubicBezTo>
                    <a:pt x="1795720" y="940841"/>
                    <a:pt x="1657360" y="1102852"/>
                    <a:pt x="1548070" y="1284189"/>
                  </a:cubicBezTo>
                  <a:close/>
                  <a:moveTo>
                    <a:pt x="1930327" y="3740058"/>
                  </a:moveTo>
                  <a:cubicBezTo>
                    <a:pt x="1828924" y="3520716"/>
                    <a:pt x="1599610" y="3276543"/>
                    <a:pt x="1311269" y="3170416"/>
                  </a:cubicBezTo>
                  <a:cubicBezTo>
                    <a:pt x="1664141" y="3209535"/>
                    <a:pt x="1922755" y="3393577"/>
                    <a:pt x="2087099" y="3722532"/>
                  </a:cubicBezTo>
                  <a:cubicBezTo>
                    <a:pt x="2282943" y="3974221"/>
                    <a:pt x="2360238" y="4264286"/>
                    <a:pt x="2386175" y="4578230"/>
                  </a:cubicBezTo>
                  <a:cubicBezTo>
                    <a:pt x="2389623" y="4620149"/>
                    <a:pt x="2426408" y="4651334"/>
                    <a:pt x="2468328" y="4647886"/>
                  </a:cubicBezTo>
                  <a:cubicBezTo>
                    <a:pt x="2510247" y="4644438"/>
                    <a:pt x="2541432" y="4607652"/>
                    <a:pt x="2537984" y="4565733"/>
                  </a:cubicBezTo>
                  <a:cubicBezTo>
                    <a:pt x="2519810" y="4345763"/>
                    <a:pt x="2478843" y="4156710"/>
                    <a:pt x="2412683" y="3989470"/>
                  </a:cubicBezTo>
                  <a:cubicBezTo>
                    <a:pt x="2417559" y="3621777"/>
                    <a:pt x="2570359" y="3343561"/>
                    <a:pt x="2871064" y="3154823"/>
                  </a:cubicBezTo>
                  <a:cubicBezTo>
                    <a:pt x="2648093" y="3385671"/>
                    <a:pt x="2548662" y="3724123"/>
                    <a:pt x="2562663" y="3968877"/>
                  </a:cubicBezTo>
                  <a:cubicBezTo>
                    <a:pt x="3301060" y="3815067"/>
                    <a:pt x="3170968" y="2968733"/>
                    <a:pt x="3587172" y="2657113"/>
                  </a:cubicBezTo>
                  <a:cubicBezTo>
                    <a:pt x="3601907" y="2646074"/>
                    <a:pt x="3593859" y="2622642"/>
                    <a:pt x="3575476" y="2622995"/>
                  </a:cubicBezTo>
                  <a:cubicBezTo>
                    <a:pt x="3214897" y="2630462"/>
                    <a:pt x="2166166" y="2721083"/>
                    <a:pt x="2281695" y="3734095"/>
                  </a:cubicBezTo>
                  <a:cubicBezTo>
                    <a:pt x="2249348" y="3683975"/>
                    <a:pt x="2213943" y="3635969"/>
                    <a:pt x="2175777" y="3590115"/>
                  </a:cubicBezTo>
                  <a:cubicBezTo>
                    <a:pt x="2109264" y="2413368"/>
                    <a:pt x="989933" y="2610908"/>
                    <a:pt x="623192" y="2701090"/>
                  </a:cubicBezTo>
                  <a:cubicBezTo>
                    <a:pt x="605342" y="2705510"/>
                    <a:pt x="603637" y="2730227"/>
                    <a:pt x="620725" y="2737075"/>
                  </a:cubicBezTo>
                  <a:cubicBezTo>
                    <a:pt x="1099233" y="2928671"/>
                    <a:pt x="1195016" y="3767023"/>
                    <a:pt x="1930327" y="3740058"/>
                  </a:cubicBezTo>
                  <a:close/>
                  <a:moveTo>
                    <a:pt x="2230774" y="4551741"/>
                  </a:moveTo>
                  <a:cubicBezTo>
                    <a:pt x="994639" y="4527509"/>
                    <a:pt x="0" y="3518011"/>
                    <a:pt x="0" y="2276075"/>
                  </a:cubicBezTo>
                  <a:cubicBezTo>
                    <a:pt x="0" y="1563424"/>
                    <a:pt x="327536" y="927306"/>
                    <a:pt x="840248" y="509930"/>
                  </a:cubicBezTo>
                  <a:lnTo>
                    <a:pt x="715537" y="385229"/>
                  </a:lnTo>
                  <a:cubicBezTo>
                    <a:pt x="688391" y="358083"/>
                    <a:pt x="704450" y="311734"/>
                    <a:pt x="742569" y="307200"/>
                  </a:cubicBezTo>
                  <a:lnTo>
                    <a:pt x="1311545" y="239497"/>
                  </a:lnTo>
                  <a:cubicBezTo>
                    <a:pt x="1341206" y="235963"/>
                    <a:pt x="1366076" y="260833"/>
                    <a:pt x="1362551" y="290493"/>
                  </a:cubicBezTo>
                  <a:lnTo>
                    <a:pt x="1294848" y="859469"/>
                  </a:lnTo>
                  <a:cubicBezTo>
                    <a:pt x="1290304" y="897588"/>
                    <a:pt x="1243965" y="913648"/>
                    <a:pt x="1216819" y="886501"/>
                  </a:cubicBezTo>
                  <a:lnTo>
                    <a:pt x="1124198" y="793880"/>
                  </a:lnTo>
                  <a:cubicBezTo>
                    <a:pt x="682876" y="1137371"/>
                    <a:pt x="398898" y="1673514"/>
                    <a:pt x="398898" y="2276085"/>
                  </a:cubicBezTo>
                  <a:cubicBezTo>
                    <a:pt x="398898" y="3269399"/>
                    <a:pt x="1170365" y="4082405"/>
                    <a:pt x="2146802" y="4148919"/>
                  </a:cubicBezTo>
                  <a:cubicBezTo>
                    <a:pt x="2191788" y="4276887"/>
                    <a:pt x="2217077" y="4411914"/>
                    <a:pt x="2230774" y="4551741"/>
                  </a:cubicBezTo>
                  <a:close/>
                  <a:moveTo>
                    <a:pt x="2276418" y="398878"/>
                  </a:moveTo>
                  <a:cubicBezTo>
                    <a:pt x="3313252" y="398878"/>
                    <a:pt x="4153767" y="1239393"/>
                    <a:pt x="4153767" y="2276237"/>
                  </a:cubicBezTo>
                  <a:cubicBezTo>
                    <a:pt x="4153767" y="2878807"/>
                    <a:pt x="3869798" y="3414941"/>
                    <a:pt x="3428467" y="3758441"/>
                  </a:cubicBezTo>
                  <a:lnTo>
                    <a:pt x="3335845" y="3665820"/>
                  </a:lnTo>
                  <a:cubicBezTo>
                    <a:pt x="3308699" y="3638674"/>
                    <a:pt x="3262360" y="3654733"/>
                    <a:pt x="3257817" y="3692852"/>
                  </a:cubicBezTo>
                  <a:lnTo>
                    <a:pt x="3190113" y="4261828"/>
                  </a:lnTo>
                  <a:cubicBezTo>
                    <a:pt x="3186589" y="4291489"/>
                    <a:pt x="3211459" y="4316359"/>
                    <a:pt x="3241120" y="4312825"/>
                  </a:cubicBezTo>
                  <a:lnTo>
                    <a:pt x="3810095" y="4245121"/>
                  </a:lnTo>
                  <a:cubicBezTo>
                    <a:pt x="3848215" y="4240588"/>
                    <a:pt x="3864274" y="4194229"/>
                    <a:pt x="3837127" y="4167092"/>
                  </a:cubicBezTo>
                  <a:lnTo>
                    <a:pt x="3712426" y="4042391"/>
                  </a:lnTo>
                  <a:cubicBezTo>
                    <a:pt x="4225138" y="3625015"/>
                    <a:pt x="4552674" y="2988907"/>
                    <a:pt x="4552674" y="2276247"/>
                  </a:cubicBezTo>
                  <a:cubicBezTo>
                    <a:pt x="4552674" y="1019108"/>
                    <a:pt x="3533566" y="0"/>
                    <a:pt x="2276428" y="0"/>
                  </a:cubicBezTo>
                  <a:cubicBezTo>
                    <a:pt x="1989506" y="0"/>
                    <a:pt x="1714995" y="53111"/>
                    <a:pt x="1462154" y="150000"/>
                  </a:cubicBezTo>
                  <a:cubicBezTo>
                    <a:pt x="1501940" y="192710"/>
                    <a:pt x="1520819" y="250250"/>
                    <a:pt x="1513885" y="308505"/>
                  </a:cubicBezTo>
                  <a:lnTo>
                    <a:pt x="1482204" y="574758"/>
                  </a:lnTo>
                  <a:cubicBezTo>
                    <a:pt x="1723406" y="461924"/>
                    <a:pt x="1992535" y="398878"/>
                    <a:pt x="2276418" y="398878"/>
                  </a:cubicBezTo>
                  <a:close/>
                </a:path>
              </a:pathLst>
            </a:custGeom>
            <a:solidFill>
              <a:srgbClr val="2B660F"/>
            </a:solidFill>
            <a:ln w="9525" cap="flat">
              <a:noFill/>
              <a:prstDash val="solid"/>
              <a:miter/>
            </a:ln>
          </p:spPr>
          <p:txBody>
            <a:bodyPr/>
            <a:lstStyle/>
            <a:p>
              <a:endParaRPr lang="en-US"/>
            </a:p>
          </p:txBody>
        </p:sp>
      </p:grpSp>
      <p:grpSp>
        <p:nvGrpSpPr>
          <p:cNvPr id="57" name="Group 56">
            <a:extLst>
              <a:ext uri="{FF2B5EF4-FFF2-40B4-BE49-F238E27FC236}">
                <a16:creationId xmlns:a16="http://schemas.microsoft.com/office/drawing/2014/main" id="{E73E74D9-B2D4-08BA-A587-B4A1295ED9A6}"/>
              </a:ext>
            </a:extLst>
          </p:cNvPr>
          <p:cNvGrpSpPr/>
          <p:nvPr/>
        </p:nvGrpSpPr>
        <p:grpSpPr>
          <a:xfrm>
            <a:off x="372424" y="3461685"/>
            <a:ext cx="354334" cy="354334"/>
            <a:chOff x="372424" y="3461685"/>
            <a:chExt cx="354334" cy="354334"/>
          </a:xfrm>
        </p:grpSpPr>
        <p:sp>
          <p:nvSpPr>
            <p:cNvPr id="146" name="Oval 145">
              <a:extLst>
                <a:ext uri="{FF2B5EF4-FFF2-40B4-BE49-F238E27FC236}">
                  <a16:creationId xmlns:a16="http://schemas.microsoft.com/office/drawing/2014/main" id="{7A6F7F3B-CB0D-477D-24D9-528F462B7968}"/>
                </a:ext>
              </a:extLst>
            </p:cNvPr>
            <p:cNvSpPr/>
            <p:nvPr/>
          </p:nvSpPr>
          <p:spPr>
            <a:xfrm>
              <a:off x="372424" y="346168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6" name="Group 55">
              <a:extLst>
                <a:ext uri="{FF2B5EF4-FFF2-40B4-BE49-F238E27FC236}">
                  <a16:creationId xmlns:a16="http://schemas.microsoft.com/office/drawing/2014/main" id="{3EEC9912-0D87-9830-F403-BC0A7669DB62}"/>
                </a:ext>
              </a:extLst>
            </p:cNvPr>
            <p:cNvGrpSpPr/>
            <p:nvPr/>
          </p:nvGrpSpPr>
          <p:grpSpPr>
            <a:xfrm>
              <a:off x="426082" y="3515329"/>
              <a:ext cx="247020" cy="247046"/>
              <a:chOff x="3657562" y="990477"/>
              <a:chExt cx="4876861" cy="4877414"/>
            </a:xfrm>
            <a:solidFill>
              <a:srgbClr val="2B660F"/>
            </a:solidFill>
          </p:grpSpPr>
          <p:sp>
            <p:nvSpPr>
              <p:cNvPr id="44" name="Freeform: Shape 43">
                <a:extLst>
                  <a:ext uri="{FF2B5EF4-FFF2-40B4-BE49-F238E27FC236}">
                    <a16:creationId xmlns:a16="http://schemas.microsoft.com/office/drawing/2014/main" id="{6AB64119-0007-51C7-6789-76C9CF7504F4}"/>
                  </a:ext>
                </a:extLst>
              </p:cNvPr>
              <p:cNvSpPr/>
              <p:nvPr/>
            </p:nvSpPr>
            <p:spPr>
              <a:xfrm>
                <a:off x="7772438" y="2743200"/>
                <a:ext cx="457200" cy="1371600"/>
              </a:xfrm>
              <a:custGeom>
                <a:avLst/>
                <a:gdLst>
                  <a:gd name="csX0" fmla="*/ 457200 w 457200"/>
                  <a:gd name="csY0" fmla="*/ 228600 h 1371600"/>
                  <a:gd name="csX1" fmla="*/ 228600 w 457200"/>
                  <a:gd name="csY1" fmla="*/ 0 h 1371600"/>
                  <a:gd name="csX2" fmla="*/ 0 w 457200"/>
                  <a:gd name="csY2" fmla="*/ 228600 h 1371600"/>
                  <a:gd name="csX3" fmla="*/ 0 w 457200"/>
                  <a:gd name="csY3" fmla="*/ 1371600 h 1371600"/>
                  <a:gd name="csX4" fmla="*/ 457200 w 457200"/>
                  <a:gd name="csY4" fmla="*/ 1371600 h 1371600"/>
                </a:gdLst>
                <a:ahLst/>
                <a:cxnLst>
                  <a:cxn ang="0">
                    <a:pos x="csX0" y="csY0"/>
                  </a:cxn>
                  <a:cxn ang="0">
                    <a:pos x="csX1" y="csY1"/>
                  </a:cxn>
                  <a:cxn ang="0">
                    <a:pos x="csX2" y="csY2"/>
                  </a:cxn>
                  <a:cxn ang="0">
                    <a:pos x="csX3" y="csY3"/>
                  </a:cxn>
                  <a:cxn ang="0">
                    <a:pos x="csX4" y="csY4"/>
                  </a:cxn>
                </a:cxnLst>
                <a:rect l="l" t="t" r="r" b="b"/>
                <a:pathLst>
                  <a:path w="457200" h="1371600">
                    <a:moveTo>
                      <a:pt x="457200" y="228600"/>
                    </a:moveTo>
                    <a:cubicBezTo>
                      <a:pt x="457200" y="102348"/>
                      <a:pt x="354852" y="0"/>
                      <a:pt x="228600" y="0"/>
                    </a:cubicBezTo>
                    <a:cubicBezTo>
                      <a:pt x="102348" y="0"/>
                      <a:pt x="0" y="102348"/>
                      <a:pt x="0" y="228600"/>
                    </a:cubicBezTo>
                    <a:lnTo>
                      <a:pt x="0" y="1371600"/>
                    </a:lnTo>
                    <a:lnTo>
                      <a:pt x="457200" y="1371600"/>
                    </a:lnTo>
                    <a:close/>
                  </a:path>
                </a:pathLst>
              </a:custGeom>
              <a:grpFill/>
              <a:ln w="76200" cap="flat">
                <a:noFill/>
                <a:prstDash val="solid"/>
                <a:miter/>
              </a:ln>
            </p:spPr>
            <p:txBody>
              <a:bodyPr/>
              <a:lstStyle/>
              <a:p>
                <a:endParaRPr lang="en-US"/>
              </a:p>
            </p:txBody>
          </p:sp>
          <p:sp>
            <p:nvSpPr>
              <p:cNvPr id="45" name="Freeform: Shape 44">
                <a:extLst>
                  <a:ext uri="{FF2B5EF4-FFF2-40B4-BE49-F238E27FC236}">
                    <a16:creationId xmlns:a16="http://schemas.microsoft.com/office/drawing/2014/main" id="{DA7342F3-7B91-80F3-CE4D-30686A6F4492}"/>
                  </a:ext>
                </a:extLst>
              </p:cNvPr>
              <p:cNvSpPr/>
              <p:nvPr/>
            </p:nvSpPr>
            <p:spPr>
              <a:xfrm>
                <a:off x="6291208" y="2021425"/>
                <a:ext cx="1086520" cy="384208"/>
              </a:xfrm>
              <a:custGeom>
                <a:avLst/>
                <a:gdLst>
                  <a:gd name="csX0" fmla="*/ 236 w 1086520"/>
                  <a:gd name="csY0" fmla="*/ 141275 h 384208"/>
                  <a:gd name="csX1" fmla="*/ 55977 w 1086520"/>
                  <a:gd name="csY1" fmla="*/ 215280 h 384208"/>
                  <a:gd name="csX2" fmla="*/ 235313 w 1086520"/>
                  <a:gd name="csY2" fmla="*/ 251094 h 384208"/>
                  <a:gd name="csX3" fmla="*/ 412097 w 1086520"/>
                  <a:gd name="csY3" fmla="*/ 192199 h 384208"/>
                  <a:gd name="csX4" fmla="*/ 490088 w 1086520"/>
                  <a:gd name="csY4" fmla="*/ 210617 h 384208"/>
                  <a:gd name="csX5" fmla="*/ 663717 w 1086520"/>
                  <a:gd name="csY5" fmla="*/ 384208 h 384208"/>
                  <a:gd name="csX6" fmla="*/ 1086521 w 1086520"/>
                  <a:gd name="csY6" fmla="*/ 384208 h 384208"/>
                  <a:gd name="csX7" fmla="*/ 626898 w 1086520"/>
                  <a:gd name="csY7" fmla="*/ 0 h 384208"/>
                  <a:gd name="csX8" fmla="*/ 60145 w 1086520"/>
                  <a:gd name="csY8" fmla="*/ 77884 h 384208"/>
                  <a:gd name="csX9" fmla="*/ 236 w 1086520"/>
                  <a:gd name="csY9" fmla="*/ 141275 h 3842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086520" h="384208">
                    <a:moveTo>
                      <a:pt x="236" y="141275"/>
                    </a:moveTo>
                    <a:cubicBezTo>
                      <a:pt x="-2658" y="176515"/>
                      <a:pt x="21308" y="208333"/>
                      <a:pt x="55977" y="215280"/>
                    </a:cubicBezTo>
                    <a:lnTo>
                      <a:pt x="235313" y="251094"/>
                    </a:lnTo>
                    <a:lnTo>
                      <a:pt x="412097" y="192199"/>
                    </a:lnTo>
                    <a:cubicBezTo>
                      <a:pt x="439481" y="183002"/>
                      <a:pt x="469712" y="190141"/>
                      <a:pt x="490088" y="210617"/>
                    </a:cubicBezTo>
                    <a:lnTo>
                      <a:pt x="663717" y="384208"/>
                    </a:lnTo>
                    <a:lnTo>
                      <a:pt x="1086521" y="384208"/>
                    </a:lnTo>
                    <a:cubicBezTo>
                      <a:pt x="954376" y="232862"/>
                      <a:pt x="799278" y="103213"/>
                      <a:pt x="626898" y="0"/>
                    </a:cubicBezTo>
                    <a:lnTo>
                      <a:pt x="60145" y="77884"/>
                    </a:lnTo>
                    <a:cubicBezTo>
                      <a:pt x="27700" y="82194"/>
                      <a:pt x="2708" y="108639"/>
                      <a:pt x="236" y="141275"/>
                    </a:cubicBezTo>
                    <a:close/>
                  </a:path>
                </a:pathLst>
              </a:custGeom>
              <a:grpFill/>
              <a:ln w="76200" cap="flat">
                <a:noFill/>
                <a:prstDash val="solid"/>
                <a:miter/>
              </a:ln>
            </p:spPr>
            <p:txBody>
              <a:bodyPr/>
              <a:lstStyle/>
              <a:p>
                <a:endParaRPr lang="en-US"/>
              </a:p>
            </p:txBody>
          </p:sp>
          <p:sp>
            <p:nvSpPr>
              <p:cNvPr id="46" name="Freeform: Shape 45">
                <a:extLst>
                  <a:ext uri="{FF2B5EF4-FFF2-40B4-BE49-F238E27FC236}">
                    <a16:creationId xmlns:a16="http://schemas.microsoft.com/office/drawing/2014/main" id="{153AF77D-13D3-A1DB-6FA5-97A1745E166E}"/>
                  </a:ext>
                </a:extLst>
              </p:cNvPr>
              <p:cNvSpPr/>
              <p:nvPr/>
            </p:nvSpPr>
            <p:spPr>
              <a:xfrm>
                <a:off x="4713557" y="3501029"/>
                <a:ext cx="1349784" cy="1906861"/>
              </a:xfrm>
              <a:custGeom>
                <a:avLst/>
                <a:gdLst>
                  <a:gd name="csX0" fmla="*/ 668327 w 1349784"/>
                  <a:gd name="csY0" fmla="*/ 1462768 h 1906861"/>
                  <a:gd name="csX1" fmla="*/ 957948 w 1349784"/>
                  <a:gd name="csY1" fmla="*/ 1289032 h 1906861"/>
                  <a:gd name="csX2" fmla="*/ 957948 w 1349784"/>
                  <a:gd name="csY2" fmla="*/ 1172316 h 1906861"/>
                  <a:gd name="csX3" fmla="*/ 1106256 w 1349784"/>
                  <a:gd name="csY3" fmla="*/ 966576 h 1906861"/>
                  <a:gd name="csX4" fmla="*/ 1179255 w 1349784"/>
                  <a:gd name="csY4" fmla="*/ 942276 h 1906861"/>
                  <a:gd name="csX5" fmla="*/ 1335199 w 1349784"/>
                  <a:gd name="csY5" fmla="*/ 682236 h 1906861"/>
                  <a:gd name="csX6" fmla="*/ 1299957 w 1349784"/>
                  <a:gd name="csY6" fmla="*/ 541655 h 1906861"/>
                  <a:gd name="csX7" fmla="*/ 1267381 w 1349784"/>
                  <a:gd name="csY7" fmla="*/ 529074 h 1906861"/>
                  <a:gd name="csX8" fmla="*/ 1084501 w 1349784"/>
                  <a:gd name="csY8" fmla="*/ 492498 h 1906861"/>
                  <a:gd name="csX9" fmla="*/ 1028692 w 1349784"/>
                  <a:gd name="csY9" fmla="*/ 446100 h 1906861"/>
                  <a:gd name="csX10" fmla="*/ 933365 w 1349784"/>
                  <a:gd name="csY10" fmla="*/ 207937 h 1906861"/>
                  <a:gd name="csX11" fmla="*/ 873541 w 1349784"/>
                  <a:gd name="csY11" fmla="*/ 167421 h 1906861"/>
                  <a:gd name="csX12" fmla="*/ 446280 w 1349784"/>
                  <a:gd name="csY12" fmla="*/ 167421 h 1906861"/>
                  <a:gd name="csX13" fmla="*/ 372312 w 1349784"/>
                  <a:gd name="csY13" fmla="*/ 109669 h 1906861"/>
                  <a:gd name="csX14" fmla="*/ 357126 w 1349784"/>
                  <a:gd name="csY14" fmla="*/ 48839 h 1906861"/>
                  <a:gd name="csX15" fmla="*/ 279067 w 1349784"/>
                  <a:gd name="csY15" fmla="*/ 1927 h 1906861"/>
                  <a:gd name="csX16" fmla="*/ 257113 w 1349784"/>
                  <a:gd name="csY16" fmla="*/ 12080 h 1906861"/>
                  <a:gd name="csX17" fmla="*/ 70637 w 1349784"/>
                  <a:gd name="csY17" fmla="*/ 145277 h 1906861"/>
                  <a:gd name="csX18" fmla="*/ 12588 w 1349784"/>
                  <a:gd name="csY18" fmla="*/ 346384 h 1906861"/>
                  <a:gd name="csX19" fmla="*/ 175656 w 1349784"/>
                  <a:gd name="csY19" fmla="*/ 745093 h 1906861"/>
                  <a:gd name="csX20" fmla="*/ 302231 w 1349784"/>
                  <a:gd name="csY20" fmla="*/ 776716 h 1906861"/>
                  <a:gd name="csX21" fmla="*/ 490582 w 1349784"/>
                  <a:gd name="csY21" fmla="*/ 1090577 h 1906861"/>
                  <a:gd name="csX22" fmla="*/ 431939 w 1349784"/>
                  <a:gd name="csY22" fmla="*/ 1200884 h 1906861"/>
                  <a:gd name="csX23" fmla="*/ 353880 w 1349784"/>
                  <a:gd name="csY23" fmla="*/ 1287538 h 1906861"/>
                  <a:gd name="csX24" fmla="*/ 338548 w 1349784"/>
                  <a:gd name="csY24" fmla="*/ 1342936 h 1906861"/>
                  <a:gd name="csX25" fmla="*/ 445106 w 1349784"/>
                  <a:gd name="csY25" fmla="*/ 1891576 h 1906861"/>
                  <a:gd name="csX26" fmla="*/ 478871 w 1349784"/>
                  <a:gd name="csY26" fmla="*/ 1906861 h 1906861"/>
                  <a:gd name="csX27" fmla="*/ 636444 w 1349784"/>
                  <a:gd name="csY27" fmla="*/ 1500533 h 1906861"/>
                  <a:gd name="csX28" fmla="*/ 668327 w 1349784"/>
                  <a:gd name="csY28" fmla="*/ 1462768 h 190686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1349784" h="1906861">
                    <a:moveTo>
                      <a:pt x="668327" y="1462768"/>
                    </a:moveTo>
                    <a:lnTo>
                      <a:pt x="957948" y="1289032"/>
                    </a:lnTo>
                    <a:lnTo>
                      <a:pt x="957948" y="1172316"/>
                    </a:lnTo>
                    <a:cubicBezTo>
                      <a:pt x="957883" y="1078943"/>
                      <a:pt x="1017649" y="996032"/>
                      <a:pt x="1106256" y="966576"/>
                    </a:cubicBezTo>
                    <a:lnTo>
                      <a:pt x="1179255" y="942276"/>
                    </a:lnTo>
                    <a:lnTo>
                      <a:pt x="1335199" y="682236"/>
                    </a:lnTo>
                    <a:cubicBezTo>
                      <a:pt x="1364287" y="633684"/>
                      <a:pt x="1348509" y="570744"/>
                      <a:pt x="1299957" y="541655"/>
                    </a:cubicBezTo>
                    <a:cubicBezTo>
                      <a:pt x="1289898" y="535629"/>
                      <a:pt x="1278879" y="531373"/>
                      <a:pt x="1267381" y="529074"/>
                    </a:cubicBezTo>
                    <a:lnTo>
                      <a:pt x="1084501" y="492498"/>
                    </a:lnTo>
                    <a:cubicBezTo>
                      <a:pt x="1059261" y="487438"/>
                      <a:pt x="1038276" y="469991"/>
                      <a:pt x="1028692" y="446100"/>
                    </a:cubicBezTo>
                    <a:lnTo>
                      <a:pt x="933365" y="207937"/>
                    </a:lnTo>
                    <a:cubicBezTo>
                      <a:pt x="923664" y="183406"/>
                      <a:pt x="899921" y="167326"/>
                      <a:pt x="873541" y="167421"/>
                    </a:cubicBezTo>
                    <a:lnTo>
                      <a:pt x="446280" y="167421"/>
                    </a:lnTo>
                    <a:cubicBezTo>
                      <a:pt x="411295" y="167418"/>
                      <a:pt x="380801" y="143608"/>
                      <a:pt x="372312" y="109669"/>
                    </a:cubicBezTo>
                    <a:lnTo>
                      <a:pt x="357126" y="48839"/>
                    </a:lnTo>
                    <a:cubicBezTo>
                      <a:pt x="348525" y="14329"/>
                      <a:pt x="313577" y="-6674"/>
                      <a:pt x="279067" y="1927"/>
                    </a:cubicBezTo>
                    <a:cubicBezTo>
                      <a:pt x="271174" y="3894"/>
                      <a:pt x="263724" y="7339"/>
                      <a:pt x="257113" y="12080"/>
                    </a:cubicBezTo>
                    <a:lnTo>
                      <a:pt x="70637" y="145277"/>
                    </a:lnTo>
                    <a:cubicBezTo>
                      <a:pt x="6984" y="190735"/>
                      <a:pt x="-17050" y="273999"/>
                      <a:pt x="12588" y="346384"/>
                    </a:cubicBezTo>
                    <a:lnTo>
                      <a:pt x="175656" y="745093"/>
                    </a:lnTo>
                    <a:lnTo>
                      <a:pt x="302231" y="776716"/>
                    </a:lnTo>
                    <a:cubicBezTo>
                      <a:pt x="440913" y="811375"/>
                      <a:pt x="525241" y="951895"/>
                      <a:pt x="490582" y="1090577"/>
                    </a:cubicBezTo>
                    <a:cubicBezTo>
                      <a:pt x="480334" y="1131583"/>
                      <a:pt x="460200" y="1169454"/>
                      <a:pt x="431939" y="1200884"/>
                    </a:cubicBezTo>
                    <a:lnTo>
                      <a:pt x="353880" y="1287538"/>
                    </a:lnTo>
                    <a:cubicBezTo>
                      <a:pt x="340436" y="1302617"/>
                      <a:pt x="334770" y="1323091"/>
                      <a:pt x="338548" y="1342936"/>
                    </a:cubicBezTo>
                    <a:lnTo>
                      <a:pt x="445106" y="1891576"/>
                    </a:lnTo>
                    <a:cubicBezTo>
                      <a:pt x="456361" y="1896681"/>
                      <a:pt x="467509" y="1901969"/>
                      <a:pt x="478871" y="1906861"/>
                    </a:cubicBezTo>
                    <a:lnTo>
                      <a:pt x="636444" y="1500533"/>
                    </a:lnTo>
                    <a:cubicBezTo>
                      <a:pt x="642597" y="1484761"/>
                      <a:pt x="653811" y="1471478"/>
                      <a:pt x="668327" y="1462768"/>
                    </a:cubicBezTo>
                    <a:close/>
                  </a:path>
                </a:pathLst>
              </a:custGeom>
              <a:grpFill/>
              <a:ln w="76200" cap="flat">
                <a:noFill/>
                <a:prstDash val="solid"/>
                <a:miter/>
              </a:ln>
            </p:spPr>
            <p:txBody>
              <a:bodyPr/>
              <a:lstStyle/>
              <a:p>
                <a:endParaRPr lang="en-US"/>
              </a:p>
            </p:txBody>
          </p:sp>
          <p:sp>
            <p:nvSpPr>
              <p:cNvPr id="47" name="Freeform: Shape 46">
                <a:extLst>
                  <a:ext uri="{FF2B5EF4-FFF2-40B4-BE49-F238E27FC236}">
                    <a16:creationId xmlns:a16="http://schemas.microsoft.com/office/drawing/2014/main" id="{A4BDDE24-A20F-9191-2ED6-955E4A7891C7}"/>
                  </a:ext>
                </a:extLst>
              </p:cNvPr>
              <p:cNvSpPr/>
              <p:nvPr/>
            </p:nvSpPr>
            <p:spPr>
              <a:xfrm>
                <a:off x="4974838" y="1752500"/>
                <a:ext cx="2649184" cy="3810064"/>
              </a:xfrm>
              <a:custGeom>
                <a:avLst/>
                <a:gdLst>
                  <a:gd name="csX0" fmla="*/ 2002932 w 2649184"/>
                  <a:gd name="csY0" fmla="*/ 2782923 h 3810064"/>
                  <a:gd name="csX1" fmla="*/ 2002932 w 2649184"/>
                  <a:gd name="csY1" fmla="*/ 2245249 h 3810064"/>
                  <a:gd name="csX2" fmla="*/ 1742702 w 2649184"/>
                  <a:gd name="csY2" fmla="*/ 1835605 h 3810064"/>
                  <a:gd name="csX3" fmla="*/ 1672598 w 2649184"/>
                  <a:gd name="csY3" fmla="*/ 1807624 h 3810064"/>
                  <a:gd name="csX4" fmla="*/ 1570131 w 2649184"/>
                  <a:gd name="csY4" fmla="*/ 1833220 h 3810064"/>
                  <a:gd name="csX5" fmla="*/ 1397264 w 2649184"/>
                  <a:gd name="csY5" fmla="*/ 1803266 h 3810064"/>
                  <a:gd name="csX6" fmla="*/ 1057153 w 2649184"/>
                  <a:gd name="csY6" fmla="*/ 1576525 h 3810064"/>
                  <a:gd name="csX7" fmla="*/ 1024258 w 2649184"/>
                  <a:gd name="csY7" fmla="*/ 1525669 h 3810064"/>
                  <a:gd name="csX8" fmla="*/ 972541 w 2649184"/>
                  <a:gd name="csY8" fmla="*/ 1215215 h 3810064"/>
                  <a:gd name="csX9" fmla="*/ 1050973 w 2649184"/>
                  <a:gd name="csY9" fmla="*/ 1010237 h 3810064"/>
                  <a:gd name="csX10" fmla="*/ 1242594 w 2649184"/>
                  <a:gd name="csY10" fmla="*/ 856983 h 3810064"/>
                  <a:gd name="csX11" fmla="*/ 1451023 w 2649184"/>
                  <a:gd name="csY11" fmla="*/ 783832 h 3810064"/>
                  <a:gd name="csX12" fmla="*/ 1683494 w 2649184"/>
                  <a:gd name="csY12" fmla="*/ 879082 h 3810064"/>
                  <a:gd name="csX13" fmla="*/ 1794815 w 2649184"/>
                  <a:gd name="csY13" fmla="*/ 990410 h 3810064"/>
                  <a:gd name="csX14" fmla="*/ 2273229 w 2649184"/>
                  <a:gd name="csY14" fmla="*/ 1169853 h 3810064"/>
                  <a:gd name="csX15" fmla="*/ 2649184 w 2649184"/>
                  <a:gd name="csY15" fmla="*/ 1008728 h 3810064"/>
                  <a:gd name="csX16" fmla="*/ 2523036 w 2649184"/>
                  <a:gd name="csY16" fmla="*/ 805533 h 3810064"/>
                  <a:gd name="csX17" fmla="*/ 1948533 w 2649184"/>
                  <a:gd name="csY17" fmla="*/ 805533 h 3810064"/>
                  <a:gd name="csX18" fmla="*/ 1894660 w 2649184"/>
                  <a:gd name="csY18" fmla="*/ 783207 h 3810064"/>
                  <a:gd name="csX19" fmla="*/ 1731988 w 2649184"/>
                  <a:gd name="csY19" fmla="*/ 620573 h 3810064"/>
                  <a:gd name="csX20" fmla="*/ 1580708 w 2649184"/>
                  <a:gd name="csY20" fmla="*/ 670987 h 3810064"/>
                  <a:gd name="csX21" fmla="*/ 1541640 w 2649184"/>
                  <a:gd name="csY21" fmla="*/ 673410 h 3810064"/>
                  <a:gd name="csX22" fmla="*/ 1342431 w 2649184"/>
                  <a:gd name="csY22" fmla="*/ 633596 h 3810064"/>
                  <a:gd name="csX23" fmla="*/ 1168254 w 2649184"/>
                  <a:gd name="csY23" fmla="*/ 372216 h 3810064"/>
                  <a:gd name="csX24" fmla="*/ 1355827 w 2649184"/>
                  <a:gd name="csY24" fmla="*/ 195781 h 3810064"/>
                  <a:gd name="csX25" fmla="*/ 1704449 w 2649184"/>
                  <a:gd name="csY25" fmla="*/ 147904 h 3810064"/>
                  <a:gd name="csX26" fmla="*/ 309715 w 2649184"/>
                  <a:gd name="csY26" fmla="*/ 117661 h 3810064"/>
                  <a:gd name="csX27" fmla="*/ 746973 w 2649184"/>
                  <a:gd name="csY27" fmla="*/ 365859 h 3810064"/>
                  <a:gd name="csX28" fmla="*/ 822880 w 2649184"/>
                  <a:gd name="csY28" fmla="*/ 640432 h 3810064"/>
                  <a:gd name="csX29" fmla="*/ 651274 w 2649184"/>
                  <a:gd name="csY29" fmla="*/ 742501 h 3810064"/>
                  <a:gd name="csX30" fmla="*/ 574106 w 2649184"/>
                  <a:gd name="csY30" fmla="*/ 743880 h 3810064"/>
                  <a:gd name="csX31" fmla="*/ 520972 w 2649184"/>
                  <a:gd name="csY31" fmla="*/ 1005779 h 3810064"/>
                  <a:gd name="csX32" fmla="*/ 496420 w 2649184"/>
                  <a:gd name="csY32" fmla="*/ 1047971 h 3810064"/>
                  <a:gd name="csX33" fmla="*/ 0 w 2649184"/>
                  <a:gd name="csY33" fmla="*/ 1482403 h 3810064"/>
                  <a:gd name="csX34" fmla="*/ 0 w 2649184"/>
                  <a:gd name="csY34" fmla="*/ 1599156 h 3810064"/>
                  <a:gd name="csX35" fmla="*/ 243710 w 2649184"/>
                  <a:gd name="csY35" fmla="*/ 1760441 h 3810064"/>
                  <a:gd name="csX36" fmla="*/ 244526 w 2649184"/>
                  <a:gd name="csY36" fmla="*/ 1763535 h 3810064"/>
                  <a:gd name="csX37" fmla="*/ 612282 w 2649184"/>
                  <a:gd name="csY37" fmla="*/ 1763535 h 3810064"/>
                  <a:gd name="csX38" fmla="*/ 813648 w 2649184"/>
                  <a:gd name="csY38" fmla="*/ 1899819 h 3810064"/>
                  <a:gd name="csX39" fmla="*/ 893658 w 2649184"/>
                  <a:gd name="csY39" fmla="*/ 2099661 h 3810064"/>
                  <a:gd name="csX40" fmla="*/ 1036084 w 2649184"/>
                  <a:gd name="csY40" fmla="*/ 2128160 h 3810064"/>
                  <a:gd name="csX41" fmla="*/ 1235972 w 2649184"/>
                  <a:gd name="csY41" fmla="*/ 2428090 h 3810064"/>
                  <a:gd name="csX42" fmla="*/ 1204630 w 2649184"/>
                  <a:gd name="csY42" fmla="*/ 2509160 h 3810064"/>
                  <a:gd name="csX43" fmla="*/ 1034148 w 2649184"/>
                  <a:gd name="csY43" fmla="*/ 2793309 h 3810064"/>
                  <a:gd name="csX44" fmla="*/ 992924 w 2649184"/>
                  <a:gd name="csY44" fmla="*/ 2826388 h 3810064"/>
                  <a:gd name="csX45" fmla="*/ 893209 w 2649184"/>
                  <a:gd name="csY45" fmla="*/ 2859611 h 3810064"/>
                  <a:gd name="csX46" fmla="*/ 849081 w 2649184"/>
                  <a:gd name="csY46" fmla="*/ 2920784 h 3810064"/>
                  <a:gd name="csX47" fmla="*/ 849081 w 2649184"/>
                  <a:gd name="csY47" fmla="*/ 3080660 h 3810064"/>
                  <a:gd name="csX48" fmla="*/ 812094 w 2649184"/>
                  <a:gd name="csY48" fmla="*/ 3145993 h 3810064"/>
                  <a:gd name="csX49" fmla="*/ 507881 w 2649184"/>
                  <a:gd name="csY49" fmla="*/ 3328515 h 3810064"/>
                  <a:gd name="csX50" fmla="*/ 359976 w 2649184"/>
                  <a:gd name="csY50" fmla="*/ 3709660 h 3810064"/>
                  <a:gd name="csX51" fmla="*/ 2298642 w 2649184"/>
                  <a:gd name="csY51" fmla="*/ 3267220 h 3810064"/>
                  <a:gd name="csX52" fmla="*/ 2085754 w 2649184"/>
                  <a:gd name="csY52" fmla="*/ 3011775 h 3810064"/>
                  <a:gd name="csX53" fmla="*/ 2002932 w 2649184"/>
                  <a:gd name="csY53" fmla="*/ 2782923 h 381006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Lst>
                <a:rect l="l" t="t" r="r" b="b"/>
                <a:pathLst>
                  <a:path w="2649184" h="3810064">
                    <a:moveTo>
                      <a:pt x="2002932" y="2782923"/>
                    </a:moveTo>
                    <a:lnTo>
                      <a:pt x="2002932" y="2245249"/>
                    </a:lnTo>
                    <a:lnTo>
                      <a:pt x="1742702" y="1835605"/>
                    </a:lnTo>
                    <a:cubicBezTo>
                      <a:pt x="1727800" y="1812152"/>
                      <a:pt x="1699553" y="1800878"/>
                      <a:pt x="1672598" y="1807624"/>
                    </a:cubicBezTo>
                    <a:lnTo>
                      <a:pt x="1570131" y="1833220"/>
                    </a:lnTo>
                    <a:cubicBezTo>
                      <a:pt x="1510859" y="1847933"/>
                      <a:pt x="1448131" y="1837064"/>
                      <a:pt x="1397264" y="1803266"/>
                    </a:cubicBezTo>
                    <a:lnTo>
                      <a:pt x="1057153" y="1576525"/>
                    </a:lnTo>
                    <a:cubicBezTo>
                      <a:pt x="1039608" y="1564870"/>
                      <a:pt x="1027693" y="1546450"/>
                      <a:pt x="1024258" y="1525669"/>
                    </a:cubicBezTo>
                    <a:lnTo>
                      <a:pt x="972541" y="1215215"/>
                    </a:lnTo>
                    <a:cubicBezTo>
                      <a:pt x="959655" y="1137729"/>
                      <a:pt x="989654" y="1059329"/>
                      <a:pt x="1050973" y="1010237"/>
                    </a:cubicBezTo>
                    <a:lnTo>
                      <a:pt x="1242594" y="856983"/>
                    </a:lnTo>
                    <a:cubicBezTo>
                      <a:pt x="1301778" y="809694"/>
                      <a:pt x="1375267" y="783902"/>
                      <a:pt x="1451023" y="783832"/>
                    </a:cubicBezTo>
                    <a:cubicBezTo>
                      <a:pt x="1538153" y="783114"/>
                      <a:pt x="1621917" y="817434"/>
                      <a:pt x="1683494" y="879082"/>
                    </a:cubicBezTo>
                    <a:lnTo>
                      <a:pt x="1794815" y="990410"/>
                    </a:lnTo>
                    <a:lnTo>
                      <a:pt x="2273229" y="1169853"/>
                    </a:lnTo>
                    <a:lnTo>
                      <a:pt x="2649184" y="1008728"/>
                    </a:lnTo>
                    <a:cubicBezTo>
                      <a:pt x="2611424" y="938426"/>
                      <a:pt x="2569292" y="870561"/>
                      <a:pt x="2523036" y="805533"/>
                    </a:cubicBezTo>
                    <a:lnTo>
                      <a:pt x="1948533" y="805533"/>
                    </a:lnTo>
                    <a:cubicBezTo>
                      <a:pt x="1928324" y="805535"/>
                      <a:pt x="1908943" y="797503"/>
                      <a:pt x="1894660" y="783207"/>
                    </a:cubicBezTo>
                    <a:lnTo>
                      <a:pt x="1731988" y="620573"/>
                    </a:lnTo>
                    <a:lnTo>
                      <a:pt x="1580708" y="670987"/>
                    </a:lnTo>
                    <a:cubicBezTo>
                      <a:pt x="1568125" y="675213"/>
                      <a:pt x="1554649" y="676049"/>
                      <a:pt x="1541640" y="673410"/>
                    </a:cubicBezTo>
                    <a:lnTo>
                      <a:pt x="1342431" y="633596"/>
                    </a:lnTo>
                    <a:cubicBezTo>
                      <a:pt x="1222155" y="609515"/>
                      <a:pt x="1144174" y="492491"/>
                      <a:pt x="1168254" y="372216"/>
                    </a:cubicBezTo>
                    <a:cubicBezTo>
                      <a:pt x="1186825" y="279460"/>
                      <a:pt x="1262109" y="208646"/>
                      <a:pt x="1355827" y="195781"/>
                    </a:cubicBezTo>
                    <a:lnTo>
                      <a:pt x="1704449" y="147904"/>
                    </a:lnTo>
                    <a:cubicBezTo>
                      <a:pt x="1260106" y="-38260"/>
                      <a:pt x="761711" y="-49068"/>
                      <a:pt x="309715" y="117661"/>
                    </a:cubicBezTo>
                    <a:lnTo>
                      <a:pt x="746973" y="365859"/>
                    </a:lnTo>
                    <a:cubicBezTo>
                      <a:pt x="843755" y="420719"/>
                      <a:pt x="877740" y="543650"/>
                      <a:pt x="822880" y="640432"/>
                    </a:cubicBezTo>
                    <a:cubicBezTo>
                      <a:pt x="787750" y="702406"/>
                      <a:pt x="722500" y="741216"/>
                      <a:pt x="651274" y="742501"/>
                    </a:cubicBezTo>
                    <a:lnTo>
                      <a:pt x="574106" y="743880"/>
                    </a:lnTo>
                    <a:lnTo>
                      <a:pt x="520972" y="1005779"/>
                    </a:lnTo>
                    <a:cubicBezTo>
                      <a:pt x="517630" y="1022153"/>
                      <a:pt x="509004" y="1036976"/>
                      <a:pt x="496420" y="1047971"/>
                    </a:cubicBezTo>
                    <a:lnTo>
                      <a:pt x="0" y="1482403"/>
                    </a:lnTo>
                    <a:lnTo>
                      <a:pt x="0" y="1599156"/>
                    </a:lnTo>
                    <a:cubicBezTo>
                      <a:pt x="110826" y="1581325"/>
                      <a:pt x="216806" y="1651462"/>
                      <a:pt x="243710" y="1760441"/>
                    </a:cubicBezTo>
                    <a:lnTo>
                      <a:pt x="244526" y="1763535"/>
                    </a:lnTo>
                    <a:lnTo>
                      <a:pt x="612282" y="1763535"/>
                    </a:lnTo>
                    <a:cubicBezTo>
                      <a:pt x="701044" y="1763231"/>
                      <a:pt x="780939" y="1817304"/>
                      <a:pt x="813648" y="1899819"/>
                    </a:cubicBezTo>
                    <a:lnTo>
                      <a:pt x="893658" y="2099661"/>
                    </a:lnTo>
                    <a:lnTo>
                      <a:pt x="1036084" y="2128160"/>
                    </a:lnTo>
                    <a:cubicBezTo>
                      <a:pt x="1174105" y="2155786"/>
                      <a:pt x="1263598" y="2290069"/>
                      <a:pt x="1235972" y="2428090"/>
                    </a:cubicBezTo>
                    <a:cubicBezTo>
                      <a:pt x="1230244" y="2456708"/>
                      <a:pt x="1219642" y="2484130"/>
                      <a:pt x="1204630" y="2509160"/>
                    </a:cubicBezTo>
                    <a:lnTo>
                      <a:pt x="1034148" y="2793309"/>
                    </a:lnTo>
                    <a:cubicBezTo>
                      <a:pt x="1024790" y="2808897"/>
                      <a:pt x="1010169" y="2820628"/>
                      <a:pt x="992924" y="2826388"/>
                    </a:cubicBezTo>
                    <a:lnTo>
                      <a:pt x="893209" y="2859611"/>
                    </a:lnTo>
                    <a:cubicBezTo>
                      <a:pt x="866841" y="2868345"/>
                      <a:pt x="849050" y="2893008"/>
                      <a:pt x="849081" y="2920784"/>
                    </a:cubicBezTo>
                    <a:lnTo>
                      <a:pt x="849081" y="3080660"/>
                    </a:lnTo>
                    <a:cubicBezTo>
                      <a:pt x="849070" y="3107419"/>
                      <a:pt x="835033" y="3132214"/>
                      <a:pt x="812094" y="3145993"/>
                    </a:cubicBezTo>
                    <a:lnTo>
                      <a:pt x="507881" y="3328515"/>
                    </a:lnTo>
                    <a:lnTo>
                      <a:pt x="359976" y="3709660"/>
                    </a:lnTo>
                    <a:cubicBezTo>
                      <a:pt x="1037943" y="3939244"/>
                      <a:pt x="1787404" y="3768203"/>
                      <a:pt x="2298642" y="3267220"/>
                    </a:cubicBezTo>
                    <a:lnTo>
                      <a:pt x="2085754" y="3011775"/>
                    </a:lnTo>
                    <a:cubicBezTo>
                      <a:pt x="2032291" y="2947491"/>
                      <a:pt x="2002992" y="2866534"/>
                      <a:pt x="2002932" y="2782923"/>
                    </a:cubicBezTo>
                    <a:close/>
                  </a:path>
                </a:pathLst>
              </a:custGeom>
              <a:grpFill/>
              <a:ln w="76200" cap="flat">
                <a:noFill/>
                <a:prstDash val="solid"/>
                <a:miter/>
              </a:ln>
            </p:spPr>
            <p:txBody>
              <a:bodyPr/>
              <a:lstStyle/>
              <a:p>
                <a:endParaRPr lang="en-US"/>
              </a:p>
            </p:txBody>
          </p:sp>
          <p:sp>
            <p:nvSpPr>
              <p:cNvPr id="48" name="Freeform: Shape 47">
                <a:extLst>
                  <a:ext uri="{FF2B5EF4-FFF2-40B4-BE49-F238E27FC236}">
                    <a16:creationId xmlns:a16="http://schemas.microsoft.com/office/drawing/2014/main" id="{1012B7AA-3096-3FFC-6CBE-9B4422F755B3}"/>
                  </a:ext>
                </a:extLst>
              </p:cNvPr>
              <p:cNvSpPr/>
              <p:nvPr/>
            </p:nvSpPr>
            <p:spPr>
              <a:xfrm>
                <a:off x="4038497" y="3228289"/>
                <a:ext cx="1020918" cy="2075040"/>
              </a:xfrm>
              <a:custGeom>
                <a:avLst/>
                <a:gdLst>
                  <a:gd name="csX0" fmla="*/ 993644 w 1020918"/>
                  <a:gd name="csY0" fmla="*/ 1371661 h 2075040"/>
                  <a:gd name="csX1" fmla="*/ 985648 w 1020918"/>
                  <a:gd name="csY1" fmla="*/ 1221393 h 2075040"/>
                  <a:gd name="csX2" fmla="*/ 940365 w 1020918"/>
                  <a:gd name="csY2" fmla="*/ 1197308 h 2075040"/>
                  <a:gd name="csX3" fmla="*/ 776352 w 1020918"/>
                  <a:gd name="csY3" fmla="*/ 1156305 h 2075040"/>
                  <a:gd name="csX4" fmla="*/ 724261 w 1020918"/>
                  <a:gd name="csY4" fmla="*/ 1111209 h 2075040"/>
                  <a:gd name="csX5" fmla="*/ 546563 w 1020918"/>
                  <a:gd name="csY5" fmla="*/ 676816 h 2075040"/>
                  <a:gd name="csX6" fmla="*/ 657144 w 1020918"/>
                  <a:gd name="csY6" fmla="*/ 293995 h 2075040"/>
                  <a:gd name="csX7" fmla="*/ 691259 w 1020918"/>
                  <a:gd name="csY7" fmla="*/ 269611 h 2075040"/>
                  <a:gd name="csX8" fmla="*/ 580419 w 1020918"/>
                  <a:gd name="csY8" fmla="*/ 241897 h 2075040"/>
                  <a:gd name="csX9" fmla="*/ 526621 w 1020918"/>
                  <a:gd name="csY9" fmla="*/ 192078 h 2075040"/>
                  <a:gd name="csX10" fmla="*/ 476832 w 1020918"/>
                  <a:gd name="csY10" fmla="*/ 42916 h 2075040"/>
                  <a:gd name="csX11" fmla="*/ 49510 w 1020918"/>
                  <a:gd name="csY11" fmla="*/ 0 h 2075040"/>
                  <a:gd name="csX12" fmla="*/ 947573 w 1020918"/>
                  <a:gd name="csY12" fmla="*/ 2075040 h 2075040"/>
                  <a:gd name="csX13" fmla="*/ 864012 w 1020918"/>
                  <a:gd name="csY13" fmla="*/ 1644701 h 2075040"/>
                  <a:gd name="csX14" fmla="*/ 915584 w 1020918"/>
                  <a:gd name="csY14" fmla="*/ 1458369 h 207504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1020918" h="2075040">
                    <a:moveTo>
                      <a:pt x="993644" y="1371661"/>
                    </a:moveTo>
                    <a:cubicBezTo>
                      <a:pt x="1032931" y="1327958"/>
                      <a:pt x="1029351" y="1260681"/>
                      <a:pt x="985648" y="1221393"/>
                    </a:cubicBezTo>
                    <a:cubicBezTo>
                      <a:pt x="972743" y="1209792"/>
                      <a:pt x="957197" y="1201524"/>
                      <a:pt x="940365" y="1197308"/>
                    </a:cubicBezTo>
                    <a:lnTo>
                      <a:pt x="776352" y="1156305"/>
                    </a:lnTo>
                    <a:cubicBezTo>
                      <a:pt x="752796" y="1150429"/>
                      <a:pt x="733450" y="1133681"/>
                      <a:pt x="724261" y="1111209"/>
                    </a:cubicBezTo>
                    <a:lnTo>
                      <a:pt x="546563" y="676816"/>
                    </a:lnTo>
                    <a:cubicBezTo>
                      <a:pt x="490209" y="539004"/>
                      <a:pt x="535986" y="380530"/>
                      <a:pt x="657144" y="293995"/>
                    </a:cubicBezTo>
                    <a:lnTo>
                      <a:pt x="691259" y="269611"/>
                    </a:lnTo>
                    <a:lnTo>
                      <a:pt x="580419" y="241897"/>
                    </a:lnTo>
                    <a:cubicBezTo>
                      <a:pt x="555137" y="235600"/>
                      <a:pt x="534838" y="216801"/>
                      <a:pt x="526621" y="192078"/>
                    </a:cubicBezTo>
                    <a:lnTo>
                      <a:pt x="476832" y="42916"/>
                    </a:lnTo>
                    <a:lnTo>
                      <a:pt x="49510" y="0"/>
                    </a:lnTo>
                    <a:cubicBezTo>
                      <a:pt x="-139677" y="813879"/>
                      <a:pt x="224735" y="1655880"/>
                      <a:pt x="947573" y="2075040"/>
                    </a:cubicBezTo>
                    <a:lnTo>
                      <a:pt x="864012" y="1644701"/>
                    </a:lnTo>
                    <a:cubicBezTo>
                      <a:pt x="851242" y="1577948"/>
                      <a:pt x="870309" y="1509056"/>
                      <a:pt x="915584" y="1458369"/>
                    </a:cubicBezTo>
                    <a:close/>
                  </a:path>
                </a:pathLst>
              </a:custGeom>
              <a:grpFill/>
              <a:ln w="76200" cap="flat">
                <a:noFill/>
                <a:prstDash val="solid"/>
                <a:miter/>
              </a:ln>
            </p:spPr>
            <p:txBody>
              <a:bodyPr/>
              <a:lstStyle/>
              <a:p>
                <a:endParaRPr lang="en-US"/>
              </a:p>
            </p:txBody>
          </p:sp>
          <p:sp>
            <p:nvSpPr>
              <p:cNvPr id="49" name="Oval 48">
                <a:extLst>
                  <a:ext uri="{FF2B5EF4-FFF2-40B4-BE49-F238E27FC236}">
                    <a16:creationId xmlns:a16="http://schemas.microsoft.com/office/drawing/2014/main" id="{E7CFE07E-BD9A-C18F-0B67-2692ABA40AE0}"/>
                  </a:ext>
                </a:extLst>
              </p:cNvPr>
              <p:cNvSpPr/>
              <p:nvPr/>
            </p:nvSpPr>
            <p:spPr>
              <a:xfrm>
                <a:off x="7924876" y="5334000"/>
                <a:ext cx="152400" cy="152400"/>
              </a:xfrm>
              <a:prstGeom prst="ellipse">
                <a:avLst/>
              </a:prstGeom>
              <a:grpFill/>
              <a:ln w="76200" cap="flat">
                <a:noFill/>
                <a:prstDash val="solid"/>
                <a:miter/>
              </a:ln>
            </p:spPr>
            <p:txBody>
              <a:bodyPr/>
              <a:lstStyle/>
              <a:p>
                <a:endParaRPr lang="en-US"/>
              </a:p>
            </p:txBody>
          </p:sp>
          <p:sp>
            <p:nvSpPr>
              <p:cNvPr id="50" name="Freeform: Shape 49">
                <a:extLst>
                  <a:ext uri="{FF2B5EF4-FFF2-40B4-BE49-F238E27FC236}">
                    <a16:creationId xmlns:a16="http://schemas.microsoft.com/office/drawing/2014/main" id="{9756941A-8786-50E1-8A27-263CED85A7B6}"/>
                  </a:ext>
                </a:extLst>
              </p:cNvPr>
              <p:cNvSpPr/>
              <p:nvPr/>
            </p:nvSpPr>
            <p:spPr>
              <a:xfrm>
                <a:off x="7543761" y="4267200"/>
                <a:ext cx="914552" cy="1600691"/>
              </a:xfrm>
              <a:custGeom>
                <a:avLst/>
                <a:gdLst>
                  <a:gd name="csX0" fmla="*/ 685876 w 914552"/>
                  <a:gd name="csY0" fmla="*/ 747469 h 1600691"/>
                  <a:gd name="csX1" fmla="*/ 685876 w 914552"/>
                  <a:gd name="csY1" fmla="*/ 0 h 1600691"/>
                  <a:gd name="csX2" fmla="*/ 228676 w 914552"/>
                  <a:gd name="csY2" fmla="*/ 0 h 1600691"/>
                  <a:gd name="csX3" fmla="*/ 228676 w 914552"/>
                  <a:gd name="csY3" fmla="*/ 747469 h 1600691"/>
                  <a:gd name="csX4" fmla="*/ 61330 w 914552"/>
                  <a:gd name="csY4" fmla="*/ 1372015 h 1600691"/>
                  <a:gd name="csX5" fmla="*/ 685876 w 914552"/>
                  <a:gd name="csY5" fmla="*/ 1539362 h 1600691"/>
                  <a:gd name="csX6" fmla="*/ 853223 w 914552"/>
                  <a:gd name="csY6" fmla="*/ 914815 h 1600691"/>
                  <a:gd name="csX7" fmla="*/ 685876 w 914552"/>
                  <a:gd name="csY7" fmla="*/ 747469 h 1600691"/>
                  <a:gd name="csX8" fmla="*/ 457276 w 914552"/>
                  <a:gd name="csY8" fmla="*/ 1371600 h 1600691"/>
                  <a:gd name="csX9" fmla="*/ 228676 w 914552"/>
                  <a:gd name="csY9" fmla="*/ 1143000 h 1600691"/>
                  <a:gd name="csX10" fmla="*/ 457276 w 914552"/>
                  <a:gd name="csY10" fmla="*/ 914400 h 1600691"/>
                  <a:gd name="csX11" fmla="*/ 685876 w 914552"/>
                  <a:gd name="csY11" fmla="*/ 1143000 h 1600691"/>
                  <a:gd name="csX12" fmla="*/ 457276 w 914552"/>
                  <a:gd name="csY12" fmla="*/ 1371600 h 160069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914552" h="1600691">
                    <a:moveTo>
                      <a:pt x="685876" y="747469"/>
                    </a:moveTo>
                    <a:lnTo>
                      <a:pt x="685876" y="0"/>
                    </a:lnTo>
                    <a:lnTo>
                      <a:pt x="228676" y="0"/>
                    </a:lnTo>
                    <a:lnTo>
                      <a:pt x="228676" y="747469"/>
                    </a:lnTo>
                    <a:cubicBezTo>
                      <a:pt x="10001" y="873721"/>
                      <a:pt x="-64923" y="1153340"/>
                      <a:pt x="61330" y="1372015"/>
                    </a:cubicBezTo>
                    <a:cubicBezTo>
                      <a:pt x="187582" y="1590691"/>
                      <a:pt x="467201" y="1665615"/>
                      <a:pt x="685876" y="1539362"/>
                    </a:cubicBezTo>
                    <a:cubicBezTo>
                      <a:pt x="904552" y="1413110"/>
                      <a:pt x="979476" y="1133491"/>
                      <a:pt x="853223" y="914815"/>
                    </a:cubicBezTo>
                    <a:cubicBezTo>
                      <a:pt x="813095" y="845312"/>
                      <a:pt x="755379" y="787596"/>
                      <a:pt x="685876" y="747469"/>
                    </a:cubicBezTo>
                    <a:close/>
                    <a:moveTo>
                      <a:pt x="457276" y="1371600"/>
                    </a:moveTo>
                    <a:cubicBezTo>
                      <a:pt x="331024" y="1371600"/>
                      <a:pt x="228676" y="1269252"/>
                      <a:pt x="228676" y="1143000"/>
                    </a:cubicBezTo>
                    <a:cubicBezTo>
                      <a:pt x="228676" y="1016748"/>
                      <a:pt x="331024" y="914400"/>
                      <a:pt x="457276" y="914400"/>
                    </a:cubicBezTo>
                    <a:cubicBezTo>
                      <a:pt x="583529" y="914400"/>
                      <a:pt x="685876" y="1016748"/>
                      <a:pt x="685876" y="1143000"/>
                    </a:cubicBezTo>
                    <a:cubicBezTo>
                      <a:pt x="685738" y="1269195"/>
                      <a:pt x="583471" y="1371461"/>
                      <a:pt x="457276" y="1371600"/>
                    </a:cubicBezTo>
                    <a:close/>
                  </a:path>
                </a:pathLst>
              </a:custGeom>
              <a:grpFill/>
              <a:ln w="76200" cap="flat">
                <a:noFill/>
                <a:prstDash val="solid"/>
                <a:miter/>
              </a:ln>
            </p:spPr>
            <p:txBody>
              <a:bodyPr/>
              <a:lstStyle/>
              <a:p>
                <a:endParaRPr lang="en-US"/>
              </a:p>
            </p:txBody>
          </p:sp>
          <p:sp>
            <p:nvSpPr>
              <p:cNvPr id="51" name="Freeform: Shape 50">
                <a:extLst>
                  <a:ext uri="{FF2B5EF4-FFF2-40B4-BE49-F238E27FC236}">
                    <a16:creationId xmlns:a16="http://schemas.microsoft.com/office/drawing/2014/main" id="{613669CF-D0C3-7DB1-FAD8-AD54CC70399D}"/>
                  </a:ext>
                </a:extLst>
              </p:cNvPr>
              <p:cNvSpPr/>
              <p:nvPr/>
            </p:nvSpPr>
            <p:spPr>
              <a:xfrm>
                <a:off x="3657562" y="1676331"/>
                <a:ext cx="1295475" cy="762000"/>
              </a:xfrm>
              <a:custGeom>
                <a:avLst/>
                <a:gdLst>
                  <a:gd name="csX0" fmla="*/ 1295476 w 1295475"/>
                  <a:gd name="csY0" fmla="*/ 533400 h 762000"/>
                  <a:gd name="csX1" fmla="*/ 1066876 w 1295475"/>
                  <a:gd name="csY1" fmla="*/ 304800 h 762000"/>
                  <a:gd name="csX2" fmla="*/ 763769 w 1295475"/>
                  <a:gd name="csY2" fmla="*/ 1 h 762000"/>
                  <a:gd name="csX3" fmla="*/ 518548 w 1295475"/>
                  <a:gd name="csY3" fmla="*/ 123208 h 762000"/>
                  <a:gd name="csX4" fmla="*/ 199483 w 1295475"/>
                  <a:gd name="csY4" fmla="*/ 165251 h 762000"/>
                  <a:gd name="csX5" fmla="*/ 152476 w 1295475"/>
                  <a:gd name="csY5" fmla="*/ 304800 h 762000"/>
                  <a:gd name="csX6" fmla="*/ 153840 w 1295475"/>
                  <a:gd name="csY6" fmla="*/ 318371 h 762000"/>
                  <a:gd name="csX7" fmla="*/ 12490 w 1295475"/>
                  <a:gd name="csY7" fmla="*/ 608223 h 762000"/>
                  <a:gd name="csX8" fmla="*/ 228676 w 1295475"/>
                  <a:gd name="csY8" fmla="*/ 762000 h 762000"/>
                  <a:gd name="csX9" fmla="*/ 1066876 w 1295475"/>
                  <a:gd name="csY9" fmla="*/ 762000 h 762000"/>
                  <a:gd name="csX10" fmla="*/ 1295476 w 1295475"/>
                  <a:gd name="csY10" fmla="*/ 533400 h 762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295475" h="762000">
                    <a:moveTo>
                      <a:pt x="1295476" y="533400"/>
                    </a:moveTo>
                    <a:cubicBezTo>
                      <a:pt x="1295476" y="407148"/>
                      <a:pt x="1193128" y="304800"/>
                      <a:pt x="1066876" y="304800"/>
                    </a:cubicBezTo>
                    <a:cubicBezTo>
                      <a:pt x="1067343" y="136932"/>
                      <a:pt x="931637" y="468"/>
                      <a:pt x="763769" y="1"/>
                    </a:cubicBezTo>
                    <a:cubicBezTo>
                      <a:pt x="667085" y="-268"/>
                      <a:pt x="576041" y="45476"/>
                      <a:pt x="518548" y="123208"/>
                    </a:cubicBezTo>
                    <a:cubicBezTo>
                      <a:pt x="418831" y="46710"/>
                      <a:pt x="275980" y="65534"/>
                      <a:pt x="199483" y="165251"/>
                    </a:cubicBezTo>
                    <a:cubicBezTo>
                      <a:pt x="168781" y="205272"/>
                      <a:pt x="152246" y="254360"/>
                      <a:pt x="152476" y="304800"/>
                    </a:cubicBezTo>
                    <a:cubicBezTo>
                      <a:pt x="152476" y="309448"/>
                      <a:pt x="153565" y="313792"/>
                      <a:pt x="153840" y="318371"/>
                    </a:cubicBezTo>
                    <a:cubicBezTo>
                      <a:pt x="34767" y="359379"/>
                      <a:pt x="-28518" y="489150"/>
                      <a:pt x="12490" y="608223"/>
                    </a:cubicBezTo>
                    <a:cubicBezTo>
                      <a:pt x="44249" y="700442"/>
                      <a:pt x="131142" y="762251"/>
                      <a:pt x="228676" y="762000"/>
                    </a:cubicBezTo>
                    <a:lnTo>
                      <a:pt x="1066876" y="762000"/>
                    </a:lnTo>
                    <a:cubicBezTo>
                      <a:pt x="1193128" y="762000"/>
                      <a:pt x="1295476" y="659653"/>
                      <a:pt x="1295476" y="533400"/>
                    </a:cubicBezTo>
                    <a:close/>
                  </a:path>
                </a:pathLst>
              </a:custGeom>
              <a:grpFill/>
              <a:ln w="76200" cap="flat">
                <a:noFill/>
                <a:prstDash val="solid"/>
                <a:miter/>
              </a:ln>
            </p:spPr>
            <p:txBody>
              <a:bodyPr/>
              <a:lstStyle/>
              <a:p>
                <a:endParaRPr lang="en-US"/>
              </a:p>
            </p:txBody>
          </p:sp>
          <p:sp>
            <p:nvSpPr>
              <p:cNvPr id="52" name="Oval 51">
                <a:extLst>
                  <a:ext uri="{FF2B5EF4-FFF2-40B4-BE49-F238E27FC236}">
                    <a16:creationId xmlns:a16="http://schemas.microsoft.com/office/drawing/2014/main" id="{B3CB0ECE-B9EB-4E73-1C0A-5B3B04F83A06}"/>
                  </a:ext>
                </a:extLst>
              </p:cNvPr>
              <p:cNvSpPr/>
              <p:nvPr/>
            </p:nvSpPr>
            <p:spPr>
              <a:xfrm>
                <a:off x="7695666" y="1371904"/>
                <a:ext cx="457200" cy="457200"/>
              </a:xfrm>
              <a:prstGeom prst="ellipse">
                <a:avLst/>
              </a:prstGeom>
              <a:grpFill/>
              <a:ln w="76200" cap="flat">
                <a:noFill/>
                <a:prstDash val="solid"/>
                <a:miter/>
              </a:ln>
            </p:spPr>
            <p:txBody>
              <a:bodyPr/>
              <a:lstStyle/>
              <a:p>
                <a:endParaRPr lang="en-US"/>
              </a:p>
            </p:txBody>
          </p:sp>
          <p:sp>
            <p:nvSpPr>
              <p:cNvPr id="53" name="Freeform: Shape 52">
                <a:extLst>
                  <a:ext uri="{FF2B5EF4-FFF2-40B4-BE49-F238E27FC236}">
                    <a16:creationId xmlns:a16="http://schemas.microsoft.com/office/drawing/2014/main" id="{6F95B21B-787F-340F-9C6A-265C5AD31128}"/>
                  </a:ext>
                </a:extLst>
              </p:cNvPr>
              <p:cNvSpPr/>
              <p:nvPr/>
            </p:nvSpPr>
            <p:spPr>
              <a:xfrm>
                <a:off x="7315131" y="990477"/>
                <a:ext cx="1219292" cy="1219322"/>
              </a:xfrm>
              <a:custGeom>
                <a:avLst/>
                <a:gdLst>
                  <a:gd name="csX0" fmla="*/ 1194587 w 1219292"/>
                  <a:gd name="csY0" fmla="*/ 750243 h 1219322"/>
                  <a:gd name="csX1" fmla="*/ 1193132 w 1219292"/>
                  <a:gd name="csY1" fmla="*/ 468562 h 1219322"/>
                  <a:gd name="csX2" fmla="*/ 1178144 w 1219292"/>
                  <a:gd name="csY2" fmla="*/ 315441 h 1219322"/>
                  <a:gd name="csX3" fmla="*/ 1123028 w 1219292"/>
                  <a:gd name="csY3" fmla="*/ 291603 h 1219322"/>
                  <a:gd name="csX4" fmla="*/ 927659 w 1219292"/>
                  <a:gd name="csY4" fmla="*/ 95373 h 1219322"/>
                  <a:gd name="csX5" fmla="*/ 806601 w 1219292"/>
                  <a:gd name="csY5" fmla="*/ 823 h 1219322"/>
                  <a:gd name="csX6" fmla="*/ 750875 w 1219292"/>
                  <a:gd name="csY6" fmla="*/ 24728 h 1219322"/>
                  <a:gd name="csX7" fmla="*/ 469125 w 1219292"/>
                  <a:gd name="csY7" fmla="*/ 24789 h 1219322"/>
                  <a:gd name="csX8" fmla="*/ 316176 w 1219292"/>
                  <a:gd name="csY8" fmla="*/ 39873 h 1219322"/>
                  <a:gd name="csX9" fmla="*/ 292341 w 1219292"/>
                  <a:gd name="csY9" fmla="*/ 95441 h 1219322"/>
                  <a:gd name="csX10" fmla="*/ 95471 w 1219292"/>
                  <a:gd name="csY10" fmla="*/ 292251 h 1219322"/>
                  <a:gd name="csX11" fmla="*/ 1072 w 1219292"/>
                  <a:gd name="csY11" fmla="*/ 413562 h 1219322"/>
                  <a:gd name="csX12" fmla="*/ 24887 w 1219292"/>
                  <a:gd name="csY12" fmla="*/ 469035 h 1219322"/>
                  <a:gd name="csX13" fmla="*/ 24620 w 1219292"/>
                  <a:gd name="csY13" fmla="*/ 750784 h 1219322"/>
                  <a:gd name="csX14" fmla="*/ 39828 w 1219292"/>
                  <a:gd name="csY14" fmla="*/ 903787 h 1219322"/>
                  <a:gd name="csX15" fmla="*/ 95273 w 1219292"/>
                  <a:gd name="csY15" fmla="*/ 927568 h 1219322"/>
                  <a:gd name="csX16" fmla="*/ 291869 w 1219292"/>
                  <a:gd name="csY16" fmla="*/ 1123974 h 1219322"/>
                  <a:gd name="csX17" fmla="*/ 359733 w 1219292"/>
                  <a:gd name="csY17" fmla="*/ 1211703 h 1219322"/>
                  <a:gd name="csX18" fmla="*/ 399623 w 1219292"/>
                  <a:gd name="csY18" fmla="*/ 1219323 h 1219322"/>
                  <a:gd name="csX19" fmla="*/ 468691 w 1219292"/>
                  <a:gd name="csY19" fmla="*/ 1194642 h 1219322"/>
                  <a:gd name="csX20" fmla="*/ 750433 w 1219292"/>
                  <a:gd name="csY20" fmla="*/ 1194581 h 1219322"/>
                  <a:gd name="csX21" fmla="*/ 903374 w 1219292"/>
                  <a:gd name="csY21" fmla="*/ 1179516 h 1219322"/>
                  <a:gd name="csX22" fmla="*/ 927217 w 1219292"/>
                  <a:gd name="csY22" fmla="*/ 1123928 h 1219322"/>
                  <a:gd name="csX23" fmla="*/ 1124019 w 1219292"/>
                  <a:gd name="csY23" fmla="*/ 927073 h 1219322"/>
                  <a:gd name="csX24" fmla="*/ 1218449 w 1219292"/>
                  <a:gd name="csY24" fmla="*/ 805785 h 1219322"/>
                  <a:gd name="csX25" fmla="*/ 1194595 w 1219292"/>
                  <a:gd name="csY25" fmla="*/ 750243 h 1219322"/>
                  <a:gd name="csX26" fmla="*/ 609143 w 1219292"/>
                  <a:gd name="csY26" fmla="*/ 991035 h 1219322"/>
                  <a:gd name="csX27" fmla="*/ 228142 w 1219292"/>
                  <a:gd name="csY27" fmla="*/ 610035 h 1219322"/>
                  <a:gd name="csX28" fmla="*/ 609143 w 1219292"/>
                  <a:gd name="csY28" fmla="*/ 229035 h 1219322"/>
                  <a:gd name="csX29" fmla="*/ 990143 w 1219292"/>
                  <a:gd name="csY29" fmla="*/ 610035 h 1219322"/>
                  <a:gd name="csX30" fmla="*/ 609143 w 1219292"/>
                  <a:gd name="csY30" fmla="*/ 991035 h 121932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Lst>
                <a:rect l="l" t="t" r="r" b="b"/>
                <a:pathLst>
                  <a:path w="1219292" h="1219322">
                    <a:moveTo>
                      <a:pt x="1194587" y="750243"/>
                    </a:moveTo>
                    <a:cubicBezTo>
                      <a:pt x="1128608" y="668130"/>
                      <a:pt x="1128004" y="551353"/>
                      <a:pt x="1193132" y="468562"/>
                    </a:cubicBezTo>
                    <a:cubicBezTo>
                      <a:pt x="1231276" y="422140"/>
                      <a:pt x="1224566" y="353585"/>
                      <a:pt x="1178144" y="315441"/>
                    </a:cubicBezTo>
                    <a:cubicBezTo>
                      <a:pt x="1162372" y="302481"/>
                      <a:pt x="1143272" y="294221"/>
                      <a:pt x="1123028" y="291603"/>
                    </a:cubicBezTo>
                    <a:cubicBezTo>
                      <a:pt x="1021662" y="276623"/>
                      <a:pt x="942193" y="196804"/>
                      <a:pt x="927659" y="95373"/>
                    </a:cubicBezTo>
                    <a:cubicBezTo>
                      <a:pt x="920339" y="35834"/>
                      <a:pt x="866139" y="-6497"/>
                      <a:pt x="806601" y="823"/>
                    </a:cubicBezTo>
                    <a:cubicBezTo>
                      <a:pt x="786133" y="3339"/>
                      <a:pt x="766804" y="11631"/>
                      <a:pt x="750875" y="24728"/>
                    </a:cubicBezTo>
                    <a:cubicBezTo>
                      <a:pt x="668366" y="90168"/>
                      <a:pt x="551663" y="90194"/>
                      <a:pt x="469125" y="24789"/>
                    </a:cubicBezTo>
                    <a:cubicBezTo>
                      <a:pt x="422724" y="-13282"/>
                      <a:pt x="354246" y="-6528"/>
                      <a:pt x="316176" y="39873"/>
                    </a:cubicBezTo>
                    <a:cubicBezTo>
                      <a:pt x="303134" y="55768"/>
                      <a:pt x="294870" y="75037"/>
                      <a:pt x="292341" y="95441"/>
                    </a:cubicBezTo>
                    <a:cubicBezTo>
                      <a:pt x="277748" y="197506"/>
                      <a:pt x="197540" y="277689"/>
                      <a:pt x="95471" y="292251"/>
                    </a:cubicBezTo>
                    <a:cubicBezTo>
                      <a:pt x="35904" y="299682"/>
                      <a:pt x="-6360" y="353995"/>
                      <a:pt x="1072" y="413562"/>
                    </a:cubicBezTo>
                    <a:cubicBezTo>
                      <a:pt x="3613" y="433931"/>
                      <a:pt x="11870" y="453164"/>
                      <a:pt x="24887" y="469035"/>
                    </a:cubicBezTo>
                    <a:cubicBezTo>
                      <a:pt x="90268" y="551607"/>
                      <a:pt x="90158" y="668336"/>
                      <a:pt x="24620" y="750784"/>
                    </a:cubicBezTo>
                    <a:cubicBezTo>
                      <a:pt x="-13431" y="797234"/>
                      <a:pt x="-6622" y="865736"/>
                      <a:pt x="39828" y="903787"/>
                    </a:cubicBezTo>
                    <a:cubicBezTo>
                      <a:pt x="55696" y="916785"/>
                      <a:pt x="74918" y="925030"/>
                      <a:pt x="95273" y="927568"/>
                    </a:cubicBezTo>
                    <a:cubicBezTo>
                      <a:pt x="197207" y="941998"/>
                      <a:pt x="277340" y="1022053"/>
                      <a:pt x="291869" y="1123974"/>
                    </a:cubicBezTo>
                    <a:cubicBezTo>
                      <a:pt x="296891" y="1163366"/>
                      <a:pt x="322866" y="1196944"/>
                      <a:pt x="359733" y="1211703"/>
                    </a:cubicBezTo>
                    <a:cubicBezTo>
                      <a:pt x="372429" y="1216741"/>
                      <a:pt x="385965" y="1219326"/>
                      <a:pt x="399623" y="1219323"/>
                    </a:cubicBezTo>
                    <a:cubicBezTo>
                      <a:pt x="424801" y="1219292"/>
                      <a:pt x="449196" y="1210574"/>
                      <a:pt x="468691" y="1194642"/>
                    </a:cubicBezTo>
                    <a:cubicBezTo>
                      <a:pt x="551196" y="1129199"/>
                      <a:pt x="667899" y="1129174"/>
                      <a:pt x="750433" y="1194581"/>
                    </a:cubicBezTo>
                    <a:cubicBezTo>
                      <a:pt x="796826" y="1232654"/>
                      <a:pt x="865300" y="1225910"/>
                      <a:pt x="903374" y="1179516"/>
                    </a:cubicBezTo>
                    <a:cubicBezTo>
                      <a:pt x="916422" y="1163617"/>
                      <a:pt x="924690" y="1144341"/>
                      <a:pt x="927217" y="1123928"/>
                    </a:cubicBezTo>
                    <a:cubicBezTo>
                      <a:pt x="941789" y="1021870"/>
                      <a:pt x="1021964" y="941673"/>
                      <a:pt x="1124019" y="927073"/>
                    </a:cubicBezTo>
                    <a:cubicBezTo>
                      <a:pt x="1183587" y="919656"/>
                      <a:pt x="1225865" y="865354"/>
                      <a:pt x="1218449" y="805785"/>
                    </a:cubicBezTo>
                    <a:cubicBezTo>
                      <a:pt x="1215909" y="785388"/>
                      <a:pt x="1207638" y="766129"/>
                      <a:pt x="1194595" y="750243"/>
                    </a:cubicBezTo>
                    <a:close/>
                    <a:moveTo>
                      <a:pt x="609143" y="991035"/>
                    </a:moveTo>
                    <a:cubicBezTo>
                      <a:pt x="398722" y="991035"/>
                      <a:pt x="228142" y="820456"/>
                      <a:pt x="228142" y="610035"/>
                    </a:cubicBezTo>
                    <a:cubicBezTo>
                      <a:pt x="228142" y="399615"/>
                      <a:pt x="398722" y="229035"/>
                      <a:pt x="609143" y="229035"/>
                    </a:cubicBezTo>
                    <a:cubicBezTo>
                      <a:pt x="819563" y="229035"/>
                      <a:pt x="990143" y="399615"/>
                      <a:pt x="990143" y="610035"/>
                    </a:cubicBezTo>
                    <a:cubicBezTo>
                      <a:pt x="989895" y="820353"/>
                      <a:pt x="819460" y="990787"/>
                      <a:pt x="609143" y="991035"/>
                    </a:cubicBezTo>
                    <a:close/>
                  </a:path>
                </a:pathLst>
              </a:custGeom>
              <a:grpFill/>
              <a:ln w="76200" cap="flat">
                <a:noFill/>
                <a:prstDash val="solid"/>
                <a:miter/>
              </a:ln>
            </p:spPr>
            <p:txBody>
              <a:bodyPr/>
              <a:lstStyle/>
              <a:p>
                <a:endParaRPr lang="en-US"/>
              </a:p>
            </p:txBody>
          </p:sp>
          <p:sp>
            <p:nvSpPr>
              <p:cNvPr id="54" name="Freeform: Shape 53">
                <a:extLst>
                  <a:ext uri="{FF2B5EF4-FFF2-40B4-BE49-F238E27FC236}">
                    <a16:creationId xmlns:a16="http://schemas.microsoft.com/office/drawing/2014/main" id="{92653EBC-47F6-CDB1-8C1D-C54A5DCB0AA7}"/>
                  </a:ext>
                </a:extLst>
              </p:cNvPr>
              <p:cNvSpPr/>
              <p:nvPr/>
            </p:nvSpPr>
            <p:spPr>
              <a:xfrm>
                <a:off x="4128653" y="1945629"/>
                <a:ext cx="1542859" cy="1418371"/>
              </a:xfrm>
              <a:custGeom>
                <a:avLst/>
                <a:gdLst>
                  <a:gd name="csX0" fmla="*/ 595785 w 1542859"/>
                  <a:gd name="csY0" fmla="*/ 645102 h 1418371"/>
                  <a:gd name="csX1" fmla="*/ 238407 w 1542859"/>
                  <a:gd name="csY1" fmla="*/ 645102 h 1418371"/>
                  <a:gd name="csX2" fmla="*/ 0 w 1542859"/>
                  <a:gd name="csY2" fmla="*/ 1133544 h 1418371"/>
                  <a:gd name="csX3" fmla="*/ 450967 w 1542859"/>
                  <a:gd name="csY3" fmla="*/ 1178875 h 1418371"/>
                  <a:gd name="csX4" fmla="*/ 515630 w 1542859"/>
                  <a:gd name="csY4" fmla="*/ 1230592 h 1418371"/>
                  <a:gd name="csX5" fmla="*/ 567797 w 1542859"/>
                  <a:gd name="csY5" fmla="*/ 1386863 h 1418371"/>
                  <a:gd name="csX6" fmla="*/ 693778 w 1542859"/>
                  <a:gd name="csY6" fmla="*/ 1418372 h 1418371"/>
                  <a:gd name="csX7" fmla="*/ 693778 w 1542859"/>
                  <a:gd name="csY7" fmla="*/ 1254702 h 1418371"/>
                  <a:gd name="csX8" fmla="*/ 719823 w 1542859"/>
                  <a:gd name="csY8" fmla="*/ 1197361 h 1418371"/>
                  <a:gd name="csX9" fmla="*/ 1222873 w 1542859"/>
                  <a:gd name="csY9" fmla="*/ 757093 h 1418371"/>
                  <a:gd name="csX10" fmla="*/ 1283071 w 1542859"/>
                  <a:gd name="csY10" fmla="*/ 460515 h 1418371"/>
                  <a:gd name="csX11" fmla="*/ 1356444 w 1542859"/>
                  <a:gd name="csY11" fmla="*/ 399463 h 1418371"/>
                  <a:gd name="csX12" fmla="*/ 1494709 w 1542859"/>
                  <a:gd name="csY12" fmla="*/ 396964 h 1418371"/>
                  <a:gd name="csX13" fmla="*/ 1542852 w 1542859"/>
                  <a:gd name="csY13" fmla="*/ 347023 h 1418371"/>
                  <a:gd name="csX14" fmla="*/ 1517996 w 1542859"/>
                  <a:gd name="csY14" fmla="*/ 305250 h 1418371"/>
                  <a:gd name="csX15" fmla="*/ 980145 w 1542859"/>
                  <a:gd name="csY15" fmla="*/ 0 h 1418371"/>
                  <a:gd name="csX16" fmla="*/ 903267 w 1542859"/>
                  <a:gd name="csY16" fmla="*/ 40096 h 1418371"/>
                  <a:gd name="csX17" fmla="*/ 821382 w 1542859"/>
                  <a:gd name="csY17" fmla="*/ 571563 h 1418371"/>
                  <a:gd name="csX18" fmla="*/ 595785 w 1542859"/>
                  <a:gd name="csY18" fmla="*/ 645124 h 14183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1542859" h="1418371">
                    <a:moveTo>
                      <a:pt x="595785" y="645102"/>
                    </a:moveTo>
                    <a:lnTo>
                      <a:pt x="238407" y="645102"/>
                    </a:lnTo>
                    <a:cubicBezTo>
                      <a:pt x="135922" y="795638"/>
                      <a:pt x="55630" y="960137"/>
                      <a:pt x="0" y="1133544"/>
                    </a:cubicBezTo>
                    <a:lnTo>
                      <a:pt x="450967" y="1178875"/>
                    </a:lnTo>
                    <a:cubicBezTo>
                      <a:pt x="480836" y="1181850"/>
                      <a:pt x="506164" y="1202107"/>
                      <a:pt x="515630" y="1230592"/>
                    </a:cubicBezTo>
                    <a:lnTo>
                      <a:pt x="567797" y="1386863"/>
                    </a:lnTo>
                    <a:lnTo>
                      <a:pt x="693778" y="1418372"/>
                    </a:lnTo>
                    <a:lnTo>
                      <a:pt x="693778" y="1254702"/>
                    </a:lnTo>
                    <a:cubicBezTo>
                      <a:pt x="693758" y="1232721"/>
                      <a:pt x="703257" y="1211808"/>
                      <a:pt x="719823" y="1197361"/>
                    </a:cubicBezTo>
                    <a:lnTo>
                      <a:pt x="1222873" y="757093"/>
                    </a:lnTo>
                    <a:lnTo>
                      <a:pt x="1283071" y="460515"/>
                    </a:lnTo>
                    <a:cubicBezTo>
                      <a:pt x="1290226" y="425500"/>
                      <a:pt x="1320712" y="400134"/>
                      <a:pt x="1356444" y="399463"/>
                    </a:cubicBezTo>
                    <a:lnTo>
                      <a:pt x="1494709" y="396964"/>
                    </a:lnTo>
                    <a:cubicBezTo>
                      <a:pt x="1521794" y="396467"/>
                      <a:pt x="1543348" y="374108"/>
                      <a:pt x="1542852" y="347023"/>
                    </a:cubicBezTo>
                    <a:cubicBezTo>
                      <a:pt x="1542534" y="329684"/>
                      <a:pt x="1533083" y="313801"/>
                      <a:pt x="1517996" y="305250"/>
                    </a:cubicBezTo>
                    <a:lnTo>
                      <a:pt x="980145" y="0"/>
                    </a:lnTo>
                    <a:cubicBezTo>
                      <a:pt x="954146" y="12733"/>
                      <a:pt x="928588" y="26228"/>
                      <a:pt x="903267" y="40096"/>
                    </a:cubicBezTo>
                    <a:cubicBezTo>
                      <a:pt x="1027416" y="209469"/>
                      <a:pt x="990755" y="447414"/>
                      <a:pt x="821382" y="571563"/>
                    </a:cubicBezTo>
                    <a:cubicBezTo>
                      <a:pt x="755955" y="619520"/>
                      <a:pt x="676906" y="645296"/>
                      <a:pt x="595785" y="645124"/>
                    </a:cubicBezTo>
                    <a:close/>
                  </a:path>
                </a:pathLst>
              </a:custGeom>
              <a:grpFill/>
              <a:ln w="76200" cap="flat">
                <a:noFill/>
                <a:prstDash val="solid"/>
                <a:miter/>
              </a:ln>
            </p:spPr>
            <p:txBody>
              <a:bodyPr/>
              <a:lstStyle/>
              <a:p>
                <a:endParaRPr lang="en-US"/>
              </a:p>
            </p:txBody>
          </p:sp>
          <p:sp>
            <p:nvSpPr>
              <p:cNvPr id="55" name="Freeform: Shape 54">
                <a:extLst>
                  <a:ext uri="{FF2B5EF4-FFF2-40B4-BE49-F238E27FC236}">
                    <a16:creationId xmlns:a16="http://schemas.microsoft.com/office/drawing/2014/main" id="{52C83A1B-EF2F-4E39-8EEE-C800BCA1C4A4}"/>
                  </a:ext>
                </a:extLst>
              </p:cNvPr>
              <p:cNvSpPr/>
              <p:nvPr/>
            </p:nvSpPr>
            <p:spPr>
              <a:xfrm>
                <a:off x="6096830" y="2690128"/>
                <a:ext cx="1527780" cy="2217989"/>
              </a:xfrm>
              <a:custGeom>
                <a:avLst/>
                <a:gdLst>
                  <a:gd name="csX0" fmla="*/ 1523208 w 1527780"/>
                  <a:gd name="csY0" fmla="*/ 281603 h 2217989"/>
                  <a:gd name="csX1" fmla="*/ 1527780 w 1527780"/>
                  <a:gd name="csY1" fmla="*/ 236561 h 2217989"/>
                  <a:gd name="csX2" fmla="*/ 1183082 w 1527780"/>
                  <a:gd name="csY2" fmla="*/ 384290 h 2217989"/>
                  <a:gd name="csX3" fmla="*/ 1126305 w 1527780"/>
                  <a:gd name="csY3" fmla="*/ 385631 h 2217989"/>
                  <a:gd name="csX4" fmla="*/ 603847 w 1527780"/>
                  <a:gd name="csY4" fmla="*/ 189660 h 2217989"/>
                  <a:gd name="csX5" fmla="*/ 576758 w 1527780"/>
                  <a:gd name="csY5" fmla="*/ 172134 h 2217989"/>
                  <a:gd name="csX6" fmla="*/ 453749 w 1527780"/>
                  <a:gd name="csY6" fmla="*/ 49170 h 2217989"/>
                  <a:gd name="csX7" fmla="*/ 215852 w 1527780"/>
                  <a:gd name="csY7" fmla="*/ 38227 h 2217989"/>
                  <a:gd name="csX8" fmla="*/ 24232 w 1527780"/>
                  <a:gd name="csY8" fmla="*/ 191519 h 2217989"/>
                  <a:gd name="csX9" fmla="*/ 869 w 1527780"/>
                  <a:gd name="csY9" fmla="*/ 252433 h 2217989"/>
                  <a:gd name="csX10" fmla="*/ 47153 w 1527780"/>
                  <a:gd name="csY10" fmla="*/ 530365 h 2217989"/>
                  <a:gd name="csX11" fmla="*/ 359817 w 1527780"/>
                  <a:gd name="csY11" fmla="*/ 738871 h 2217989"/>
                  <a:gd name="csX12" fmla="*/ 411161 w 1527780"/>
                  <a:gd name="csY12" fmla="*/ 747764 h 2217989"/>
                  <a:gd name="csX13" fmla="*/ 513703 w 1527780"/>
                  <a:gd name="csY13" fmla="*/ 722161 h 2217989"/>
                  <a:gd name="csX14" fmla="*/ 749298 w 1527780"/>
                  <a:gd name="csY14" fmla="*/ 816260 h 2217989"/>
                  <a:gd name="csX15" fmla="*/ 1021431 w 1527780"/>
                  <a:gd name="csY15" fmla="*/ 1244626 h 2217989"/>
                  <a:gd name="csX16" fmla="*/ 1033341 w 1527780"/>
                  <a:gd name="csY16" fmla="*/ 1285477 h 2217989"/>
                  <a:gd name="csX17" fmla="*/ 1033341 w 1527780"/>
                  <a:gd name="csY17" fmla="*/ 1845295 h 2217989"/>
                  <a:gd name="csX18" fmla="*/ 1080890 w 1527780"/>
                  <a:gd name="csY18" fmla="*/ 1976634 h 2217989"/>
                  <a:gd name="csX19" fmla="*/ 1282058 w 1527780"/>
                  <a:gd name="csY19" fmla="*/ 2217989 h 2217989"/>
                  <a:gd name="csX20" fmla="*/ 1523231 w 1527780"/>
                  <a:gd name="csY20" fmla="*/ 1866989 h 221798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Lst>
                <a:rect l="l" t="t" r="r" b="b"/>
                <a:pathLst>
                  <a:path w="1527780" h="2217989">
                    <a:moveTo>
                      <a:pt x="1523208" y="281603"/>
                    </a:moveTo>
                    <a:cubicBezTo>
                      <a:pt x="1523821" y="266510"/>
                      <a:pt x="1525348" y="251469"/>
                      <a:pt x="1527780" y="236561"/>
                    </a:cubicBezTo>
                    <a:lnTo>
                      <a:pt x="1183082" y="384290"/>
                    </a:lnTo>
                    <a:cubicBezTo>
                      <a:pt x="1165031" y="392015"/>
                      <a:pt x="1144700" y="392495"/>
                      <a:pt x="1126305" y="385631"/>
                    </a:cubicBezTo>
                    <a:lnTo>
                      <a:pt x="603847" y="189660"/>
                    </a:lnTo>
                    <a:cubicBezTo>
                      <a:pt x="593673" y="185813"/>
                      <a:pt x="584437" y="179837"/>
                      <a:pt x="576758" y="172134"/>
                    </a:cubicBezTo>
                    <a:lnTo>
                      <a:pt x="453749" y="49170"/>
                    </a:lnTo>
                    <a:cubicBezTo>
                      <a:pt x="387725" y="-11994"/>
                      <a:pt x="287212" y="-16617"/>
                      <a:pt x="215852" y="38227"/>
                    </a:cubicBezTo>
                    <a:lnTo>
                      <a:pt x="24232" y="191519"/>
                    </a:lnTo>
                    <a:cubicBezTo>
                      <a:pt x="5988" y="206094"/>
                      <a:pt x="-2949" y="229396"/>
                      <a:pt x="869" y="252433"/>
                    </a:cubicBezTo>
                    <a:lnTo>
                      <a:pt x="47153" y="530365"/>
                    </a:lnTo>
                    <a:lnTo>
                      <a:pt x="359817" y="738871"/>
                    </a:lnTo>
                    <a:cubicBezTo>
                      <a:pt x="374892" y="748993"/>
                      <a:pt x="393560" y="752226"/>
                      <a:pt x="411161" y="747764"/>
                    </a:cubicBezTo>
                    <a:lnTo>
                      <a:pt x="513703" y="722161"/>
                    </a:lnTo>
                    <a:cubicBezTo>
                      <a:pt x="604310" y="699434"/>
                      <a:pt x="699279" y="737366"/>
                      <a:pt x="749298" y="816260"/>
                    </a:cubicBezTo>
                    <a:lnTo>
                      <a:pt x="1021431" y="1244626"/>
                    </a:lnTo>
                    <a:cubicBezTo>
                      <a:pt x="1029227" y="1256823"/>
                      <a:pt x="1033361" y="1271001"/>
                      <a:pt x="1033341" y="1285477"/>
                    </a:cubicBezTo>
                    <a:lnTo>
                      <a:pt x="1033341" y="1845295"/>
                    </a:lnTo>
                    <a:cubicBezTo>
                      <a:pt x="1033380" y="1893282"/>
                      <a:pt x="1050200" y="1939744"/>
                      <a:pt x="1080890" y="1976634"/>
                    </a:cubicBezTo>
                    <a:lnTo>
                      <a:pt x="1282058" y="2217989"/>
                    </a:lnTo>
                    <a:cubicBezTo>
                      <a:pt x="1375233" y="2110308"/>
                      <a:pt x="1456123" y="1992582"/>
                      <a:pt x="1523231" y="1866989"/>
                    </a:cubicBezTo>
                    <a:close/>
                  </a:path>
                </a:pathLst>
              </a:custGeom>
              <a:grpFill/>
              <a:ln w="76200" cap="flat">
                <a:noFill/>
                <a:prstDash val="solid"/>
                <a:miter/>
              </a:ln>
            </p:spPr>
            <p:txBody>
              <a:bodyPr/>
              <a:lstStyle/>
              <a:p>
                <a:endParaRPr lang="en-US"/>
              </a:p>
            </p:txBody>
          </p:sp>
        </p:grpSp>
      </p:grpSp>
      <p:grpSp>
        <p:nvGrpSpPr>
          <p:cNvPr id="96" name="Group 95">
            <a:extLst>
              <a:ext uri="{FF2B5EF4-FFF2-40B4-BE49-F238E27FC236}">
                <a16:creationId xmlns:a16="http://schemas.microsoft.com/office/drawing/2014/main" id="{F80A5084-54F4-0B8C-087B-810BFF70F7A9}"/>
              </a:ext>
            </a:extLst>
          </p:cNvPr>
          <p:cNvGrpSpPr/>
          <p:nvPr/>
        </p:nvGrpSpPr>
        <p:grpSpPr>
          <a:xfrm>
            <a:off x="372424" y="4314432"/>
            <a:ext cx="354334" cy="354334"/>
            <a:chOff x="372424" y="4314432"/>
            <a:chExt cx="354334" cy="354334"/>
          </a:xfrm>
        </p:grpSpPr>
        <p:sp>
          <p:nvSpPr>
            <p:cNvPr id="150" name="Oval 149">
              <a:extLst>
                <a:ext uri="{FF2B5EF4-FFF2-40B4-BE49-F238E27FC236}">
                  <a16:creationId xmlns:a16="http://schemas.microsoft.com/office/drawing/2014/main" id="{C6623256-3875-4F87-10B3-0A91D12D1B4A}"/>
                </a:ext>
              </a:extLst>
            </p:cNvPr>
            <p:cNvSpPr/>
            <p:nvPr/>
          </p:nvSpPr>
          <p:spPr>
            <a:xfrm>
              <a:off x="372424" y="4314432"/>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0" name="Graphic 58">
              <a:extLst>
                <a:ext uri="{FF2B5EF4-FFF2-40B4-BE49-F238E27FC236}">
                  <a16:creationId xmlns:a16="http://schemas.microsoft.com/office/drawing/2014/main" id="{350202B0-17EB-F41C-4532-180D264DFA98}"/>
                </a:ext>
              </a:extLst>
            </p:cNvPr>
            <p:cNvGrpSpPr/>
            <p:nvPr/>
          </p:nvGrpSpPr>
          <p:grpSpPr>
            <a:xfrm>
              <a:off x="427493" y="4365879"/>
              <a:ext cx="244197" cy="251440"/>
              <a:chOff x="5829578" y="3154775"/>
              <a:chExt cx="532651" cy="548449"/>
            </a:xfrm>
            <a:solidFill>
              <a:srgbClr val="2B660F"/>
            </a:solidFill>
          </p:grpSpPr>
          <p:sp>
            <p:nvSpPr>
              <p:cNvPr id="61" name="Freeform: Shape 60">
                <a:extLst>
                  <a:ext uri="{FF2B5EF4-FFF2-40B4-BE49-F238E27FC236}">
                    <a16:creationId xmlns:a16="http://schemas.microsoft.com/office/drawing/2014/main" id="{E5132F9E-EF3C-149E-60BE-EAF2BC1EC8DA}"/>
                  </a:ext>
                </a:extLst>
              </p:cNvPr>
              <p:cNvSpPr/>
              <p:nvPr/>
            </p:nvSpPr>
            <p:spPr>
              <a:xfrm>
                <a:off x="6292381" y="3276576"/>
                <a:ext cx="38338" cy="38219"/>
              </a:xfrm>
              <a:custGeom>
                <a:avLst/>
                <a:gdLst>
                  <a:gd name="csX0" fmla="*/ 22027 w 38338"/>
                  <a:gd name="csY0" fmla="*/ 2786 h 38219"/>
                  <a:gd name="csX1" fmla="*/ 2786 w 38338"/>
                  <a:gd name="csY1" fmla="*/ 22027 h 38219"/>
                  <a:gd name="csX2" fmla="*/ 2786 w 38338"/>
                  <a:gd name="csY2" fmla="*/ 35457 h 38219"/>
                  <a:gd name="csX3" fmla="*/ 9549 w 38338"/>
                  <a:gd name="csY3" fmla="*/ 38219 h 38219"/>
                  <a:gd name="csX4" fmla="*/ 16312 w 38338"/>
                  <a:gd name="csY4" fmla="*/ 35457 h 38219"/>
                  <a:gd name="csX5" fmla="*/ 35552 w 38338"/>
                  <a:gd name="csY5" fmla="*/ 16216 h 38219"/>
                  <a:gd name="csX6" fmla="*/ 35552 w 38338"/>
                  <a:gd name="csY6" fmla="*/ 2786 h 38219"/>
                  <a:gd name="csX7" fmla="*/ 22027 w 38338"/>
                  <a:gd name="csY7" fmla="*/ 2786 h 382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8338" h="38219">
                    <a:moveTo>
                      <a:pt x="22027" y="2786"/>
                    </a:moveTo>
                    <a:lnTo>
                      <a:pt x="2786" y="22027"/>
                    </a:lnTo>
                    <a:cubicBezTo>
                      <a:pt x="-929" y="25741"/>
                      <a:pt x="-929" y="31742"/>
                      <a:pt x="2786" y="35457"/>
                    </a:cubicBezTo>
                    <a:cubicBezTo>
                      <a:pt x="4691" y="37362"/>
                      <a:pt x="7072" y="38219"/>
                      <a:pt x="9549" y="38219"/>
                    </a:cubicBezTo>
                    <a:cubicBezTo>
                      <a:pt x="12025" y="38219"/>
                      <a:pt x="14407" y="37267"/>
                      <a:pt x="16312" y="35457"/>
                    </a:cubicBezTo>
                    <a:lnTo>
                      <a:pt x="35552" y="16216"/>
                    </a:lnTo>
                    <a:cubicBezTo>
                      <a:pt x="39267" y="12502"/>
                      <a:pt x="39267" y="6501"/>
                      <a:pt x="35552" y="2786"/>
                    </a:cubicBezTo>
                    <a:cubicBezTo>
                      <a:pt x="31837" y="-929"/>
                      <a:pt x="25741" y="-929"/>
                      <a:pt x="22027" y="2786"/>
                    </a:cubicBezTo>
                    <a:close/>
                  </a:path>
                </a:pathLst>
              </a:custGeom>
              <a:grpFill/>
              <a:ln w="9525" cap="flat">
                <a:noFill/>
                <a:prstDash val="solid"/>
                <a:miter/>
              </a:ln>
            </p:spPr>
            <p:txBody>
              <a:bodyPr/>
              <a:lstStyle/>
              <a:p>
                <a:endParaRPr lang="en-US"/>
              </a:p>
            </p:txBody>
          </p:sp>
          <p:sp>
            <p:nvSpPr>
              <p:cNvPr id="62" name="Freeform: Shape 61">
                <a:extLst>
                  <a:ext uri="{FF2B5EF4-FFF2-40B4-BE49-F238E27FC236}">
                    <a16:creationId xmlns:a16="http://schemas.microsoft.com/office/drawing/2014/main" id="{64E5DD87-0956-697C-2308-DC18353635F6}"/>
                  </a:ext>
                </a:extLst>
              </p:cNvPr>
              <p:cNvSpPr/>
              <p:nvPr/>
            </p:nvSpPr>
            <p:spPr>
              <a:xfrm>
                <a:off x="6256377" y="3276576"/>
                <a:ext cx="38326" cy="38219"/>
              </a:xfrm>
              <a:custGeom>
                <a:avLst/>
                <a:gdLst>
                  <a:gd name="csX0" fmla="*/ 35457 w 38326"/>
                  <a:gd name="csY0" fmla="*/ 2786 h 38219"/>
                  <a:gd name="csX1" fmla="*/ 22027 w 38326"/>
                  <a:gd name="csY1" fmla="*/ 2786 h 38219"/>
                  <a:gd name="csX2" fmla="*/ 2786 w 38326"/>
                  <a:gd name="csY2" fmla="*/ 22027 h 38219"/>
                  <a:gd name="csX3" fmla="*/ 2786 w 38326"/>
                  <a:gd name="csY3" fmla="*/ 35457 h 38219"/>
                  <a:gd name="csX4" fmla="*/ 9549 w 38326"/>
                  <a:gd name="csY4" fmla="*/ 38219 h 38219"/>
                  <a:gd name="csX5" fmla="*/ 16312 w 38326"/>
                  <a:gd name="csY5" fmla="*/ 35457 h 38219"/>
                  <a:gd name="csX6" fmla="*/ 35552 w 38326"/>
                  <a:gd name="csY6" fmla="*/ 16216 h 38219"/>
                  <a:gd name="csX7" fmla="*/ 35457 w 38326"/>
                  <a:gd name="csY7" fmla="*/ 2786 h 382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8326" h="38219">
                    <a:moveTo>
                      <a:pt x="35457" y="2786"/>
                    </a:moveTo>
                    <a:cubicBezTo>
                      <a:pt x="31742" y="-929"/>
                      <a:pt x="25741" y="-929"/>
                      <a:pt x="22027" y="2786"/>
                    </a:cubicBezTo>
                    <a:lnTo>
                      <a:pt x="2786" y="22027"/>
                    </a:lnTo>
                    <a:cubicBezTo>
                      <a:pt x="-929" y="25741"/>
                      <a:pt x="-929" y="31742"/>
                      <a:pt x="2786" y="35457"/>
                    </a:cubicBezTo>
                    <a:cubicBezTo>
                      <a:pt x="4691" y="37362"/>
                      <a:pt x="7072" y="38219"/>
                      <a:pt x="9549" y="38219"/>
                    </a:cubicBezTo>
                    <a:cubicBezTo>
                      <a:pt x="12025" y="38219"/>
                      <a:pt x="14407" y="37267"/>
                      <a:pt x="16312" y="35457"/>
                    </a:cubicBezTo>
                    <a:lnTo>
                      <a:pt x="35552" y="16216"/>
                    </a:lnTo>
                    <a:cubicBezTo>
                      <a:pt x="39267" y="12597"/>
                      <a:pt x="39267" y="6596"/>
                      <a:pt x="35457" y="2786"/>
                    </a:cubicBezTo>
                    <a:close/>
                  </a:path>
                </a:pathLst>
              </a:custGeom>
              <a:grpFill/>
              <a:ln w="9525" cap="flat">
                <a:noFill/>
                <a:prstDash val="solid"/>
                <a:miter/>
              </a:ln>
            </p:spPr>
            <p:txBody>
              <a:bodyPr/>
              <a:lstStyle/>
              <a:p>
                <a:endParaRPr lang="en-US"/>
              </a:p>
            </p:txBody>
          </p:sp>
          <p:sp>
            <p:nvSpPr>
              <p:cNvPr id="63" name="Freeform: Shape 62">
                <a:extLst>
                  <a:ext uri="{FF2B5EF4-FFF2-40B4-BE49-F238E27FC236}">
                    <a16:creationId xmlns:a16="http://schemas.microsoft.com/office/drawing/2014/main" id="{3A6DBAD5-E115-1BCF-4AC6-1E3B007BF475}"/>
                  </a:ext>
                </a:extLst>
              </p:cNvPr>
              <p:cNvSpPr/>
              <p:nvPr/>
            </p:nvSpPr>
            <p:spPr>
              <a:xfrm>
                <a:off x="6220467" y="3276671"/>
                <a:ext cx="38242" cy="38219"/>
              </a:xfrm>
              <a:custGeom>
                <a:avLst/>
                <a:gdLst>
                  <a:gd name="csX0" fmla="*/ 9454 w 38242"/>
                  <a:gd name="csY0" fmla="*/ 38219 h 38219"/>
                  <a:gd name="csX1" fmla="*/ 16216 w 38242"/>
                  <a:gd name="csY1" fmla="*/ 35457 h 38219"/>
                  <a:gd name="csX2" fmla="*/ 35457 w 38242"/>
                  <a:gd name="csY2" fmla="*/ 16216 h 38219"/>
                  <a:gd name="csX3" fmla="*/ 35457 w 38242"/>
                  <a:gd name="csY3" fmla="*/ 2786 h 38219"/>
                  <a:gd name="csX4" fmla="*/ 22027 w 38242"/>
                  <a:gd name="csY4" fmla="*/ 2786 h 38219"/>
                  <a:gd name="csX5" fmla="*/ 2786 w 38242"/>
                  <a:gd name="csY5" fmla="*/ 22027 h 38219"/>
                  <a:gd name="csX6" fmla="*/ 2786 w 38242"/>
                  <a:gd name="csY6" fmla="*/ 35457 h 38219"/>
                  <a:gd name="csX7" fmla="*/ 9454 w 38242"/>
                  <a:gd name="csY7" fmla="*/ 38219 h 382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8242" h="38219">
                    <a:moveTo>
                      <a:pt x="9454" y="38219"/>
                    </a:moveTo>
                    <a:cubicBezTo>
                      <a:pt x="11930" y="38219"/>
                      <a:pt x="14311" y="37267"/>
                      <a:pt x="16216" y="35457"/>
                    </a:cubicBezTo>
                    <a:lnTo>
                      <a:pt x="35457" y="16216"/>
                    </a:lnTo>
                    <a:cubicBezTo>
                      <a:pt x="39172" y="12502"/>
                      <a:pt x="39172" y="6501"/>
                      <a:pt x="35457" y="2786"/>
                    </a:cubicBezTo>
                    <a:cubicBezTo>
                      <a:pt x="31742" y="-929"/>
                      <a:pt x="25741" y="-929"/>
                      <a:pt x="22027" y="2786"/>
                    </a:cubicBezTo>
                    <a:lnTo>
                      <a:pt x="2786" y="22027"/>
                    </a:lnTo>
                    <a:cubicBezTo>
                      <a:pt x="-929" y="25741"/>
                      <a:pt x="-929" y="31742"/>
                      <a:pt x="2786" y="35457"/>
                    </a:cubicBezTo>
                    <a:cubicBezTo>
                      <a:pt x="4596" y="37267"/>
                      <a:pt x="7072" y="38219"/>
                      <a:pt x="9454" y="38219"/>
                    </a:cubicBezTo>
                    <a:close/>
                  </a:path>
                </a:pathLst>
              </a:custGeom>
              <a:grpFill/>
              <a:ln w="9525" cap="flat">
                <a:noFill/>
                <a:prstDash val="solid"/>
                <a:miter/>
              </a:ln>
            </p:spPr>
            <p:txBody>
              <a:bodyPr/>
              <a:lstStyle/>
              <a:p>
                <a:endParaRPr lang="en-US"/>
              </a:p>
            </p:txBody>
          </p:sp>
          <p:sp>
            <p:nvSpPr>
              <p:cNvPr id="64" name="Freeform: Shape 63">
                <a:extLst>
                  <a:ext uri="{FF2B5EF4-FFF2-40B4-BE49-F238E27FC236}">
                    <a16:creationId xmlns:a16="http://schemas.microsoft.com/office/drawing/2014/main" id="{3CE398EB-1105-CE42-61A7-8FE4328B7B12}"/>
                  </a:ext>
                </a:extLst>
              </p:cNvPr>
              <p:cNvSpPr/>
              <p:nvPr/>
            </p:nvSpPr>
            <p:spPr>
              <a:xfrm>
                <a:off x="6188583" y="3154775"/>
                <a:ext cx="173646" cy="119729"/>
              </a:xfrm>
              <a:custGeom>
                <a:avLst/>
                <a:gdLst>
                  <a:gd name="csX0" fmla="*/ 161544 w 173646"/>
                  <a:gd name="csY0" fmla="*/ 49625 h 119729"/>
                  <a:gd name="csX1" fmla="*/ 134207 w 173646"/>
                  <a:gd name="csY1" fmla="*/ 37719 h 119729"/>
                  <a:gd name="csX2" fmla="*/ 86963 w 173646"/>
                  <a:gd name="csY2" fmla="*/ 0 h 119729"/>
                  <a:gd name="csX3" fmla="*/ 60769 w 173646"/>
                  <a:gd name="csY3" fmla="*/ 7620 h 119729"/>
                  <a:gd name="csX4" fmla="*/ 39719 w 173646"/>
                  <a:gd name="csY4" fmla="*/ 37814 h 119729"/>
                  <a:gd name="csX5" fmla="*/ 14478 w 173646"/>
                  <a:gd name="csY5" fmla="*/ 47815 h 119729"/>
                  <a:gd name="csX6" fmla="*/ 0 w 173646"/>
                  <a:gd name="csY6" fmla="*/ 78772 h 119729"/>
                  <a:gd name="csX7" fmla="*/ 41719 w 173646"/>
                  <a:gd name="csY7" fmla="*/ 119729 h 119729"/>
                  <a:gd name="csX8" fmla="*/ 131921 w 173646"/>
                  <a:gd name="csY8" fmla="*/ 119729 h 119729"/>
                  <a:gd name="csX9" fmla="*/ 173641 w 173646"/>
                  <a:gd name="csY9" fmla="*/ 78772 h 119729"/>
                  <a:gd name="csX10" fmla="*/ 161544 w 173646"/>
                  <a:gd name="csY10" fmla="*/ 49625 h 11972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73646" h="119729">
                    <a:moveTo>
                      <a:pt x="161544" y="49625"/>
                    </a:moveTo>
                    <a:cubicBezTo>
                      <a:pt x="154210" y="42386"/>
                      <a:pt x="144494" y="38195"/>
                      <a:pt x="134207" y="37719"/>
                    </a:cubicBezTo>
                    <a:cubicBezTo>
                      <a:pt x="129730" y="16192"/>
                      <a:pt x="110299" y="0"/>
                      <a:pt x="86963" y="0"/>
                    </a:cubicBezTo>
                    <a:cubicBezTo>
                      <a:pt x="77629" y="0"/>
                      <a:pt x="68485" y="2667"/>
                      <a:pt x="60769" y="7620"/>
                    </a:cubicBezTo>
                    <a:cubicBezTo>
                      <a:pt x="49720" y="14573"/>
                      <a:pt x="42291" y="25432"/>
                      <a:pt x="39719" y="37814"/>
                    </a:cubicBezTo>
                    <a:cubicBezTo>
                      <a:pt x="30385" y="38291"/>
                      <a:pt x="21526" y="41815"/>
                      <a:pt x="14478" y="47815"/>
                    </a:cubicBezTo>
                    <a:cubicBezTo>
                      <a:pt x="5334" y="55626"/>
                      <a:pt x="0" y="66865"/>
                      <a:pt x="0" y="78772"/>
                    </a:cubicBezTo>
                    <a:cubicBezTo>
                      <a:pt x="0" y="101346"/>
                      <a:pt x="18764" y="119729"/>
                      <a:pt x="41719" y="119729"/>
                    </a:cubicBezTo>
                    <a:lnTo>
                      <a:pt x="131921" y="119729"/>
                    </a:lnTo>
                    <a:cubicBezTo>
                      <a:pt x="154972" y="119729"/>
                      <a:pt x="173641" y="101346"/>
                      <a:pt x="173641" y="78772"/>
                    </a:cubicBezTo>
                    <a:cubicBezTo>
                      <a:pt x="173831" y="67723"/>
                      <a:pt x="169450" y="57436"/>
                      <a:pt x="161544" y="49625"/>
                    </a:cubicBezTo>
                    <a:close/>
                  </a:path>
                </a:pathLst>
              </a:custGeom>
              <a:grpFill/>
              <a:ln w="9525" cap="flat">
                <a:noFill/>
                <a:prstDash val="solid"/>
                <a:miter/>
              </a:ln>
            </p:spPr>
            <p:txBody>
              <a:bodyPr/>
              <a:lstStyle/>
              <a:p>
                <a:endParaRPr lang="en-US"/>
              </a:p>
            </p:txBody>
          </p:sp>
          <p:sp>
            <p:nvSpPr>
              <p:cNvPr id="65" name="Freeform: Shape 64">
                <a:extLst>
                  <a:ext uri="{FF2B5EF4-FFF2-40B4-BE49-F238E27FC236}">
                    <a16:creationId xmlns:a16="http://schemas.microsoft.com/office/drawing/2014/main" id="{A1D685AA-A6D2-698D-BE09-D2DB6A2BEF3B}"/>
                  </a:ext>
                </a:extLst>
              </p:cNvPr>
              <p:cNvSpPr/>
              <p:nvPr/>
            </p:nvSpPr>
            <p:spPr>
              <a:xfrm>
                <a:off x="5997606" y="3154775"/>
                <a:ext cx="172212" cy="118776"/>
              </a:xfrm>
              <a:custGeom>
                <a:avLst/>
                <a:gdLst>
                  <a:gd name="csX0" fmla="*/ 41339 w 172212"/>
                  <a:gd name="csY0" fmla="*/ 118777 h 118776"/>
                  <a:gd name="csX1" fmla="*/ 130779 w 172212"/>
                  <a:gd name="csY1" fmla="*/ 118777 h 118776"/>
                  <a:gd name="csX2" fmla="*/ 172212 w 172212"/>
                  <a:gd name="csY2" fmla="*/ 78105 h 118776"/>
                  <a:gd name="csX3" fmla="*/ 157925 w 172212"/>
                  <a:gd name="csY3" fmla="*/ 47434 h 118776"/>
                  <a:gd name="csX4" fmla="*/ 132874 w 172212"/>
                  <a:gd name="csY4" fmla="*/ 37529 h 118776"/>
                  <a:gd name="csX5" fmla="*/ 112110 w 172212"/>
                  <a:gd name="csY5" fmla="*/ 7525 h 118776"/>
                  <a:gd name="csX6" fmla="*/ 86106 w 172212"/>
                  <a:gd name="csY6" fmla="*/ 0 h 118776"/>
                  <a:gd name="csX7" fmla="*/ 39243 w 172212"/>
                  <a:gd name="csY7" fmla="*/ 37433 h 118776"/>
                  <a:gd name="csX8" fmla="*/ 12192 w 172212"/>
                  <a:gd name="csY8" fmla="*/ 49244 h 118776"/>
                  <a:gd name="csX9" fmla="*/ 0 w 172212"/>
                  <a:gd name="csY9" fmla="*/ 78105 h 118776"/>
                  <a:gd name="csX10" fmla="*/ 41339 w 172212"/>
                  <a:gd name="csY10" fmla="*/ 118777 h 1187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72212" h="118776">
                    <a:moveTo>
                      <a:pt x="41339" y="118777"/>
                    </a:moveTo>
                    <a:lnTo>
                      <a:pt x="130779" y="118777"/>
                    </a:lnTo>
                    <a:cubicBezTo>
                      <a:pt x="153639" y="118777"/>
                      <a:pt x="172212" y="100489"/>
                      <a:pt x="172212" y="78105"/>
                    </a:cubicBezTo>
                    <a:cubicBezTo>
                      <a:pt x="172212" y="66294"/>
                      <a:pt x="166974" y="55054"/>
                      <a:pt x="157925" y="47434"/>
                    </a:cubicBezTo>
                    <a:cubicBezTo>
                      <a:pt x="150972" y="41434"/>
                      <a:pt x="142113" y="38005"/>
                      <a:pt x="132874" y="37529"/>
                    </a:cubicBezTo>
                    <a:cubicBezTo>
                      <a:pt x="130398" y="25241"/>
                      <a:pt x="122968" y="14478"/>
                      <a:pt x="112110" y="7525"/>
                    </a:cubicBezTo>
                    <a:cubicBezTo>
                      <a:pt x="104394" y="2572"/>
                      <a:pt x="95346" y="0"/>
                      <a:pt x="86106" y="0"/>
                    </a:cubicBezTo>
                    <a:cubicBezTo>
                      <a:pt x="63056" y="0"/>
                      <a:pt x="43720" y="16097"/>
                      <a:pt x="39243" y="37433"/>
                    </a:cubicBezTo>
                    <a:cubicBezTo>
                      <a:pt x="29052" y="37910"/>
                      <a:pt x="19431" y="42101"/>
                      <a:pt x="12192" y="49244"/>
                    </a:cubicBezTo>
                    <a:cubicBezTo>
                      <a:pt x="4287" y="56959"/>
                      <a:pt x="0" y="67151"/>
                      <a:pt x="0" y="78105"/>
                    </a:cubicBezTo>
                    <a:cubicBezTo>
                      <a:pt x="-95" y="100489"/>
                      <a:pt x="18479" y="118777"/>
                      <a:pt x="41339" y="118777"/>
                    </a:cubicBezTo>
                    <a:close/>
                  </a:path>
                </a:pathLst>
              </a:custGeom>
              <a:grpFill/>
              <a:ln w="9525" cap="flat">
                <a:noFill/>
                <a:prstDash val="solid"/>
                <a:miter/>
              </a:ln>
            </p:spPr>
            <p:txBody>
              <a:bodyPr/>
              <a:lstStyle/>
              <a:p>
                <a:endParaRPr lang="en-US"/>
              </a:p>
            </p:txBody>
          </p:sp>
          <p:sp>
            <p:nvSpPr>
              <p:cNvPr id="66" name="Freeform: Shape 65">
                <a:extLst>
                  <a:ext uri="{FF2B5EF4-FFF2-40B4-BE49-F238E27FC236}">
                    <a16:creationId xmlns:a16="http://schemas.microsoft.com/office/drawing/2014/main" id="{EC31C338-BC09-979F-C204-A3726749D46F}"/>
                  </a:ext>
                </a:extLst>
              </p:cNvPr>
              <p:cNvSpPr/>
              <p:nvPr/>
            </p:nvSpPr>
            <p:spPr>
              <a:xfrm>
                <a:off x="5865018" y="3202590"/>
                <a:ext cx="75819" cy="75819"/>
              </a:xfrm>
              <a:custGeom>
                <a:avLst/>
                <a:gdLst>
                  <a:gd name="csX0" fmla="*/ 75819 w 75819"/>
                  <a:gd name="csY0" fmla="*/ 37910 h 75819"/>
                  <a:gd name="csX1" fmla="*/ 37909 w 75819"/>
                  <a:gd name="csY1" fmla="*/ 0 h 75819"/>
                  <a:gd name="csX2" fmla="*/ 0 w 75819"/>
                  <a:gd name="csY2" fmla="*/ 37910 h 75819"/>
                  <a:gd name="csX3" fmla="*/ 37909 w 75819"/>
                  <a:gd name="csY3" fmla="*/ 75819 h 75819"/>
                  <a:gd name="csX4" fmla="*/ 75819 w 75819"/>
                  <a:gd name="csY4" fmla="*/ 37910 h 75819"/>
                </a:gdLst>
                <a:ahLst/>
                <a:cxnLst>
                  <a:cxn ang="0">
                    <a:pos x="csX0" y="csY0"/>
                  </a:cxn>
                  <a:cxn ang="0">
                    <a:pos x="csX1" y="csY1"/>
                  </a:cxn>
                  <a:cxn ang="0">
                    <a:pos x="csX2" y="csY2"/>
                  </a:cxn>
                  <a:cxn ang="0">
                    <a:pos x="csX3" y="csY3"/>
                  </a:cxn>
                  <a:cxn ang="0">
                    <a:pos x="csX4" y="csY4"/>
                  </a:cxn>
                </a:cxnLst>
                <a:rect l="l" t="t" r="r" b="b"/>
                <a:pathLst>
                  <a:path w="75819" h="75819">
                    <a:moveTo>
                      <a:pt x="75819" y="37910"/>
                    </a:moveTo>
                    <a:cubicBezTo>
                      <a:pt x="75819" y="17050"/>
                      <a:pt x="58769" y="0"/>
                      <a:pt x="37909" y="0"/>
                    </a:cubicBezTo>
                    <a:cubicBezTo>
                      <a:pt x="17050" y="0"/>
                      <a:pt x="0" y="17050"/>
                      <a:pt x="0" y="37910"/>
                    </a:cubicBezTo>
                    <a:cubicBezTo>
                      <a:pt x="0" y="58865"/>
                      <a:pt x="17050" y="75819"/>
                      <a:pt x="37909" y="75819"/>
                    </a:cubicBezTo>
                    <a:cubicBezTo>
                      <a:pt x="58865" y="75819"/>
                      <a:pt x="75819" y="58769"/>
                      <a:pt x="75819" y="37910"/>
                    </a:cubicBezTo>
                    <a:close/>
                  </a:path>
                </a:pathLst>
              </a:custGeom>
              <a:grpFill/>
              <a:ln w="9525" cap="flat">
                <a:noFill/>
                <a:prstDash val="solid"/>
                <a:miter/>
              </a:ln>
            </p:spPr>
            <p:txBody>
              <a:bodyPr/>
              <a:lstStyle/>
              <a:p>
                <a:endParaRPr lang="en-US"/>
              </a:p>
            </p:txBody>
          </p:sp>
          <p:sp>
            <p:nvSpPr>
              <p:cNvPr id="67" name="Freeform: Shape 66">
                <a:extLst>
                  <a:ext uri="{FF2B5EF4-FFF2-40B4-BE49-F238E27FC236}">
                    <a16:creationId xmlns:a16="http://schemas.microsoft.com/office/drawing/2014/main" id="{8AF6213C-BC71-1125-3A02-0B60871A4010}"/>
                  </a:ext>
                </a:extLst>
              </p:cNvPr>
              <p:cNvSpPr/>
              <p:nvPr/>
            </p:nvSpPr>
            <p:spPr>
              <a:xfrm>
                <a:off x="5893403" y="3157251"/>
                <a:ext cx="19050" cy="36004"/>
              </a:xfrm>
              <a:custGeom>
                <a:avLst/>
                <a:gdLst>
                  <a:gd name="csX0" fmla="*/ 9525 w 19050"/>
                  <a:gd name="csY0" fmla="*/ 36005 h 36004"/>
                  <a:gd name="csX1" fmla="*/ 19050 w 19050"/>
                  <a:gd name="csY1" fmla="*/ 26480 h 36004"/>
                  <a:gd name="csX2" fmla="*/ 19050 w 19050"/>
                  <a:gd name="csY2" fmla="*/ 9525 h 36004"/>
                  <a:gd name="csX3" fmla="*/ 9525 w 19050"/>
                  <a:gd name="csY3" fmla="*/ 0 h 36004"/>
                  <a:gd name="csX4" fmla="*/ 0 w 19050"/>
                  <a:gd name="csY4" fmla="*/ 9525 h 36004"/>
                  <a:gd name="csX5" fmla="*/ 0 w 19050"/>
                  <a:gd name="csY5" fmla="*/ 26480 h 36004"/>
                  <a:gd name="csX6" fmla="*/ 9525 w 19050"/>
                  <a:gd name="csY6" fmla="*/ 36005 h 3600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9050" h="36004">
                    <a:moveTo>
                      <a:pt x="9525" y="36005"/>
                    </a:moveTo>
                    <a:cubicBezTo>
                      <a:pt x="14764" y="36005"/>
                      <a:pt x="19050" y="31718"/>
                      <a:pt x="19050" y="26480"/>
                    </a:cubicBezTo>
                    <a:lnTo>
                      <a:pt x="19050" y="9525"/>
                    </a:lnTo>
                    <a:cubicBezTo>
                      <a:pt x="19050" y="4286"/>
                      <a:pt x="14764" y="0"/>
                      <a:pt x="9525" y="0"/>
                    </a:cubicBezTo>
                    <a:cubicBezTo>
                      <a:pt x="4286" y="0"/>
                      <a:pt x="0" y="4286"/>
                      <a:pt x="0" y="9525"/>
                    </a:cubicBezTo>
                    <a:lnTo>
                      <a:pt x="0" y="26480"/>
                    </a:lnTo>
                    <a:cubicBezTo>
                      <a:pt x="0" y="31718"/>
                      <a:pt x="4286" y="36005"/>
                      <a:pt x="9525" y="36005"/>
                    </a:cubicBezTo>
                    <a:close/>
                  </a:path>
                </a:pathLst>
              </a:custGeom>
              <a:grpFill/>
              <a:ln w="9525" cap="flat">
                <a:noFill/>
                <a:prstDash val="solid"/>
                <a:miter/>
              </a:ln>
            </p:spPr>
            <p:txBody>
              <a:bodyPr/>
              <a:lstStyle/>
              <a:p>
                <a:endParaRPr lang="en-US"/>
              </a:p>
            </p:txBody>
          </p:sp>
          <p:sp>
            <p:nvSpPr>
              <p:cNvPr id="68" name="Freeform: Shape 67">
                <a:extLst>
                  <a:ext uri="{FF2B5EF4-FFF2-40B4-BE49-F238E27FC236}">
                    <a16:creationId xmlns:a16="http://schemas.microsoft.com/office/drawing/2014/main" id="{E1749AB6-AF15-A668-E735-6C4C2C08FF85}"/>
                  </a:ext>
                </a:extLst>
              </p:cNvPr>
              <p:cNvSpPr/>
              <p:nvPr/>
            </p:nvSpPr>
            <p:spPr>
              <a:xfrm>
                <a:off x="5829649" y="3194106"/>
                <a:ext cx="33704" cy="27534"/>
              </a:xfrm>
              <a:custGeom>
                <a:avLst/>
                <a:gdLst>
                  <a:gd name="csX0" fmla="*/ 28893 w 33704"/>
                  <a:gd name="csY0" fmla="*/ 9723 h 27534"/>
                  <a:gd name="csX1" fmla="*/ 14224 w 33704"/>
                  <a:gd name="csY1" fmla="*/ 1246 h 27534"/>
                  <a:gd name="csX2" fmla="*/ 1270 w 33704"/>
                  <a:gd name="csY2" fmla="*/ 4770 h 27534"/>
                  <a:gd name="csX3" fmla="*/ 4699 w 33704"/>
                  <a:gd name="csY3" fmla="*/ 17819 h 27534"/>
                  <a:gd name="csX4" fmla="*/ 19368 w 33704"/>
                  <a:gd name="csY4" fmla="*/ 26296 h 27534"/>
                  <a:gd name="csX5" fmla="*/ 24130 w 33704"/>
                  <a:gd name="csY5" fmla="*/ 27535 h 27534"/>
                  <a:gd name="csX6" fmla="*/ 32417 w 33704"/>
                  <a:gd name="csY6" fmla="*/ 22772 h 27534"/>
                  <a:gd name="csX7" fmla="*/ 28893 w 33704"/>
                  <a:gd name="csY7" fmla="*/ 9723 h 2753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3704" h="27534">
                    <a:moveTo>
                      <a:pt x="28893" y="9723"/>
                    </a:moveTo>
                    <a:lnTo>
                      <a:pt x="14224" y="1246"/>
                    </a:lnTo>
                    <a:cubicBezTo>
                      <a:pt x="9652" y="-1326"/>
                      <a:pt x="3842" y="198"/>
                      <a:pt x="1270" y="4770"/>
                    </a:cubicBezTo>
                    <a:cubicBezTo>
                      <a:pt x="-1302" y="9342"/>
                      <a:pt x="127" y="15152"/>
                      <a:pt x="4699" y="17819"/>
                    </a:cubicBezTo>
                    <a:lnTo>
                      <a:pt x="19368" y="26296"/>
                    </a:lnTo>
                    <a:cubicBezTo>
                      <a:pt x="20892" y="27154"/>
                      <a:pt x="22511" y="27535"/>
                      <a:pt x="24130" y="27535"/>
                    </a:cubicBezTo>
                    <a:cubicBezTo>
                      <a:pt x="27464" y="27535"/>
                      <a:pt x="30607" y="25820"/>
                      <a:pt x="32417" y="22772"/>
                    </a:cubicBezTo>
                    <a:cubicBezTo>
                      <a:pt x="35084" y="18200"/>
                      <a:pt x="33465" y="12390"/>
                      <a:pt x="28893" y="9723"/>
                    </a:cubicBezTo>
                    <a:close/>
                  </a:path>
                </a:pathLst>
              </a:custGeom>
              <a:grpFill/>
              <a:ln w="9525" cap="flat">
                <a:noFill/>
                <a:prstDash val="solid"/>
                <a:miter/>
              </a:ln>
            </p:spPr>
            <p:txBody>
              <a:bodyPr/>
              <a:lstStyle/>
              <a:p>
                <a:endParaRPr lang="en-US"/>
              </a:p>
            </p:txBody>
          </p:sp>
          <p:sp>
            <p:nvSpPr>
              <p:cNvPr id="69" name="Freeform: Shape 68">
                <a:extLst>
                  <a:ext uri="{FF2B5EF4-FFF2-40B4-BE49-F238E27FC236}">
                    <a16:creationId xmlns:a16="http://schemas.microsoft.com/office/drawing/2014/main" id="{DD3503CC-95CA-34F7-A145-C6C674AC9B8F}"/>
                  </a:ext>
                </a:extLst>
              </p:cNvPr>
              <p:cNvSpPr/>
              <p:nvPr/>
            </p:nvSpPr>
            <p:spPr>
              <a:xfrm>
                <a:off x="5829578" y="3259352"/>
                <a:ext cx="33733" cy="27534"/>
              </a:xfrm>
              <a:custGeom>
                <a:avLst/>
                <a:gdLst>
                  <a:gd name="csX0" fmla="*/ 19438 w 33733"/>
                  <a:gd name="csY0" fmla="*/ 1246 h 27534"/>
                  <a:gd name="csX1" fmla="*/ 4770 w 33733"/>
                  <a:gd name="csY1" fmla="*/ 9723 h 27534"/>
                  <a:gd name="csX2" fmla="*/ 1246 w 33733"/>
                  <a:gd name="csY2" fmla="*/ 22772 h 27534"/>
                  <a:gd name="csX3" fmla="*/ 9532 w 33733"/>
                  <a:gd name="csY3" fmla="*/ 27535 h 27534"/>
                  <a:gd name="csX4" fmla="*/ 14295 w 33733"/>
                  <a:gd name="csY4" fmla="*/ 26296 h 27534"/>
                  <a:gd name="csX5" fmla="*/ 28963 w 33733"/>
                  <a:gd name="csY5" fmla="*/ 17819 h 27534"/>
                  <a:gd name="csX6" fmla="*/ 32488 w 33733"/>
                  <a:gd name="csY6" fmla="*/ 4770 h 27534"/>
                  <a:gd name="csX7" fmla="*/ 19438 w 33733"/>
                  <a:gd name="csY7" fmla="*/ 1246 h 2753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3733" h="27534">
                    <a:moveTo>
                      <a:pt x="19438" y="1246"/>
                    </a:moveTo>
                    <a:lnTo>
                      <a:pt x="4770" y="9723"/>
                    </a:lnTo>
                    <a:cubicBezTo>
                      <a:pt x="198" y="12390"/>
                      <a:pt x="-1326" y="18200"/>
                      <a:pt x="1246" y="22772"/>
                    </a:cubicBezTo>
                    <a:cubicBezTo>
                      <a:pt x="3055" y="25820"/>
                      <a:pt x="6199" y="27535"/>
                      <a:pt x="9532" y="27535"/>
                    </a:cubicBezTo>
                    <a:cubicBezTo>
                      <a:pt x="11152" y="27535"/>
                      <a:pt x="12771" y="27154"/>
                      <a:pt x="14295" y="26296"/>
                    </a:cubicBezTo>
                    <a:lnTo>
                      <a:pt x="28963" y="17819"/>
                    </a:lnTo>
                    <a:cubicBezTo>
                      <a:pt x="33535" y="15152"/>
                      <a:pt x="35059" y="9342"/>
                      <a:pt x="32488" y="4770"/>
                    </a:cubicBezTo>
                    <a:cubicBezTo>
                      <a:pt x="29821" y="198"/>
                      <a:pt x="24010" y="-1326"/>
                      <a:pt x="19438" y="1246"/>
                    </a:cubicBezTo>
                    <a:close/>
                  </a:path>
                </a:pathLst>
              </a:custGeom>
              <a:grpFill/>
              <a:ln w="9525" cap="flat">
                <a:noFill/>
                <a:prstDash val="solid"/>
                <a:miter/>
              </a:ln>
            </p:spPr>
            <p:txBody>
              <a:bodyPr/>
              <a:lstStyle/>
              <a:p>
                <a:endParaRPr lang="en-US"/>
              </a:p>
            </p:txBody>
          </p:sp>
          <p:sp>
            <p:nvSpPr>
              <p:cNvPr id="70" name="Freeform: Shape 69">
                <a:extLst>
                  <a:ext uri="{FF2B5EF4-FFF2-40B4-BE49-F238E27FC236}">
                    <a16:creationId xmlns:a16="http://schemas.microsoft.com/office/drawing/2014/main" id="{A26685EB-B7A6-6C6C-FF4B-7578894DA326}"/>
                  </a:ext>
                </a:extLst>
              </p:cNvPr>
              <p:cNvSpPr/>
              <p:nvPr/>
            </p:nvSpPr>
            <p:spPr>
              <a:xfrm>
                <a:off x="5893403" y="3287744"/>
                <a:ext cx="19050" cy="36004"/>
              </a:xfrm>
              <a:custGeom>
                <a:avLst/>
                <a:gdLst>
                  <a:gd name="csX0" fmla="*/ 0 w 19050"/>
                  <a:gd name="csY0" fmla="*/ 9525 h 36004"/>
                  <a:gd name="csX1" fmla="*/ 0 w 19050"/>
                  <a:gd name="csY1" fmla="*/ 26480 h 36004"/>
                  <a:gd name="csX2" fmla="*/ 9525 w 19050"/>
                  <a:gd name="csY2" fmla="*/ 36005 h 36004"/>
                  <a:gd name="csX3" fmla="*/ 19050 w 19050"/>
                  <a:gd name="csY3" fmla="*/ 26480 h 36004"/>
                  <a:gd name="csX4" fmla="*/ 19050 w 19050"/>
                  <a:gd name="csY4" fmla="*/ 9525 h 36004"/>
                  <a:gd name="csX5" fmla="*/ 9525 w 19050"/>
                  <a:gd name="csY5" fmla="*/ 0 h 36004"/>
                  <a:gd name="csX6" fmla="*/ 0 w 19050"/>
                  <a:gd name="csY6" fmla="*/ 9525 h 3600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9050" h="36004">
                    <a:moveTo>
                      <a:pt x="0" y="9525"/>
                    </a:moveTo>
                    <a:lnTo>
                      <a:pt x="0" y="26480"/>
                    </a:lnTo>
                    <a:cubicBezTo>
                      <a:pt x="0" y="31718"/>
                      <a:pt x="4286" y="36005"/>
                      <a:pt x="9525" y="36005"/>
                    </a:cubicBezTo>
                    <a:cubicBezTo>
                      <a:pt x="14764" y="36005"/>
                      <a:pt x="19050" y="31718"/>
                      <a:pt x="19050" y="26480"/>
                    </a:cubicBezTo>
                    <a:lnTo>
                      <a:pt x="19050" y="9525"/>
                    </a:lnTo>
                    <a:cubicBezTo>
                      <a:pt x="19050" y="4286"/>
                      <a:pt x="14764" y="0"/>
                      <a:pt x="9525" y="0"/>
                    </a:cubicBezTo>
                    <a:cubicBezTo>
                      <a:pt x="4286" y="0"/>
                      <a:pt x="0" y="4286"/>
                      <a:pt x="0" y="9525"/>
                    </a:cubicBezTo>
                    <a:close/>
                  </a:path>
                </a:pathLst>
              </a:custGeom>
              <a:grpFill/>
              <a:ln w="9525" cap="flat">
                <a:noFill/>
                <a:prstDash val="solid"/>
                <a:miter/>
              </a:ln>
            </p:spPr>
            <p:txBody>
              <a:bodyPr/>
              <a:lstStyle/>
              <a:p>
                <a:endParaRPr lang="en-US"/>
              </a:p>
            </p:txBody>
          </p:sp>
          <p:sp>
            <p:nvSpPr>
              <p:cNvPr id="71" name="Freeform: Shape 70">
                <a:extLst>
                  <a:ext uri="{FF2B5EF4-FFF2-40B4-BE49-F238E27FC236}">
                    <a16:creationId xmlns:a16="http://schemas.microsoft.com/office/drawing/2014/main" id="{2EF17D21-C190-80CB-4913-09ACEF217EB1}"/>
                  </a:ext>
                </a:extLst>
              </p:cNvPr>
              <p:cNvSpPr/>
              <p:nvPr/>
            </p:nvSpPr>
            <p:spPr>
              <a:xfrm>
                <a:off x="5942597" y="3259310"/>
                <a:ext cx="33817" cy="27576"/>
              </a:xfrm>
              <a:custGeom>
                <a:avLst/>
                <a:gdLst>
                  <a:gd name="csX0" fmla="*/ 4812 w 33817"/>
                  <a:gd name="csY0" fmla="*/ 17861 h 27576"/>
                  <a:gd name="csX1" fmla="*/ 19481 w 33817"/>
                  <a:gd name="csY1" fmla="*/ 26339 h 27576"/>
                  <a:gd name="csX2" fmla="*/ 24243 w 33817"/>
                  <a:gd name="csY2" fmla="*/ 27577 h 27576"/>
                  <a:gd name="csX3" fmla="*/ 32530 w 33817"/>
                  <a:gd name="csY3" fmla="*/ 22814 h 27576"/>
                  <a:gd name="csX4" fmla="*/ 29006 w 33817"/>
                  <a:gd name="csY4" fmla="*/ 9765 h 27576"/>
                  <a:gd name="csX5" fmla="*/ 14337 w 33817"/>
                  <a:gd name="csY5" fmla="*/ 1288 h 27576"/>
                  <a:gd name="csX6" fmla="*/ 1288 w 33817"/>
                  <a:gd name="csY6" fmla="*/ 4812 h 27576"/>
                  <a:gd name="csX7" fmla="*/ 4812 w 33817"/>
                  <a:gd name="csY7" fmla="*/ 17861 h 275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3817" h="27576">
                    <a:moveTo>
                      <a:pt x="4812" y="17861"/>
                    </a:moveTo>
                    <a:lnTo>
                      <a:pt x="19481" y="26339"/>
                    </a:lnTo>
                    <a:cubicBezTo>
                      <a:pt x="21005" y="27196"/>
                      <a:pt x="22624" y="27577"/>
                      <a:pt x="24243" y="27577"/>
                    </a:cubicBezTo>
                    <a:cubicBezTo>
                      <a:pt x="27577" y="27577"/>
                      <a:pt x="30720" y="25862"/>
                      <a:pt x="32530" y="22814"/>
                    </a:cubicBezTo>
                    <a:cubicBezTo>
                      <a:pt x="35197" y="18242"/>
                      <a:pt x="33578" y="12432"/>
                      <a:pt x="29006" y="9765"/>
                    </a:cubicBezTo>
                    <a:lnTo>
                      <a:pt x="14337" y="1288"/>
                    </a:lnTo>
                    <a:cubicBezTo>
                      <a:pt x="9765" y="-1379"/>
                      <a:pt x="3955" y="240"/>
                      <a:pt x="1288" y="4812"/>
                    </a:cubicBezTo>
                    <a:cubicBezTo>
                      <a:pt x="-1379" y="9384"/>
                      <a:pt x="240" y="15194"/>
                      <a:pt x="4812" y="17861"/>
                    </a:cubicBezTo>
                    <a:close/>
                  </a:path>
                </a:pathLst>
              </a:custGeom>
              <a:grpFill/>
              <a:ln w="9525" cap="flat">
                <a:noFill/>
                <a:prstDash val="solid"/>
                <a:miter/>
              </a:ln>
            </p:spPr>
            <p:txBody>
              <a:bodyPr/>
              <a:lstStyle/>
              <a:p>
                <a:endParaRPr lang="en-US"/>
              </a:p>
            </p:txBody>
          </p:sp>
          <p:sp>
            <p:nvSpPr>
              <p:cNvPr id="72" name="Freeform: Shape 71">
                <a:extLst>
                  <a:ext uri="{FF2B5EF4-FFF2-40B4-BE49-F238E27FC236}">
                    <a16:creationId xmlns:a16="http://schemas.microsoft.com/office/drawing/2014/main" id="{587E7B3E-C030-A5D7-0611-9E2673F25391}"/>
                  </a:ext>
                </a:extLst>
              </p:cNvPr>
              <p:cNvSpPr/>
              <p:nvPr/>
            </p:nvSpPr>
            <p:spPr>
              <a:xfrm>
                <a:off x="5942640" y="3194106"/>
                <a:ext cx="33733" cy="27534"/>
              </a:xfrm>
              <a:custGeom>
                <a:avLst/>
                <a:gdLst>
                  <a:gd name="csX0" fmla="*/ 9532 w 33733"/>
                  <a:gd name="csY0" fmla="*/ 27535 h 27534"/>
                  <a:gd name="csX1" fmla="*/ 14295 w 33733"/>
                  <a:gd name="csY1" fmla="*/ 26296 h 27534"/>
                  <a:gd name="csX2" fmla="*/ 28963 w 33733"/>
                  <a:gd name="csY2" fmla="*/ 17819 h 27534"/>
                  <a:gd name="csX3" fmla="*/ 32488 w 33733"/>
                  <a:gd name="csY3" fmla="*/ 4770 h 27534"/>
                  <a:gd name="csX4" fmla="*/ 19438 w 33733"/>
                  <a:gd name="csY4" fmla="*/ 1246 h 27534"/>
                  <a:gd name="csX5" fmla="*/ 4770 w 33733"/>
                  <a:gd name="csY5" fmla="*/ 9723 h 27534"/>
                  <a:gd name="csX6" fmla="*/ 1246 w 33733"/>
                  <a:gd name="csY6" fmla="*/ 22772 h 27534"/>
                  <a:gd name="csX7" fmla="*/ 9532 w 33733"/>
                  <a:gd name="csY7" fmla="*/ 27535 h 2753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3733" h="27534">
                    <a:moveTo>
                      <a:pt x="9532" y="27535"/>
                    </a:moveTo>
                    <a:cubicBezTo>
                      <a:pt x="11152" y="27535"/>
                      <a:pt x="12771" y="27154"/>
                      <a:pt x="14295" y="26296"/>
                    </a:cubicBezTo>
                    <a:lnTo>
                      <a:pt x="28963" y="17819"/>
                    </a:lnTo>
                    <a:cubicBezTo>
                      <a:pt x="33535" y="15152"/>
                      <a:pt x="35059" y="9342"/>
                      <a:pt x="32488" y="4770"/>
                    </a:cubicBezTo>
                    <a:cubicBezTo>
                      <a:pt x="29821" y="198"/>
                      <a:pt x="24010" y="-1326"/>
                      <a:pt x="19438" y="1246"/>
                    </a:cubicBezTo>
                    <a:lnTo>
                      <a:pt x="4770" y="9723"/>
                    </a:lnTo>
                    <a:cubicBezTo>
                      <a:pt x="198" y="12390"/>
                      <a:pt x="-1326" y="18200"/>
                      <a:pt x="1246" y="22772"/>
                    </a:cubicBezTo>
                    <a:cubicBezTo>
                      <a:pt x="3055" y="25820"/>
                      <a:pt x="6199" y="27535"/>
                      <a:pt x="9532" y="27535"/>
                    </a:cubicBezTo>
                    <a:close/>
                  </a:path>
                </a:pathLst>
              </a:custGeom>
              <a:grpFill/>
              <a:ln w="9525" cap="flat">
                <a:noFill/>
                <a:prstDash val="solid"/>
                <a:miter/>
              </a:ln>
            </p:spPr>
            <p:txBody>
              <a:bodyPr/>
              <a:lstStyle/>
              <a:p>
                <a:endParaRPr lang="en-US"/>
              </a:p>
            </p:txBody>
          </p:sp>
          <p:sp>
            <p:nvSpPr>
              <p:cNvPr id="73" name="Freeform: Shape 72">
                <a:extLst>
                  <a:ext uri="{FF2B5EF4-FFF2-40B4-BE49-F238E27FC236}">
                    <a16:creationId xmlns:a16="http://schemas.microsoft.com/office/drawing/2014/main" id="{C19B0D42-4C1F-5CF6-9D7D-FD61629ABEF8}"/>
                  </a:ext>
                </a:extLst>
              </p:cNvPr>
              <p:cNvSpPr/>
              <p:nvPr/>
            </p:nvSpPr>
            <p:spPr>
              <a:xfrm>
                <a:off x="5970460" y="3426618"/>
                <a:ext cx="48672" cy="73152"/>
              </a:xfrm>
              <a:custGeom>
                <a:avLst/>
                <a:gdLst>
                  <a:gd name="csX0" fmla="*/ 0 w 48672"/>
                  <a:gd name="csY0" fmla="*/ 73152 h 73152"/>
                  <a:gd name="csX1" fmla="*/ 42196 w 48672"/>
                  <a:gd name="csY1" fmla="*/ 73152 h 73152"/>
                  <a:gd name="csX2" fmla="*/ 48673 w 48672"/>
                  <a:gd name="csY2" fmla="*/ 0 h 73152"/>
                  <a:gd name="csX3" fmla="*/ 13240 w 48672"/>
                  <a:gd name="csY3" fmla="*/ 0 h 73152"/>
                  <a:gd name="csX4" fmla="*/ 0 w 48672"/>
                  <a:gd name="csY4" fmla="*/ 73152 h 73152"/>
                </a:gdLst>
                <a:ahLst/>
                <a:cxnLst>
                  <a:cxn ang="0">
                    <a:pos x="csX0" y="csY0"/>
                  </a:cxn>
                  <a:cxn ang="0">
                    <a:pos x="csX1" y="csY1"/>
                  </a:cxn>
                  <a:cxn ang="0">
                    <a:pos x="csX2" y="csY2"/>
                  </a:cxn>
                  <a:cxn ang="0">
                    <a:pos x="csX3" y="csY3"/>
                  </a:cxn>
                  <a:cxn ang="0">
                    <a:pos x="csX4" y="csY4"/>
                  </a:cxn>
                </a:cxnLst>
                <a:rect l="l" t="t" r="r" b="b"/>
                <a:pathLst>
                  <a:path w="48672" h="73152">
                    <a:moveTo>
                      <a:pt x="0" y="73152"/>
                    </a:moveTo>
                    <a:lnTo>
                      <a:pt x="42196" y="73152"/>
                    </a:lnTo>
                    <a:cubicBezTo>
                      <a:pt x="42672" y="48292"/>
                      <a:pt x="44768" y="23241"/>
                      <a:pt x="48673" y="0"/>
                    </a:cubicBezTo>
                    <a:lnTo>
                      <a:pt x="13240" y="0"/>
                    </a:lnTo>
                    <a:cubicBezTo>
                      <a:pt x="5524" y="22003"/>
                      <a:pt x="953" y="46768"/>
                      <a:pt x="0" y="73152"/>
                    </a:cubicBezTo>
                    <a:close/>
                  </a:path>
                </a:pathLst>
              </a:custGeom>
              <a:grpFill/>
              <a:ln w="9525" cap="flat">
                <a:noFill/>
                <a:prstDash val="solid"/>
                <a:miter/>
              </a:ln>
            </p:spPr>
            <p:txBody>
              <a:bodyPr/>
              <a:lstStyle/>
              <a:p>
                <a:endParaRPr lang="en-US"/>
              </a:p>
            </p:txBody>
          </p:sp>
          <p:sp>
            <p:nvSpPr>
              <p:cNvPr id="74" name="Freeform: Shape 73">
                <a:extLst>
                  <a:ext uri="{FF2B5EF4-FFF2-40B4-BE49-F238E27FC236}">
                    <a16:creationId xmlns:a16="http://schemas.microsoft.com/office/drawing/2014/main" id="{36596241-24F1-AA74-0D2E-EA3B9BE073B9}"/>
                  </a:ext>
                </a:extLst>
              </p:cNvPr>
              <p:cNvSpPr/>
              <p:nvPr/>
            </p:nvSpPr>
            <p:spPr>
              <a:xfrm>
                <a:off x="5991510" y="3345465"/>
                <a:ext cx="52768" cy="62103"/>
              </a:xfrm>
              <a:custGeom>
                <a:avLst/>
                <a:gdLst>
                  <a:gd name="csX0" fmla="*/ 0 w 52768"/>
                  <a:gd name="csY0" fmla="*/ 62103 h 62103"/>
                  <a:gd name="csX1" fmla="*/ 31147 w 52768"/>
                  <a:gd name="csY1" fmla="*/ 62103 h 62103"/>
                  <a:gd name="csX2" fmla="*/ 52768 w 52768"/>
                  <a:gd name="csY2" fmla="*/ 0 h 62103"/>
                  <a:gd name="csX3" fmla="*/ 0 w 52768"/>
                  <a:gd name="csY3" fmla="*/ 62103 h 62103"/>
                </a:gdLst>
                <a:ahLst/>
                <a:cxnLst>
                  <a:cxn ang="0">
                    <a:pos x="csX0" y="csY0"/>
                  </a:cxn>
                  <a:cxn ang="0">
                    <a:pos x="csX1" y="csY1"/>
                  </a:cxn>
                  <a:cxn ang="0">
                    <a:pos x="csX2" y="csY2"/>
                  </a:cxn>
                  <a:cxn ang="0">
                    <a:pos x="csX3" y="csY3"/>
                  </a:cxn>
                </a:cxnLst>
                <a:rect l="l" t="t" r="r" b="b"/>
                <a:pathLst>
                  <a:path w="52768" h="62103">
                    <a:moveTo>
                      <a:pt x="0" y="62103"/>
                    </a:moveTo>
                    <a:lnTo>
                      <a:pt x="31147" y="62103"/>
                    </a:lnTo>
                    <a:cubicBezTo>
                      <a:pt x="36385" y="37719"/>
                      <a:pt x="43625" y="16097"/>
                      <a:pt x="52768" y="0"/>
                    </a:cubicBezTo>
                    <a:cubicBezTo>
                      <a:pt x="31432" y="12192"/>
                      <a:pt x="13144" y="34004"/>
                      <a:pt x="0" y="62103"/>
                    </a:cubicBezTo>
                    <a:close/>
                  </a:path>
                </a:pathLst>
              </a:custGeom>
              <a:grpFill/>
              <a:ln w="9525" cap="flat">
                <a:noFill/>
                <a:prstDash val="solid"/>
                <a:miter/>
              </a:ln>
            </p:spPr>
            <p:txBody>
              <a:bodyPr/>
              <a:lstStyle/>
              <a:p>
                <a:endParaRPr lang="en-US"/>
              </a:p>
            </p:txBody>
          </p:sp>
          <p:sp>
            <p:nvSpPr>
              <p:cNvPr id="75" name="Freeform: Shape 74">
                <a:extLst>
                  <a:ext uri="{FF2B5EF4-FFF2-40B4-BE49-F238E27FC236}">
                    <a16:creationId xmlns:a16="http://schemas.microsoft.com/office/drawing/2014/main" id="{ACC9DEBB-CF31-B945-BCC2-5BC4FF282DB4}"/>
                  </a:ext>
                </a:extLst>
              </p:cNvPr>
              <p:cNvSpPr/>
              <p:nvPr/>
            </p:nvSpPr>
            <p:spPr>
              <a:xfrm>
                <a:off x="5991606" y="3611022"/>
                <a:ext cx="52768" cy="62103"/>
              </a:xfrm>
              <a:custGeom>
                <a:avLst/>
                <a:gdLst>
                  <a:gd name="csX0" fmla="*/ 52768 w 52768"/>
                  <a:gd name="csY0" fmla="*/ 62103 h 62103"/>
                  <a:gd name="csX1" fmla="*/ 31147 w 52768"/>
                  <a:gd name="csY1" fmla="*/ 0 h 62103"/>
                  <a:gd name="csX2" fmla="*/ 0 w 52768"/>
                  <a:gd name="csY2" fmla="*/ 0 h 62103"/>
                  <a:gd name="csX3" fmla="*/ 52768 w 52768"/>
                  <a:gd name="csY3" fmla="*/ 62103 h 62103"/>
                </a:gdLst>
                <a:ahLst/>
                <a:cxnLst>
                  <a:cxn ang="0">
                    <a:pos x="csX0" y="csY0"/>
                  </a:cxn>
                  <a:cxn ang="0">
                    <a:pos x="csX1" y="csY1"/>
                  </a:cxn>
                  <a:cxn ang="0">
                    <a:pos x="csX2" y="csY2"/>
                  </a:cxn>
                  <a:cxn ang="0">
                    <a:pos x="csX3" y="csY3"/>
                  </a:cxn>
                </a:cxnLst>
                <a:rect l="l" t="t" r="r" b="b"/>
                <a:pathLst>
                  <a:path w="52768" h="62103">
                    <a:moveTo>
                      <a:pt x="52768" y="62103"/>
                    </a:moveTo>
                    <a:cubicBezTo>
                      <a:pt x="43625" y="46006"/>
                      <a:pt x="36385" y="24384"/>
                      <a:pt x="31147" y="0"/>
                    </a:cubicBezTo>
                    <a:lnTo>
                      <a:pt x="0" y="0"/>
                    </a:lnTo>
                    <a:cubicBezTo>
                      <a:pt x="13049" y="28099"/>
                      <a:pt x="31337" y="49911"/>
                      <a:pt x="52768" y="62103"/>
                    </a:cubicBezTo>
                    <a:close/>
                  </a:path>
                </a:pathLst>
              </a:custGeom>
              <a:grpFill/>
              <a:ln w="9525" cap="flat">
                <a:noFill/>
                <a:prstDash val="solid"/>
                <a:miter/>
              </a:ln>
            </p:spPr>
            <p:txBody>
              <a:bodyPr/>
              <a:lstStyle/>
              <a:p>
                <a:endParaRPr lang="en-US"/>
              </a:p>
            </p:txBody>
          </p:sp>
          <p:sp>
            <p:nvSpPr>
              <p:cNvPr id="76" name="Freeform: Shape 75">
                <a:extLst>
                  <a:ext uri="{FF2B5EF4-FFF2-40B4-BE49-F238E27FC236}">
                    <a16:creationId xmlns:a16="http://schemas.microsoft.com/office/drawing/2014/main" id="{E56639E6-B6A6-0CCB-D9BF-A0D1B760D3A0}"/>
                  </a:ext>
                </a:extLst>
              </p:cNvPr>
              <p:cNvSpPr/>
              <p:nvPr/>
            </p:nvSpPr>
            <p:spPr>
              <a:xfrm>
                <a:off x="5970460" y="3518820"/>
                <a:ext cx="48672" cy="73152"/>
              </a:xfrm>
              <a:custGeom>
                <a:avLst/>
                <a:gdLst>
                  <a:gd name="csX0" fmla="*/ 13240 w 48672"/>
                  <a:gd name="csY0" fmla="*/ 73152 h 73152"/>
                  <a:gd name="csX1" fmla="*/ 48673 w 48672"/>
                  <a:gd name="csY1" fmla="*/ 73152 h 73152"/>
                  <a:gd name="csX2" fmla="*/ 42196 w 48672"/>
                  <a:gd name="csY2" fmla="*/ 0 h 73152"/>
                  <a:gd name="csX3" fmla="*/ 0 w 48672"/>
                  <a:gd name="csY3" fmla="*/ 0 h 73152"/>
                  <a:gd name="csX4" fmla="*/ 13240 w 48672"/>
                  <a:gd name="csY4" fmla="*/ 73152 h 73152"/>
                </a:gdLst>
                <a:ahLst/>
                <a:cxnLst>
                  <a:cxn ang="0">
                    <a:pos x="csX0" y="csY0"/>
                  </a:cxn>
                  <a:cxn ang="0">
                    <a:pos x="csX1" y="csY1"/>
                  </a:cxn>
                  <a:cxn ang="0">
                    <a:pos x="csX2" y="csY2"/>
                  </a:cxn>
                  <a:cxn ang="0">
                    <a:pos x="csX3" y="csY3"/>
                  </a:cxn>
                  <a:cxn ang="0">
                    <a:pos x="csX4" y="csY4"/>
                  </a:cxn>
                </a:cxnLst>
                <a:rect l="l" t="t" r="r" b="b"/>
                <a:pathLst>
                  <a:path w="48672" h="73152">
                    <a:moveTo>
                      <a:pt x="13240" y="73152"/>
                    </a:moveTo>
                    <a:lnTo>
                      <a:pt x="48673" y="73152"/>
                    </a:lnTo>
                    <a:cubicBezTo>
                      <a:pt x="44863" y="49911"/>
                      <a:pt x="42672" y="24860"/>
                      <a:pt x="42196" y="0"/>
                    </a:cubicBezTo>
                    <a:lnTo>
                      <a:pt x="0" y="0"/>
                    </a:lnTo>
                    <a:cubicBezTo>
                      <a:pt x="953" y="26289"/>
                      <a:pt x="5524" y="51149"/>
                      <a:pt x="13240" y="73152"/>
                    </a:cubicBezTo>
                    <a:close/>
                  </a:path>
                </a:pathLst>
              </a:custGeom>
              <a:grpFill/>
              <a:ln w="9525" cap="flat">
                <a:noFill/>
                <a:prstDash val="solid"/>
                <a:miter/>
              </a:ln>
            </p:spPr>
            <p:txBody>
              <a:bodyPr/>
              <a:lstStyle/>
              <a:p>
                <a:endParaRPr lang="en-US"/>
              </a:p>
            </p:txBody>
          </p:sp>
          <p:sp>
            <p:nvSpPr>
              <p:cNvPr id="77" name="Freeform: Shape 76">
                <a:extLst>
                  <a:ext uri="{FF2B5EF4-FFF2-40B4-BE49-F238E27FC236}">
                    <a16:creationId xmlns:a16="http://schemas.microsoft.com/office/drawing/2014/main" id="{C0A9AF42-A23D-61FE-B79E-2D3B7376E477}"/>
                  </a:ext>
                </a:extLst>
              </p:cNvPr>
              <p:cNvSpPr/>
              <p:nvPr/>
            </p:nvSpPr>
            <p:spPr>
              <a:xfrm>
                <a:off x="6031801" y="3518820"/>
                <a:ext cx="103536" cy="73152"/>
              </a:xfrm>
              <a:custGeom>
                <a:avLst/>
                <a:gdLst>
                  <a:gd name="csX0" fmla="*/ 6572 w 103536"/>
                  <a:gd name="csY0" fmla="*/ 73152 h 73152"/>
                  <a:gd name="csX1" fmla="*/ 97060 w 103536"/>
                  <a:gd name="csY1" fmla="*/ 73152 h 73152"/>
                  <a:gd name="csX2" fmla="*/ 103537 w 103536"/>
                  <a:gd name="csY2" fmla="*/ 0 h 73152"/>
                  <a:gd name="csX3" fmla="*/ 0 w 103536"/>
                  <a:gd name="csY3" fmla="*/ 0 h 73152"/>
                  <a:gd name="csX4" fmla="*/ 6572 w 103536"/>
                  <a:gd name="csY4" fmla="*/ 73152 h 73152"/>
                </a:gdLst>
                <a:ahLst/>
                <a:cxnLst>
                  <a:cxn ang="0">
                    <a:pos x="csX0" y="csY0"/>
                  </a:cxn>
                  <a:cxn ang="0">
                    <a:pos x="csX1" y="csY1"/>
                  </a:cxn>
                  <a:cxn ang="0">
                    <a:pos x="csX2" y="csY2"/>
                  </a:cxn>
                  <a:cxn ang="0">
                    <a:pos x="csX3" y="csY3"/>
                  </a:cxn>
                  <a:cxn ang="0">
                    <a:pos x="csX4" y="csY4"/>
                  </a:cxn>
                </a:cxnLst>
                <a:rect l="l" t="t" r="r" b="b"/>
                <a:pathLst>
                  <a:path w="103536" h="73152">
                    <a:moveTo>
                      <a:pt x="6572" y="73152"/>
                    </a:moveTo>
                    <a:lnTo>
                      <a:pt x="97060" y="73152"/>
                    </a:lnTo>
                    <a:cubicBezTo>
                      <a:pt x="100775" y="51911"/>
                      <a:pt x="103156" y="27337"/>
                      <a:pt x="103537" y="0"/>
                    </a:cubicBezTo>
                    <a:lnTo>
                      <a:pt x="0" y="0"/>
                    </a:lnTo>
                    <a:cubicBezTo>
                      <a:pt x="476" y="27337"/>
                      <a:pt x="2857" y="51911"/>
                      <a:pt x="6572" y="73152"/>
                    </a:cubicBezTo>
                    <a:close/>
                  </a:path>
                </a:pathLst>
              </a:custGeom>
              <a:grpFill/>
              <a:ln w="9525" cap="flat">
                <a:noFill/>
                <a:prstDash val="solid"/>
                <a:miter/>
              </a:ln>
            </p:spPr>
            <p:txBody>
              <a:bodyPr/>
              <a:lstStyle/>
              <a:p>
                <a:endParaRPr lang="en-US"/>
              </a:p>
            </p:txBody>
          </p:sp>
          <p:sp>
            <p:nvSpPr>
              <p:cNvPr id="78" name="Freeform: Shape 77">
                <a:extLst>
                  <a:ext uri="{FF2B5EF4-FFF2-40B4-BE49-F238E27FC236}">
                    <a16:creationId xmlns:a16="http://schemas.microsoft.com/office/drawing/2014/main" id="{FCA7F264-9394-B441-1441-E092CC0BEF0A}"/>
                  </a:ext>
                </a:extLst>
              </p:cNvPr>
              <p:cNvSpPr/>
              <p:nvPr/>
            </p:nvSpPr>
            <p:spPr>
              <a:xfrm>
                <a:off x="6148101" y="3426618"/>
                <a:ext cx="48672" cy="73152"/>
              </a:xfrm>
              <a:custGeom>
                <a:avLst/>
                <a:gdLst>
                  <a:gd name="csX0" fmla="*/ 35433 w 48672"/>
                  <a:gd name="csY0" fmla="*/ 0 h 73152"/>
                  <a:gd name="csX1" fmla="*/ 0 w 48672"/>
                  <a:gd name="csY1" fmla="*/ 0 h 73152"/>
                  <a:gd name="csX2" fmla="*/ 6477 w 48672"/>
                  <a:gd name="csY2" fmla="*/ 73152 h 73152"/>
                  <a:gd name="csX3" fmla="*/ 48673 w 48672"/>
                  <a:gd name="csY3" fmla="*/ 73152 h 73152"/>
                  <a:gd name="csX4" fmla="*/ 35433 w 48672"/>
                  <a:gd name="csY4" fmla="*/ 0 h 73152"/>
                </a:gdLst>
                <a:ahLst/>
                <a:cxnLst>
                  <a:cxn ang="0">
                    <a:pos x="csX0" y="csY0"/>
                  </a:cxn>
                  <a:cxn ang="0">
                    <a:pos x="csX1" y="csY1"/>
                  </a:cxn>
                  <a:cxn ang="0">
                    <a:pos x="csX2" y="csY2"/>
                  </a:cxn>
                  <a:cxn ang="0">
                    <a:pos x="csX3" y="csY3"/>
                  </a:cxn>
                  <a:cxn ang="0">
                    <a:pos x="csX4" y="csY4"/>
                  </a:cxn>
                </a:cxnLst>
                <a:rect l="l" t="t" r="r" b="b"/>
                <a:pathLst>
                  <a:path w="48672" h="73152">
                    <a:moveTo>
                      <a:pt x="35433" y="0"/>
                    </a:moveTo>
                    <a:lnTo>
                      <a:pt x="0" y="0"/>
                    </a:lnTo>
                    <a:cubicBezTo>
                      <a:pt x="3810" y="23241"/>
                      <a:pt x="6001" y="48292"/>
                      <a:pt x="6477" y="73152"/>
                    </a:cubicBezTo>
                    <a:lnTo>
                      <a:pt x="48673" y="73152"/>
                    </a:lnTo>
                    <a:cubicBezTo>
                      <a:pt x="47720" y="46768"/>
                      <a:pt x="43053" y="22003"/>
                      <a:pt x="35433" y="0"/>
                    </a:cubicBezTo>
                    <a:close/>
                  </a:path>
                </a:pathLst>
              </a:custGeom>
              <a:grpFill/>
              <a:ln w="9525" cap="flat">
                <a:noFill/>
                <a:prstDash val="solid"/>
                <a:miter/>
              </a:ln>
            </p:spPr>
            <p:txBody>
              <a:bodyPr/>
              <a:lstStyle/>
              <a:p>
                <a:endParaRPr lang="en-US"/>
              </a:p>
            </p:txBody>
          </p:sp>
          <p:sp>
            <p:nvSpPr>
              <p:cNvPr id="79" name="Freeform: Shape 78">
                <a:extLst>
                  <a:ext uri="{FF2B5EF4-FFF2-40B4-BE49-F238E27FC236}">
                    <a16:creationId xmlns:a16="http://schemas.microsoft.com/office/drawing/2014/main" id="{292E5849-CB22-656D-8197-DFFDB44F1F88}"/>
                  </a:ext>
                </a:extLst>
              </p:cNvPr>
              <p:cNvSpPr/>
              <p:nvPr/>
            </p:nvSpPr>
            <p:spPr>
              <a:xfrm>
                <a:off x="6031896" y="3426618"/>
                <a:ext cx="103536" cy="73152"/>
              </a:xfrm>
              <a:custGeom>
                <a:avLst/>
                <a:gdLst>
                  <a:gd name="csX0" fmla="*/ 96965 w 103536"/>
                  <a:gd name="csY0" fmla="*/ 0 h 73152"/>
                  <a:gd name="csX1" fmla="*/ 6477 w 103536"/>
                  <a:gd name="csY1" fmla="*/ 0 h 73152"/>
                  <a:gd name="csX2" fmla="*/ 0 w 103536"/>
                  <a:gd name="csY2" fmla="*/ 73152 h 73152"/>
                  <a:gd name="csX3" fmla="*/ 103537 w 103536"/>
                  <a:gd name="csY3" fmla="*/ 73152 h 73152"/>
                  <a:gd name="csX4" fmla="*/ 96965 w 103536"/>
                  <a:gd name="csY4" fmla="*/ 0 h 73152"/>
                </a:gdLst>
                <a:ahLst/>
                <a:cxnLst>
                  <a:cxn ang="0">
                    <a:pos x="csX0" y="csY0"/>
                  </a:cxn>
                  <a:cxn ang="0">
                    <a:pos x="csX1" y="csY1"/>
                  </a:cxn>
                  <a:cxn ang="0">
                    <a:pos x="csX2" y="csY2"/>
                  </a:cxn>
                  <a:cxn ang="0">
                    <a:pos x="csX3" y="csY3"/>
                  </a:cxn>
                  <a:cxn ang="0">
                    <a:pos x="csX4" y="csY4"/>
                  </a:cxn>
                </a:cxnLst>
                <a:rect l="l" t="t" r="r" b="b"/>
                <a:pathLst>
                  <a:path w="103536" h="73152">
                    <a:moveTo>
                      <a:pt x="96965" y="0"/>
                    </a:moveTo>
                    <a:lnTo>
                      <a:pt x="6477" y="0"/>
                    </a:lnTo>
                    <a:cubicBezTo>
                      <a:pt x="2762" y="21241"/>
                      <a:pt x="381" y="45815"/>
                      <a:pt x="0" y="73152"/>
                    </a:cubicBezTo>
                    <a:lnTo>
                      <a:pt x="103537" y="73152"/>
                    </a:lnTo>
                    <a:cubicBezTo>
                      <a:pt x="103061" y="45720"/>
                      <a:pt x="100679" y="21241"/>
                      <a:pt x="96965" y="0"/>
                    </a:cubicBezTo>
                    <a:close/>
                  </a:path>
                </a:pathLst>
              </a:custGeom>
              <a:grpFill/>
              <a:ln w="9525" cap="flat">
                <a:noFill/>
                <a:prstDash val="solid"/>
                <a:miter/>
              </a:ln>
            </p:spPr>
            <p:txBody>
              <a:bodyPr/>
              <a:lstStyle/>
              <a:p>
                <a:endParaRPr lang="en-US"/>
              </a:p>
            </p:txBody>
          </p:sp>
          <p:sp>
            <p:nvSpPr>
              <p:cNvPr id="80" name="Freeform: Shape 79">
                <a:extLst>
                  <a:ext uri="{FF2B5EF4-FFF2-40B4-BE49-F238E27FC236}">
                    <a16:creationId xmlns:a16="http://schemas.microsoft.com/office/drawing/2014/main" id="{1611770C-556A-1F1A-0B11-28A8BD4EA04D}"/>
                  </a:ext>
                </a:extLst>
              </p:cNvPr>
              <p:cNvSpPr/>
              <p:nvPr/>
            </p:nvSpPr>
            <p:spPr>
              <a:xfrm>
                <a:off x="6042183" y="3611022"/>
                <a:ext cx="82962" cy="73152"/>
              </a:xfrm>
              <a:custGeom>
                <a:avLst/>
                <a:gdLst>
                  <a:gd name="csX0" fmla="*/ 41434 w 82962"/>
                  <a:gd name="csY0" fmla="*/ 73152 h 73152"/>
                  <a:gd name="csX1" fmla="*/ 82963 w 82962"/>
                  <a:gd name="csY1" fmla="*/ 0 h 73152"/>
                  <a:gd name="csX2" fmla="*/ 0 w 82962"/>
                  <a:gd name="csY2" fmla="*/ 0 h 73152"/>
                  <a:gd name="csX3" fmla="*/ 41434 w 82962"/>
                  <a:gd name="csY3" fmla="*/ 73152 h 73152"/>
                </a:gdLst>
                <a:ahLst/>
                <a:cxnLst>
                  <a:cxn ang="0">
                    <a:pos x="csX0" y="csY0"/>
                  </a:cxn>
                  <a:cxn ang="0">
                    <a:pos x="csX1" y="csY1"/>
                  </a:cxn>
                  <a:cxn ang="0">
                    <a:pos x="csX2" y="csY2"/>
                  </a:cxn>
                  <a:cxn ang="0">
                    <a:pos x="csX3" y="csY3"/>
                  </a:cxn>
                </a:cxnLst>
                <a:rect l="l" t="t" r="r" b="b"/>
                <a:pathLst>
                  <a:path w="82962" h="73152">
                    <a:moveTo>
                      <a:pt x="41434" y="73152"/>
                    </a:moveTo>
                    <a:cubicBezTo>
                      <a:pt x="55150" y="73152"/>
                      <a:pt x="72200" y="46672"/>
                      <a:pt x="82963" y="0"/>
                    </a:cubicBezTo>
                    <a:lnTo>
                      <a:pt x="0" y="0"/>
                    </a:lnTo>
                    <a:cubicBezTo>
                      <a:pt x="10668" y="46672"/>
                      <a:pt x="27718" y="73152"/>
                      <a:pt x="41434" y="73152"/>
                    </a:cubicBezTo>
                    <a:close/>
                  </a:path>
                </a:pathLst>
              </a:custGeom>
              <a:grpFill/>
              <a:ln w="9525" cap="flat">
                <a:noFill/>
                <a:prstDash val="solid"/>
                <a:miter/>
              </a:ln>
            </p:spPr>
            <p:txBody>
              <a:bodyPr/>
              <a:lstStyle/>
              <a:p>
                <a:endParaRPr lang="en-US"/>
              </a:p>
            </p:txBody>
          </p:sp>
          <p:sp>
            <p:nvSpPr>
              <p:cNvPr id="81" name="Freeform: Shape 80">
                <a:extLst>
                  <a:ext uri="{FF2B5EF4-FFF2-40B4-BE49-F238E27FC236}">
                    <a16:creationId xmlns:a16="http://schemas.microsoft.com/office/drawing/2014/main" id="{DD356776-B787-8BD2-3E93-BE9E17425355}"/>
                  </a:ext>
                </a:extLst>
              </p:cNvPr>
              <p:cNvSpPr/>
              <p:nvPr/>
            </p:nvSpPr>
            <p:spPr>
              <a:xfrm>
                <a:off x="6122955" y="3345465"/>
                <a:ext cx="52768" cy="62103"/>
              </a:xfrm>
              <a:custGeom>
                <a:avLst/>
                <a:gdLst>
                  <a:gd name="csX0" fmla="*/ 52768 w 52768"/>
                  <a:gd name="csY0" fmla="*/ 62103 h 62103"/>
                  <a:gd name="csX1" fmla="*/ 0 w 52768"/>
                  <a:gd name="csY1" fmla="*/ 0 h 62103"/>
                  <a:gd name="csX2" fmla="*/ 21622 w 52768"/>
                  <a:gd name="csY2" fmla="*/ 62103 h 62103"/>
                </a:gdLst>
                <a:ahLst/>
                <a:cxnLst>
                  <a:cxn ang="0">
                    <a:pos x="csX0" y="csY0"/>
                  </a:cxn>
                  <a:cxn ang="0">
                    <a:pos x="csX1" y="csY1"/>
                  </a:cxn>
                  <a:cxn ang="0">
                    <a:pos x="csX2" y="csY2"/>
                  </a:cxn>
                </a:cxnLst>
                <a:rect l="l" t="t" r="r" b="b"/>
                <a:pathLst>
                  <a:path w="52768" h="62103">
                    <a:moveTo>
                      <a:pt x="52768" y="62103"/>
                    </a:moveTo>
                    <a:cubicBezTo>
                      <a:pt x="39719" y="34004"/>
                      <a:pt x="21336" y="12192"/>
                      <a:pt x="0" y="0"/>
                    </a:cubicBezTo>
                    <a:cubicBezTo>
                      <a:pt x="9144" y="16097"/>
                      <a:pt x="16383" y="37719"/>
                      <a:pt x="21622" y="62103"/>
                    </a:cubicBezTo>
                    <a:close/>
                  </a:path>
                </a:pathLst>
              </a:custGeom>
              <a:grpFill/>
              <a:ln w="9525" cap="flat">
                <a:noFill/>
                <a:prstDash val="solid"/>
                <a:miter/>
              </a:ln>
            </p:spPr>
            <p:txBody>
              <a:bodyPr/>
              <a:lstStyle/>
              <a:p>
                <a:endParaRPr lang="en-US"/>
              </a:p>
            </p:txBody>
          </p:sp>
          <p:sp>
            <p:nvSpPr>
              <p:cNvPr id="83" name="Freeform: Shape 82">
                <a:extLst>
                  <a:ext uri="{FF2B5EF4-FFF2-40B4-BE49-F238E27FC236}">
                    <a16:creationId xmlns:a16="http://schemas.microsoft.com/office/drawing/2014/main" id="{44065654-4414-FE09-39DA-D60D2DD2DBEC}"/>
                  </a:ext>
                </a:extLst>
              </p:cNvPr>
              <p:cNvSpPr/>
              <p:nvPr/>
            </p:nvSpPr>
            <p:spPr>
              <a:xfrm>
                <a:off x="6042088" y="3334416"/>
                <a:ext cx="82962" cy="73152"/>
              </a:xfrm>
              <a:custGeom>
                <a:avLst/>
                <a:gdLst>
                  <a:gd name="csX0" fmla="*/ 41529 w 82962"/>
                  <a:gd name="csY0" fmla="*/ 0 h 73152"/>
                  <a:gd name="csX1" fmla="*/ 0 w 82962"/>
                  <a:gd name="csY1" fmla="*/ 73152 h 73152"/>
                  <a:gd name="csX2" fmla="*/ 82963 w 82962"/>
                  <a:gd name="csY2" fmla="*/ 73152 h 73152"/>
                  <a:gd name="csX3" fmla="*/ 41529 w 82962"/>
                  <a:gd name="csY3" fmla="*/ 0 h 73152"/>
                </a:gdLst>
                <a:ahLst/>
                <a:cxnLst>
                  <a:cxn ang="0">
                    <a:pos x="csX0" y="csY0"/>
                  </a:cxn>
                  <a:cxn ang="0">
                    <a:pos x="csX1" y="csY1"/>
                  </a:cxn>
                  <a:cxn ang="0">
                    <a:pos x="csX2" y="csY2"/>
                  </a:cxn>
                  <a:cxn ang="0">
                    <a:pos x="csX3" y="csY3"/>
                  </a:cxn>
                </a:cxnLst>
                <a:rect l="l" t="t" r="r" b="b"/>
                <a:pathLst>
                  <a:path w="82962" h="73152">
                    <a:moveTo>
                      <a:pt x="41529" y="0"/>
                    </a:moveTo>
                    <a:cubicBezTo>
                      <a:pt x="27813" y="0"/>
                      <a:pt x="10763" y="26480"/>
                      <a:pt x="0" y="73152"/>
                    </a:cubicBezTo>
                    <a:lnTo>
                      <a:pt x="82963" y="73152"/>
                    </a:lnTo>
                    <a:cubicBezTo>
                      <a:pt x="72295" y="26480"/>
                      <a:pt x="55245" y="0"/>
                      <a:pt x="41529" y="0"/>
                    </a:cubicBezTo>
                    <a:close/>
                  </a:path>
                </a:pathLst>
              </a:custGeom>
              <a:grpFill/>
              <a:ln w="9525" cap="flat">
                <a:noFill/>
                <a:prstDash val="solid"/>
                <a:miter/>
              </a:ln>
            </p:spPr>
            <p:txBody>
              <a:bodyPr/>
              <a:lstStyle/>
              <a:p>
                <a:endParaRPr lang="en-US"/>
              </a:p>
            </p:txBody>
          </p:sp>
          <p:sp>
            <p:nvSpPr>
              <p:cNvPr id="86" name="Freeform: Shape 85">
                <a:extLst>
                  <a:ext uri="{FF2B5EF4-FFF2-40B4-BE49-F238E27FC236}">
                    <a16:creationId xmlns:a16="http://schemas.microsoft.com/office/drawing/2014/main" id="{C396DD6C-8953-5C98-DAB9-3AFA97175EB7}"/>
                  </a:ext>
                </a:extLst>
              </p:cNvPr>
              <p:cNvSpPr/>
              <p:nvPr/>
            </p:nvSpPr>
            <p:spPr>
              <a:xfrm>
                <a:off x="6083617" y="3315271"/>
                <a:ext cx="168020" cy="97535"/>
              </a:xfrm>
              <a:custGeom>
                <a:avLst/>
                <a:gdLst>
                  <a:gd name="csX0" fmla="*/ 4477 w 168020"/>
                  <a:gd name="csY0" fmla="*/ 381 h 97535"/>
                  <a:gd name="csX1" fmla="*/ 112586 w 168020"/>
                  <a:gd name="csY1" fmla="*/ 92297 h 97535"/>
                  <a:gd name="csX2" fmla="*/ 159639 w 168020"/>
                  <a:gd name="csY2" fmla="*/ 92297 h 97535"/>
                  <a:gd name="csX3" fmla="*/ 168021 w 168020"/>
                  <a:gd name="csY3" fmla="*/ 97536 h 97535"/>
                  <a:gd name="csX4" fmla="*/ 0 w 168020"/>
                  <a:gd name="csY4" fmla="*/ 0 h 97535"/>
                  <a:gd name="csX5" fmla="*/ 4477 w 168020"/>
                  <a:gd name="csY5" fmla="*/ 381 h 97535"/>
                </a:gdLst>
                <a:ahLst/>
                <a:cxnLst>
                  <a:cxn ang="0">
                    <a:pos x="csX0" y="csY0"/>
                  </a:cxn>
                  <a:cxn ang="0">
                    <a:pos x="csX1" y="csY1"/>
                  </a:cxn>
                  <a:cxn ang="0">
                    <a:pos x="csX2" y="csY2"/>
                  </a:cxn>
                  <a:cxn ang="0">
                    <a:pos x="csX3" y="csY3"/>
                  </a:cxn>
                  <a:cxn ang="0">
                    <a:pos x="csX4" y="csY4"/>
                  </a:cxn>
                  <a:cxn ang="0">
                    <a:pos x="csX5" y="csY5"/>
                  </a:cxn>
                </a:cxnLst>
                <a:rect l="l" t="t" r="r" b="b"/>
                <a:pathLst>
                  <a:path w="168020" h="97535">
                    <a:moveTo>
                      <a:pt x="4477" y="381"/>
                    </a:moveTo>
                    <a:cubicBezTo>
                      <a:pt x="50197" y="2667"/>
                      <a:pt x="89916" y="38767"/>
                      <a:pt x="112586" y="92297"/>
                    </a:cubicBezTo>
                    <a:lnTo>
                      <a:pt x="159639" y="92297"/>
                    </a:lnTo>
                    <a:cubicBezTo>
                      <a:pt x="163354" y="92297"/>
                      <a:pt x="166497" y="94488"/>
                      <a:pt x="168021" y="97536"/>
                    </a:cubicBezTo>
                    <a:cubicBezTo>
                      <a:pt x="134493" y="39338"/>
                      <a:pt x="71819" y="0"/>
                      <a:pt x="0" y="0"/>
                    </a:cubicBezTo>
                    <a:cubicBezTo>
                      <a:pt x="1524" y="95"/>
                      <a:pt x="2953" y="191"/>
                      <a:pt x="4477" y="381"/>
                    </a:cubicBezTo>
                    <a:close/>
                  </a:path>
                </a:pathLst>
              </a:custGeom>
              <a:grpFill/>
              <a:ln w="9525" cap="flat">
                <a:noFill/>
                <a:prstDash val="solid"/>
                <a:miter/>
              </a:ln>
            </p:spPr>
            <p:txBody>
              <a:bodyPr/>
              <a:lstStyle/>
              <a:p>
                <a:endParaRPr lang="en-US"/>
              </a:p>
            </p:txBody>
          </p:sp>
          <p:sp>
            <p:nvSpPr>
              <p:cNvPr id="87" name="Freeform: Shape 86">
                <a:extLst>
                  <a:ext uri="{FF2B5EF4-FFF2-40B4-BE49-F238E27FC236}">
                    <a16:creationId xmlns:a16="http://schemas.microsoft.com/office/drawing/2014/main" id="{BDE919E0-4EB3-2584-61F2-609A2F5092FF}"/>
                  </a:ext>
                </a:extLst>
              </p:cNvPr>
              <p:cNvSpPr/>
              <p:nvPr/>
            </p:nvSpPr>
            <p:spPr>
              <a:xfrm>
                <a:off x="5889593" y="3509295"/>
                <a:ext cx="74294" cy="95821"/>
              </a:xfrm>
              <a:custGeom>
                <a:avLst/>
                <a:gdLst>
                  <a:gd name="csX0" fmla="*/ 34385 w 74294"/>
                  <a:gd name="csY0" fmla="*/ 82677 h 95821"/>
                  <a:gd name="csX1" fmla="*/ 74295 w 74294"/>
                  <a:gd name="csY1" fmla="*/ 82677 h 95821"/>
                  <a:gd name="csX2" fmla="*/ 61817 w 74294"/>
                  <a:gd name="csY2" fmla="*/ 9525 h 95821"/>
                  <a:gd name="csX3" fmla="*/ 9525 w 74294"/>
                  <a:gd name="csY3" fmla="*/ 9525 h 95821"/>
                  <a:gd name="csX4" fmla="*/ 0 w 74294"/>
                  <a:gd name="csY4" fmla="*/ 0 h 95821"/>
                  <a:gd name="csX5" fmla="*/ 25527 w 74294"/>
                  <a:gd name="csY5" fmla="*/ 95822 h 95821"/>
                  <a:gd name="csX6" fmla="*/ 24765 w 74294"/>
                  <a:gd name="csY6" fmla="*/ 92202 h 95821"/>
                  <a:gd name="csX7" fmla="*/ 34385 w 74294"/>
                  <a:gd name="csY7" fmla="*/ 82677 h 9582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74294" h="95821">
                    <a:moveTo>
                      <a:pt x="34385" y="82677"/>
                    </a:moveTo>
                    <a:lnTo>
                      <a:pt x="74295" y="82677"/>
                    </a:lnTo>
                    <a:cubicBezTo>
                      <a:pt x="67056" y="60293"/>
                      <a:pt x="62675" y="35623"/>
                      <a:pt x="61817" y="9525"/>
                    </a:cubicBezTo>
                    <a:lnTo>
                      <a:pt x="9525" y="9525"/>
                    </a:lnTo>
                    <a:cubicBezTo>
                      <a:pt x="4286" y="9525"/>
                      <a:pt x="0" y="5239"/>
                      <a:pt x="0" y="0"/>
                    </a:cubicBezTo>
                    <a:cubicBezTo>
                      <a:pt x="0" y="34862"/>
                      <a:pt x="9335" y="67532"/>
                      <a:pt x="25527" y="95822"/>
                    </a:cubicBezTo>
                    <a:cubicBezTo>
                      <a:pt x="25051" y="94678"/>
                      <a:pt x="24765" y="93440"/>
                      <a:pt x="24765" y="92202"/>
                    </a:cubicBezTo>
                    <a:cubicBezTo>
                      <a:pt x="24860" y="86963"/>
                      <a:pt x="29147" y="82677"/>
                      <a:pt x="34385" y="82677"/>
                    </a:cubicBezTo>
                    <a:close/>
                  </a:path>
                </a:pathLst>
              </a:custGeom>
              <a:grpFill/>
              <a:ln w="9525" cap="flat">
                <a:noFill/>
                <a:prstDash val="solid"/>
                <a:miter/>
              </a:ln>
            </p:spPr>
            <p:txBody>
              <a:bodyPr/>
              <a:lstStyle/>
              <a:p>
                <a:endParaRPr lang="en-US"/>
              </a:p>
            </p:txBody>
          </p:sp>
          <p:sp>
            <p:nvSpPr>
              <p:cNvPr id="88" name="Freeform: Shape 87">
                <a:extLst>
                  <a:ext uri="{FF2B5EF4-FFF2-40B4-BE49-F238E27FC236}">
                    <a16:creationId xmlns:a16="http://schemas.microsoft.com/office/drawing/2014/main" id="{CC6BD35F-A688-75CD-E6B1-D3F121B46AF0}"/>
                  </a:ext>
                </a:extLst>
              </p:cNvPr>
              <p:cNvSpPr/>
              <p:nvPr/>
            </p:nvSpPr>
            <p:spPr>
              <a:xfrm>
                <a:off x="5915501" y="3605688"/>
                <a:ext cx="168021" cy="97536"/>
              </a:xfrm>
              <a:custGeom>
                <a:avLst/>
                <a:gdLst>
                  <a:gd name="csX0" fmla="*/ 55531 w 168021"/>
                  <a:gd name="csY0" fmla="*/ 5334 h 97536"/>
                  <a:gd name="csX1" fmla="*/ 8477 w 168021"/>
                  <a:gd name="csY1" fmla="*/ 5334 h 97536"/>
                  <a:gd name="csX2" fmla="*/ 0 w 168021"/>
                  <a:gd name="csY2" fmla="*/ 0 h 97536"/>
                  <a:gd name="csX3" fmla="*/ 168021 w 168021"/>
                  <a:gd name="csY3" fmla="*/ 97536 h 97536"/>
                  <a:gd name="csX4" fmla="*/ 163544 w 168021"/>
                  <a:gd name="csY4" fmla="*/ 97250 h 97536"/>
                  <a:gd name="csX5" fmla="*/ 55531 w 168021"/>
                  <a:gd name="csY5" fmla="*/ 5334 h 97536"/>
                </a:gdLst>
                <a:ahLst/>
                <a:cxnLst>
                  <a:cxn ang="0">
                    <a:pos x="csX0" y="csY0"/>
                  </a:cxn>
                  <a:cxn ang="0">
                    <a:pos x="csX1" y="csY1"/>
                  </a:cxn>
                  <a:cxn ang="0">
                    <a:pos x="csX2" y="csY2"/>
                  </a:cxn>
                  <a:cxn ang="0">
                    <a:pos x="csX3" y="csY3"/>
                  </a:cxn>
                  <a:cxn ang="0">
                    <a:pos x="csX4" y="csY4"/>
                  </a:cxn>
                  <a:cxn ang="0">
                    <a:pos x="csX5" y="csY5"/>
                  </a:cxn>
                </a:cxnLst>
                <a:rect l="l" t="t" r="r" b="b"/>
                <a:pathLst>
                  <a:path w="168021" h="97536">
                    <a:moveTo>
                      <a:pt x="55531" y="5334"/>
                    </a:moveTo>
                    <a:lnTo>
                      <a:pt x="8477" y="5334"/>
                    </a:lnTo>
                    <a:cubicBezTo>
                      <a:pt x="4763" y="5334"/>
                      <a:pt x="1619" y="3143"/>
                      <a:pt x="0" y="0"/>
                    </a:cubicBezTo>
                    <a:cubicBezTo>
                      <a:pt x="33528" y="58198"/>
                      <a:pt x="96202" y="97536"/>
                      <a:pt x="168021" y="97536"/>
                    </a:cubicBezTo>
                    <a:cubicBezTo>
                      <a:pt x="166497" y="97536"/>
                      <a:pt x="165068" y="97441"/>
                      <a:pt x="163544" y="97250"/>
                    </a:cubicBezTo>
                    <a:cubicBezTo>
                      <a:pt x="118015" y="94964"/>
                      <a:pt x="78200" y="58769"/>
                      <a:pt x="55531" y="5334"/>
                    </a:cubicBezTo>
                    <a:close/>
                  </a:path>
                </a:pathLst>
              </a:custGeom>
              <a:grpFill/>
              <a:ln w="9525" cap="flat">
                <a:noFill/>
                <a:prstDash val="solid"/>
                <a:miter/>
              </a:ln>
            </p:spPr>
            <p:txBody>
              <a:bodyPr/>
              <a:lstStyle/>
              <a:p>
                <a:endParaRPr lang="en-US"/>
              </a:p>
            </p:txBody>
          </p:sp>
          <p:sp>
            <p:nvSpPr>
              <p:cNvPr id="89" name="Freeform: Shape 88">
                <a:extLst>
                  <a:ext uri="{FF2B5EF4-FFF2-40B4-BE49-F238E27FC236}">
                    <a16:creationId xmlns:a16="http://schemas.microsoft.com/office/drawing/2014/main" id="{6E6E23C8-478D-C215-D690-8A649DB4180F}"/>
                  </a:ext>
                </a:extLst>
              </p:cNvPr>
              <p:cNvSpPr/>
              <p:nvPr/>
            </p:nvSpPr>
            <p:spPr>
              <a:xfrm>
                <a:off x="5889782" y="3413474"/>
                <a:ext cx="74201" cy="95821"/>
              </a:xfrm>
              <a:custGeom>
                <a:avLst/>
                <a:gdLst>
                  <a:gd name="csX0" fmla="*/ 9431 w 74201"/>
                  <a:gd name="csY0" fmla="*/ 86296 h 95821"/>
                  <a:gd name="csX1" fmla="*/ 61724 w 74201"/>
                  <a:gd name="csY1" fmla="*/ 86296 h 95821"/>
                  <a:gd name="csX2" fmla="*/ 74201 w 74201"/>
                  <a:gd name="csY2" fmla="*/ 13144 h 95821"/>
                  <a:gd name="csX3" fmla="*/ 34292 w 74201"/>
                  <a:gd name="csY3" fmla="*/ 13144 h 95821"/>
                  <a:gd name="csX4" fmla="*/ 24767 w 74201"/>
                  <a:gd name="csY4" fmla="*/ 3619 h 95821"/>
                  <a:gd name="csX5" fmla="*/ 25529 w 74201"/>
                  <a:gd name="csY5" fmla="*/ 0 h 95821"/>
                  <a:gd name="csX6" fmla="*/ 2 w 74201"/>
                  <a:gd name="csY6" fmla="*/ 95821 h 95821"/>
                  <a:gd name="csX7" fmla="*/ 9431 w 74201"/>
                  <a:gd name="csY7" fmla="*/ 86296 h 9582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74201" h="95821">
                    <a:moveTo>
                      <a:pt x="9431" y="86296"/>
                    </a:moveTo>
                    <a:lnTo>
                      <a:pt x="61724" y="86296"/>
                    </a:lnTo>
                    <a:cubicBezTo>
                      <a:pt x="62581" y="60198"/>
                      <a:pt x="66962" y="35528"/>
                      <a:pt x="74201" y="13144"/>
                    </a:cubicBezTo>
                    <a:lnTo>
                      <a:pt x="34292" y="13144"/>
                    </a:lnTo>
                    <a:cubicBezTo>
                      <a:pt x="29053" y="13144"/>
                      <a:pt x="24767" y="8858"/>
                      <a:pt x="24767" y="3619"/>
                    </a:cubicBezTo>
                    <a:cubicBezTo>
                      <a:pt x="24767" y="2286"/>
                      <a:pt x="25052" y="1143"/>
                      <a:pt x="25529" y="0"/>
                    </a:cubicBezTo>
                    <a:cubicBezTo>
                      <a:pt x="9336" y="28289"/>
                      <a:pt x="2" y="60960"/>
                      <a:pt x="2" y="95821"/>
                    </a:cubicBezTo>
                    <a:cubicBezTo>
                      <a:pt x="-94" y="90583"/>
                      <a:pt x="4193" y="86296"/>
                      <a:pt x="9431" y="86296"/>
                    </a:cubicBezTo>
                    <a:close/>
                  </a:path>
                </a:pathLst>
              </a:custGeom>
              <a:grpFill/>
              <a:ln w="9525" cap="flat">
                <a:noFill/>
                <a:prstDash val="solid"/>
                <a:miter/>
              </a:ln>
            </p:spPr>
            <p:txBody>
              <a:bodyPr/>
              <a:lstStyle/>
              <a:p>
                <a:endParaRPr lang="en-US"/>
              </a:p>
            </p:txBody>
          </p:sp>
          <p:sp>
            <p:nvSpPr>
              <p:cNvPr id="90" name="Freeform: Shape 89">
                <a:extLst>
                  <a:ext uri="{FF2B5EF4-FFF2-40B4-BE49-F238E27FC236}">
                    <a16:creationId xmlns:a16="http://schemas.microsoft.com/office/drawing/2014/main" id="{6E78D093-4C2F-5AB3-FA63-5984224FD2CD}"/>
                  </a:ext>
                </a:extLst>
              </p:cNvPr>
              <p:cNvSpPr/>
              <p:nvPr/>
            </p:nvSpPr>
            <p:spPr>
              <a:xfrm>
                <a:off x="6083617" y="3605784"/>
                <a:ext cx="168020" cy="97440"/>
              </a:xfrm>
              <a:custGeom>
                <a:avLst/>
                <a:gdLst>
                  <a:gd name="csX0" fmla="*/ 159639 w 168020"/>
                  <a:gd name="csY0" fmla="*/ 5239 h 97440"/>
                  <a:gd name="csX1" fmla="*/ 112586 w 168020"/>
                  <a:gd name="csY1" fmla="*/ 5239 h 97440"/>
                  <a:gd name="csX2" fmla="*/ 4477 w 168020"/>
                  <a:gd name="csY2" fmla="*/ 97155 h 97440"/>
                  <a:gd name="csX3" fmla="*/ 0 w 168020"/>
                  <a:gd name="csY3" fmla="*/ 97441 h 97440"/>
                  <a:gd name="csX4" fmla="*/ 168021 w 168020"/>
                  <a:gd name="csY4" fmla="*/ 0 h 97440"/>
                  <a:gd name="csX5" fmla="*/ 159639 w 168020"/>
                  <a:gd name="csY5" fmla="*/ 5239 h 97440"/>
                </a:gdLst>
                <a:ahLst/>
                <a:cxnLst>
                  <a:cxn ang="0">
                    <a:pos x="csX0" y="csY0"/>
                  </a:cxn>
                  <a:cxn ang="0">
                    <a:pos x="csX1" y="csY1"/>
                  </a:cxn>
                  <a:cxn ang="0">
                    <a:pos x="csX2" y="csY2"/>
                  </a:cxn>
                  <a:cxn ang="0">
                    <a:pos x="csX3" y="csY3"/>
                  </a:cxn>
                  <a:cxn ang="0">
                    <a:pos x="csX4" y="csY4"/>
                  </a:cxn>
                  <a:cxn ang="0">
                    <a:pos x="csX5" y="csY5"/>
                  </a:cxn>
                </a:cxnLst>
                <a:rect l="l" t="t" r="r" b="b"/>
                <a:pathLst>
                  <a:path w="168020" h="97440">
                    <a:moveTo>
                      <a:pt x="159639" y="5239"/>
                    </a:moveTo>
                    <a:lnTo>
                      <a:pt x="112586" y="5239"/>
                    </a:lnTo>
                    <a:cubicBezTo>
                      <a:pt x="89916" y="58674"/>
                      <a:pt x="50197" y="94869"/>
                      <a:pt x="4477" y="97155"/>
                    </a:cubicBezTo>
                    <a:cubicBezTo>
                      <a:pt x="3048" y="97345"/>
                      <a:pt x="1524" y="97441"/>
                      <a:pt x="0" y="97441"/>
                    </a:cubicBezTo>
                    <a:cubicBezTo>
                      <a:pt x="71819" y="97441"/>
                      <a:pt x="134493" y="58102"/>
                      <a:pt x="168021" y="0"/>
                    </a:cubicBezTo>
                    <a:cubicBezTo>
                      <a:pt x="166402" y="3048"/>
                      <a:pt x="163259" y="5239"/>
                      <a:pt x="159639" y="5239"/>
                    </a:cubicBezTo>
                    <a:close/>
                  </a:path>
                </a:pathLst>
              </a:custGeom>
              <a:grpFill/>
              <a:ln w="9525" cap="flat">
                <a:noFill/>
                <a:prstDash val="solid"/>
                <a:miter/>
              </a:ln>
            </p:spPr>
            <p:txBody>
              <a:bodyPr/>
              <a:lstStyle/>
              <a:p>
                <a:endParaRPr lang="en-US"/>
              </a:p>
            </p:txBody>
          </p:sp>
          <p:sp>
            <p:nvSpPr>
              <p:cNvPr id="91" name="Freeform: Shape 90">
                <a:extLst>
                  <a:ext uri="{FF2B5EF4-FFF2-40B4-BE49-F238E27FC236}">
                    <a16:creationId xmlns:a16="http://schemas.microsoft.com/office/drawing/2014/main" id="{412FD5C2-99FE-9F09-44DF-CD0FA962536A}"/>
                  </a:ext>
                </a:extLst>
              </p:cNvPr>
              <p:cNvSpPr/>
              <p:nvPr/>
            </p:nvSpPr>
            <p:spPr>
              <a:xfrm>
                <a:off x="6122955" y="3611022"/>
                <a:ext cx="52768" cy="62103"/>
              </a:xfrm>
              <a:custGeom>
                <a:avLst/>
                <a:gdLst>
                  <a:gd name="csX0" fmla="*/ 52768 w 52768"/>
                  <a:gd name="csY0" fmla="*/ 0 h 62103"/>
                  <a:gd name="csX1" fmla="*/ 21622 w 52768"/>
                  <a:gd name="csY1" fmla="*/ 0 h 62103"/>
                  <a:gd name="csX2" fmla="*/ 0 w 52768"/>
                  <a:gd name="csY2" fmla="*/ 62103 h 62103"/>
                  <a:gd name="csX3" fmla="*/ 52768 w 52768"/>
                  <a:gd name="csY3" fmla="*/ 0 h 62103"/>
                </a:gdLst>
                <a:ahLst/>
                <a:cxnLst>
                  <a:cxn ang="0">
                    <a:pos x="csX0" y="csY0"/>
                  </a:cxn>
                  <a:cxn ang="0">
                    <a:pos x="csX1" y="csY1"/>
                  </a:cxn>
                  <a:cxn ang="0">
                    <a:pos x="csX2" y="csY2"/>
                  </a:cxn>
                  <a:cxn ang="0">
                    <a:pos x="csX3" y="csY3"/>
                  </a:cxn>
                </a:cxnLst>
                <a:rect l="l" t="t" r="r" b="b"/>
                <a:pathLst>
                  <a:path w="52768" h="62103">
                    <a:moveTo>
                      <a:pt x="52768" y="0"/>
                    </a:moveTo>
                    <a:lnTo>
                      <a:pt x="21622" y="0"/>
                    </a:lnTo>
                    <a:cubicBezTo>
                      <a:pt x="16383" y="24384"/>
                      <a:pt x="9144" y="46006"/>
                      <a:pt x="0" y="62103"/>
                    </a:cubicBezTo>
                    <a:cubicBezTo>
                      <a:pt x="21336" y="49911"/>
                      <a:pt x="39624" y="28099"/>
                      <a:pt x="52768" y="0"/>
                    </a:cubicBezTo>
                    <a:close/>
                  </a:path>
                </a:pathLst>
              </a:custGeom>
              <a:grpFill/>
              <a:ln w="9525" cap="flat">
                <a:noFill/>
                <a:prstDash val="solid"/>
                <a:miter/>
              </a:ln>
            </p:spPr>
            <p:txBody>
              <a:bodyPr/>
              <a:lstStyle/>
              <a:p>
                <a:endParaRPr lang="en-US"/>
              </a:p>
            </p:txBody>
          </p:sp>
          <p:sp>
            <p:nvSpPr>
              <p:cNvPr id="92" name="Freeform: Shape 91">
                <a:extLst>
                  <a:ext uri="{FF2B5EF4-FFF2-40B4-BE49-F238E27FC236}">
                    <a16:creationId xmlns:a16="http://schemas.microsoft.com/office/drawing/2014/main" id="{C0F027D3-FA06-85DB-7DF0-B3FA93D43F44}"/>
                  </a:ext>
                </a:extLst>
              </p:cNvPr>
              <p:cNvSpPr/>
              <p:nvPr/>
            </p:nvSpPr>
            <p:spPr>
              <a:xfrm>
                <a:off x="5915501" y="3315271"/>
                <a:ext cx="168116" cy="97631"/>
              </a:xfrm>
              <a:custGeom>
                <a:avLst/>
                <a:gdLst>
                  <a:gd name="csX0" fmla="*/ 0 w 168116"/>
                  <a:gd name="csY0" fmla="*/ 97631 h 97631"/>
                  <a:gd name="csX1" fmla="*/ 8477 w 168116"/>
                  <a:gd name="csY1" fmla="*/ 92202 h 97631"/>
                  <a:gd name="csX2" fmla="*/ 55531 w 168116"/>
                  <a:gd name="csY2" fmla="*/ 92202 h 97631"/>
                  <a:gd name="csX3" fmla="*/ 163640 w 168116"/>
                  <a:gd name="csY3" fmla="*/ 286 h 97631"/>
                  <a:gd name="csX4" fmla="*/ 168116 w 168116"/>
                  <a:gd name="csY4" fmla="*/ 0 h 97631"/>
                  <a:gd name="csX5" fmla="*/ 0 w 168116"/>
                  <a:gd name="csY5" fmla="*/ 97631 h 97631"/>
                </a:gdLst>
                <a:ahLst/>
                <a:cxnLst>
                  <a:cxn ang="0">
                    <a:pos x="csX0" y="csY0"/>
                  </a:cxn>
                  <a:cxn ang="0">
                    <a:pos x="csX1" y="csY1"/>
                  </a:cxn>
                  <a:cxn ang="0">
                    <a:pos x="csX2" y="csY2"/>
                  </a:cxn>
                  <a:cxn ang="0">
                    <a:pos x="csX3" y="csY3"/>
                  </a:cxn>
                  <a:cxn ang="0">
                    <a:pos x="csX4" y="csY4"/>
                  </a:cxn>
                  <a:cxn ang="0">
                    <a:pos x="csX5" y="csY5"/>
                  </a:cxn>
                </a:cxnLst>
                <a:rect l="l" t="t" r="r" b="b"/>
                <a:pathLst>
                  <a:path w="168116" h="97631">
                    <a:moveTo>
                      <a:pt x="0" y="97631"/>
                    </a:moveTo>
                    <a:cubicBezTo>
                      <a:pt x="1524" y="94488"/>
                      <a:pt x="4763" y="92202"/>
                      <a:pt x="8477" y="92202"/>
                    </a:cubicBezTo>
                    <a:lnTo>
                      <a:pt x="55531" y="92202"/>
                    </a:lnTo>
                    <a:cubicBezTo>
                      <a:pt x="78200" y="38767"/>
                      <a:pt x="118015" y="2572"/>
                      <a:pt x="163640" y="286"/>
                    </a:cubicBezTo>
                    <a:cubicBezTo>
                      <a:pt x="165068" y="95"/>
                      <a:pt x="166592" y="0"/>
                      <a:pt x="168116" y="0"/>
                    </a:cubicBezTo>
                    <a:cubicBezTo>
                      <a:pt x="96298" y="95"/>
                      <a:pt x="33528" y="39434"/>
                      <a:pt x="0" y="97631"/>
                    </a:cubicBezTo>
                    <a:close/>
                  </a:path>
                </a:pathLst>
              </a:custGeom>
              <a:grpFill/>
              <a:ln w="9525" cap="flat">
                <a:noFill/>
                <a:prstDash val="solid"/>
                <a:miter/>
              </a:ln>
            </p:spPr>
            <p:txBody>
              <a:bodyPr/>
              <a:lstStyle/>
              <a:p>
                <a:endParaRPr lang="en-US"/>
              </a:p>
            </p:txBody>
          </p:sp>
          <p:sp>
            <p:nvSpPr>
              <p:cNvPr id="93" name="Freeform: Shape 92">
                <a:extLst>
                  <a:ext uri="{FF2B5EF4-FFF2-40B4-BE49-F238E27FC236}">
                    <a16:creationId xmlns:a16="http://schemas.microsoft.com/office/drawing/2014/main" id="{21715B33-819A-9582-D8E5-CBC7F25BBF09}"/>
                  </a:ext>
                </a:extLst>
              </p:cNvPr>
              <p:cNvSpPr/>
              <p:nvPr/>
            </p:nvSpPr>
            <p:spPr>
              <a:xfrm>
                <a:off x="6148006" y="3518820"/>
                <a:ext cx="48672" cy="73152"/>
              </a:xfrm>
              <a:custGeom>
                <a:avLst/>
                <a:gdLst>
                  <a:gd name="csX0" fmla="*/ 48673 w 48672"/>
                  <a:gd name="csY0" fmla="*/ 0 h 73152"/>
                  <a:gd name="csX1" fmla="*/ 6477 w 48672"/>
                  <a:gd name="csY1" fmla="*/ 0 h 73152"/>
                  <a:gd name="csX2" fmla="*/ 0 w 48672"/>
                  <a:gd name="csY2" fmla="*/ 73152 h 73152"/>
                  <a:gd name="csX3" fmla="*/ 35433 w 48672"/>
                  <a:gd name="csY3" fmla="*/ 73152 h 73152"/>
                  <a:gd name="csX4" fmla="*/ 48673 w 48672"/>
                  <a:gd name="csY4" fmla="*/ 0 h 73152"/>
                </a:gdLst>
                <a:ahLst/>
                <a:cxnLst>
                  <a:cxn ang="0">
                    <a:pos x="csX0" y="csY0"/>
                  </a:cxn>
                  <a:cxn ang="0">
                    <a:pos x="csX1" y="csY1"/>
                  </a:cxn>
                  <a:cxn ang="0">
                    <a:pos x="csX2" y="csY2"/>
                  </a:cxn>
                  <a:cxn ang="0">
                    <a:pos x="csX3" y="csY3"/>
                  </a:cxn>
                  <a:cxn ang="0">
                    <a:pos x="csX4" y="csY4"/>
                  </a:cxn>
                </a:cxnLst>
                <a:rect l="l" t="t" r="r" b="b"/>
                <a:pathLst>
                  <a:path w="48672" h="73152">
                    <a:moveTo>
                      <a:pt x="48673" y="0"/>
                    </a:moveTo>
                    <a:lnTo>
                      <a:pt x="6477" y="0"/>
                    </a:lnTo>
                    <a:cubicBezTo>
                      <a:pt x="6001" y="24860"/>
                      <a:pt x="3905" y="49911"/>
                      <a:pt x="0" y="73152"/>
                    </a:cubicBezTo>
                    <a:lnTo>
                      <a:pt x="35433" y="73152"/>
                    </a:lnTo>
                    <a:cubicBezTo>
                      <a:pt x="43148" y="51149"/>
                      <a:pt x="47816" y="26289"/>
                      <a:pt x="48673" y="0"/>
                    </a:cubicBezTo>
                    <a:close/>
                  </a:path>
                </a:pathLst>
              </a:custGeom>
              <a:grpFill/>
              <a:ln w="9525" cap="flat">
                <a:noFill/>
                <a:prstDash val="solid"/>
                <a:miter/>
              </a:ln>
            </p:spPr>
            <p:txBody>
              <a:bodyPr/>
              <a:lstStyle/>
              <a:p>
                <a:endParaRPr lang="en-US"/>
              </a:p>
            </p:txBody>
          </p:sp>
          <p:sp>
            <p:nvSpPr>
              <p:cNvPr id="94" name="Freeform: Shape 93">
                <a:extLst>
                  <a:ext uri="{FF2B5EF4-FFF2-40B4-BE49-F238E27FC236}">
                    <a16:creationId xmlns:a16="http://schemas.microsoft.com/office/drawing/2014/main" id="{47423FA9-268F-92B4-1D06-09389FD79DFD}"/>
                  </a:ext>
                </a:extLst>
              </p:cNvPr>
              <p:cNvSpPr/>
              <p:nvPr/>
            </p:nvSpPr>
            <p:spPr>
              <a:xfrm>
                <a:off x="6203346" y="3413474"/>
                <a:ext cx="74294" cy="95821"/>
              </a:xfrm>
              <a:custGeom>
                <a:avLst/>
                <a:gdLst>
                  <a:gd name="csX0" fmla="*/ 49435 w 74294"/>
                  <a:gd name="csY0" fmla="*/ 3619 h 95821"/>
                  <a:gd name="csX1" fmla="*/ 39910 w 74294"/>
                  <a:gd name="csY1" fmla="*/ 13144 h 95821"/>
                  <a:gd name="csX2" fmla="*/ 0 w 74294"/>
                  <a:gd name="csY2" fmla="*/ 13144 h 95821"/>
                  <a:gd name="csX3" fmla="*/ 12478 w 74294"/>
                  <a:gd name="csY3" fmla="*/ 86296 h 95821"/>
                  <a:gd name="csX4" fmla="*/ 64770 w 74294"/>
                  <a:gd name="csY4" fmla="*/ 86296 h 95821"/>
                  <a:gd name="csX5" fmla="*/ 74295 w 74294"/>
                  <a:gd name="csY5" fmla="*/ 95821 h 95821"/>
                  <a:gd name="csX6" fmla="*/ 48768 w 74294"/>
                  <a:gd name="csY6" fmla="*/ 0 h 95821"/>
                  <a:gd name="csX7" fmla="*/ 49435 w 74294"/>
                  <a:gd name="csY7" fmla="*/ 3619 h 9582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74294" h="95821">
                    <a:moveTo>
                      <a:pt x="49435" y="3619"/>
                    </a:moveTo>
                    <a:cubicBezTo>
                      <a:pt x="49435" y="8858"/>
                      <a:pt x="45148" y="13144"/>
                      <a:pt x="39910" y="13144"/>
                    </a:cubicBezTo>
                    <a:lnTo>
                      <a:pt x="0" y="13144"/>
                    </a:lnTo>
                    <a:cubicBezTo>
                      <a:pt x="7239" y="35528"/>
                      <a:pt x="11621" y="60198"/>
                      <a:pt x="12478" y="86296"/>
                    </a:cubicBezTo>
                    <a:lnTo>
                      <a:pt x="64770" y="86296"/>
                    </a:lnTo>
                    <a:cubicBezTo>
                      <a:pt x="70009" y="86296"/>
                      <a:pt x="74295" y="90583"/>
                      <a:pt x="74295" y="95821"/>
                    </a:cubicBezTo>
                    <a:cubicBezTo>
                      <a:pt x="74295" y="60960"/>
                      <a:pt x="64960" y="28289"/>
                      <a:pt x="48768" y="0"/>
                    </a:cubicBezTo>
                    <a:cubicBezTo>
                      <a:pt x="49149" y="1143"/>
                      <a:pt x="49435" y="2286"/>
                      <a:pt x="49435" y="3619"/>
                    </a:cubicBezTo>
                    <a:close/>
                  </a:path>
                </a:pathLst>
              </a:custGeom>
              <a:grpFill/>
              <a:ln w="9525" cap="flat">
                <a:noFill/>
                <a:prstDash val="solid"/>
                <a:miter/>
              </a:ln>
            </p:spPr>
            <p:txBody>
              <a:bodyPr/>
              <a:lstStyle/>
              <a:p>
                <a:endParaRPr lang="en-US"/>
              </a:p>
            </p:txBody>
          </p:sp>
          <p:sp>
            <p:nvSpPr>
              <p:cNvPr id="95" name="Freeform: Shape 94">
                <a:extLst>
                  <a:ext uri="{FF2B5EF4-FFF2-40B4-BE49-F238E27FC236}">
                    <a16:creationId xmlns:a16="http://schemas.microsoft.com/office/drawing/2014/main" id="{FD980073-0895-B25B-D754-AEA39DA386D1}"/>
                  </a:ext>
                </a:extLst>
              </p:cNvPr>
              <p:cNvSpPr/>
              <p:nvPr/>
            </p:nvSpPr>
            <p:spPr>
              <a:xfrm>
                <a:off x="6203251" y="3509295"/>
                <a:ext cx="74201" cy="95821"/>
              </a:xfrm>
              <a:custGeom>
                <a:avLst/>
                <a:gdLst>
                  <a:gd name="csX0" fmla="*/ 64770 w 74201"/>
                  <a:gd name="csY0" fmla="*/ 9525 h 95821"/>
                  <a:gd name="csX1" fmla="*/ 12478 w 74201"/>
                  <a:gd name="csY1" fmla="*/ 9525 h 95821"/>
                  <a:gd name="csX2" fmla="*/ 0 w 74201"/>
                  <a:gd name="csY2" fmla="*/ 82677 h 95821"/>
                  <a:gd name="csX3" fmla="*/ 39910 w 74201"/>
                  <a:gd name="csY3" fmla="*/ 82677 h 95821"/>
                  <a:gd name="csX4" fmla="*/ 49435 w 74201"/>
                  <a:gd name="csY4" fmla="*/ 92202 h 95821"/>
                  <a:gd name="csX5" fmla="*/ 48673 w 74201"/>
                  <a:gd name="csY5" fmla="*/ 95822 h 95821"/>
                  <a:gd name="csX6" fmla="*/ 74200 w 74201"/>
                  <a:gd name="csY6" fmla="*/ 0 h 95821"/>
                  <a:gd name="csX7" fmla="*/ 64770 w 74201"/>
                  <a:gd name="csY7" fmla="*/ 9525 h 9582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74201" h="95821">
                    <a:moveTo>
                      <a:pt x="64770" y="9525"/>
                    </a:moveTo>
                    <a:lnTo>
                      <a:pt x="12478" y="9525"/>
                    </a:lnTo>
                    <a:cubicBezTo>
                      <a:pt x="11621" y="35623"/>
                      <a:pt x="7239" y="60293"/>
                      <a:pt x="0" y="82677"/>
                    </a:cubicBezTo>
                    <a:lnTo>
                      <a:pt x="39910" y="82677"/>
                    </a:lnTo>
                    <a:cubicBezTo>
                      <a:pt x="45149" y="82677"/>
                      <a:pt x="49435" y="86963"/>
                      <a:pt x="49435" y="92202"/>
                    </a:cubicBezTo>
                    <a:cubicBezTo>
                      <a:pt x="49435" y="93440"/>
                      <a:pt x="49149" y="94678"/>
                      <a:pt x="48673" y="95822"/>
                    </a:cubicBezTo>
                    <a:cubicBezTo>
                      <a:pt x="64865" y="67532"/>
                      <a:pt x="74200" y="34862"/>
                      <a:pt x="74200" y="0"/>
                    </a:cubicBezTo>
                    <a:cubicBezTo>
                      <a:pt x="74295" y="5239"/>
                      <a:pt x="70009" y="9525"/>
                      <a:pt x="64770" y="9525"/>
                    </a:cubicBezTo>
                    <a:close/>
                  </a:path>
                </a:pathLst>
              </a:custGeom>
              <a:grpFill/>
              <a:ln w="9525" cap="flat">
                <a:noFill/>
                <a:prstDash val="solid"/>
                <a:miter/>
              </a:ln>
            </p:spPr>
            <p:txBody>
              <a:bodyPr/>
              <a:lstStyle/>
              <a:p>
                <a:endParaRPr lang="en-US"/>
              </a:p>
            </p:txBody>
          </p:sp>
        </p:grpSp>
      </p:grpSp>
      <p:grpSp>
        <p:nvGrpSpPr>
          <p:cNvPr id="118" name="Group 117">
            <a:extLst>
              <a:ext uri="{FF2B5EF4-FFF2-40B4-BE49-F238E27FC236}">
                <a16:creationId xmlns:a16="http://schemas.microsoft.com/office/drawing/2014/main" id="{E252446B-9626-B8FC-DFEC-63A780BC6D14}"/>
              </a:ext>
            </a:extLst>
          </p:cNvPr>
          <p:cNvGrpSpPr/>
          <p:nvPr/>
        </p:nvGrpSpPr>
        <p:grpSpPr>
          <a:xfrm>
            <a:off x="372424" y="5157364"/>
            <a:ext cx="354334" cy="354334"/>
            <a:chOff x="372424" y="5157364"/>
            <a:chExt cx="354334" cy="354334"/>
          </a:xfrm>
        </p:grpSpPr>
        <p:sp>
          <p:nvSpPr>
            <p:cNvPr id="147" name="Oval 146">
              <a:extLst>
                <a:ext uri="{FF2B5EF4-FFF2-40B4-BE49-F238E27FC236}">
                  <a16:creationId xmlns:a16="http://schemas.microsoft.com/office/drawing/2014/main" id="{870736B3-EB8F-63BA-F677-A91BC6A1B3F2}"/>
                </a:ext>
              </a:extLst>
            </p:cNvPr>
            <p:cNvSpPr/>
            <p:nvPr/>
          </p:nvSpPr>
          <p:spPr>
            <a:xfrm>
              <a:off x="372424" y="5157364"/>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7" name="Group 116">
              <a:extLst>
                <a:ext uri="{FF2B5EF4-FFF2-40B4-BE49-F238E27FC236}">
                  <a16:creationId xmlns:a16="http://schemas.microsoft.com/office/drawing/2014/main" id="{6A0C07B6-D144-D0BB-795A-BAB9C92F7957}"/>
                </a:ext>
              </a:extLst>
            </p:cNvPr>
            <p:cNvGrpSpPr/>
            <p:nvPr/>
          </p:nvGrpSpPr>
          <p:grpSpPr>
            <a:xfrm>
              <a:off x="453665" y="5238590"/>
              <a:ext cx="191853" cy="191883"/>
              <a:chOff x="5791276" y="3124580"/>
              <a:chExt cx="609524" cy="609620"/>
            </a:xfrm>
            <a:solidFill>
              <a:srgbClr val="2B660F"/>
            </a:solidFill>
          </p:grpSpPr>
          <p:sp>
            <p:nvSpPr>
              <p:cNvPr id="100" name="Freeform: Shape 99">
                <a:extLst>
                  <a:ext uri="{FF2B5EF4-FFF2-40B4-BE49-F238E27FC236}">
                    <a16:creationId xmlns:a16="http://schemas.microsoft.com/office/drawing/2014/main" id="{8CAEA276-5421-ACB0-0F50-269FD7D67A3B}"/>
                  </a:ext>
                </a:extLst>
              </p:cNvPr>
              <p:cNvSpPr/>
              <p:nvPr/>
            </p:nvSpPr>
            <p:spPr>
              <a:xfrm>
                <a:off x="5802305" y="3130198"/>
                <a:ext cx="312077" cy="430430"/>
              </a:xfrm>
              <a:custGeom>
                <a:avLst/>
                <a:gdLst>
                  <a:gd name="csX0" fmla="*/ 18665 w 312077"/>
                  <a:gd name="csY0" fmla="*/ 172084 h 430430"/>
                  <a:gd name="csX1" fmla="*/ 53146 w 312077"/>
                  <a:gd name="csY1" fmla="*/ 163005 h 430430"/>
                  <a:gd name="csX2" fmla="*/ 61383 w 312077"/>
                  <a:gd name="csY2" fmla="*/ 164670 h 430430"/>
                  <a:gd name="csX3" fmla="*/ 65094 w 312077"/>
                  <a:gd name="csY3" fmla="*/ 172214 h 430430"/>
                  <a:gd name="csX4" fmla="*/ 65094 w 312077"/>
                  <a:gd name="csY4" fmla="*/ 265464 h 430430"/>
                  <a:gd name="csX5" fmla="*/ 79382 w 312077"/>
                  <a:gd name="csY5" fmla="*/ 279752 h 430430"/>
                  <a:gd name="csX6" fmla="*/ 93669 w 312077"/>
                  <a:gd name="csY6" fmla="*/ 265464 h 430430"/>
                  <a:gd name="csX7" fmla="*/ 93669 w 312077"/>
                  <a:gd name="csY7" fmla="*/ 225839 h 430430"/>
                  <a:gd name="csX8" fmla="*/ 100655 w 312077"/>
                  <a:gd name="csY8" fmla="*/ 216658 h 430430"/>
                  <a:gd name="csX9" fmla="*/ 111361 w 312077"/>
                  <a:gd name="csY9" fmla="*/ 220937 h 430430"/>
                  <a:gd name="csX10" fmla="*/ 146606 w 312077"/>
                  <a:gd name="csY10" fmla="*/ 279705 h 430430"/>
                  <a:gd name="csX11" fmla="*/ 150247 w 312077"/>
                  <a:gd name="csY11" fmla="*/ 292895 h 430430"/>
                  <a:gd name="csX12" fmla="*/ 150247 w 312077"/>
                  <a:gd name="csY12" fmla="*/ 310326 h 430430"/>
                  <a:gd name="csX13" fmla="*/ 160777 w 312077"/>
                  <a:gd name="csY13" fmla="*/ 324223 h 430430"/>
                  <a:gd name="csX14" fmla="*/ 199244 w 312077"/>
                  <a:gd name="csY14" fmla="*/ 335171 h 430430"/>
                  <a:gd name="csX15" fmla="*/ 205900 w 312077"/>
                  <a:gd name="csY15" fmla="*/ 342129 h 430430"/>
                  <a:gd name="csX16" fmla="*/ 221234 w 312077"/>
                  <a:gd name="csY16" fmla="*/ 406516 h 430430"/>
                  <a:gd name="csX17" fmla="*/ 243330 w 312077"/>
                  <a:gd name="csY17" fmla="*/ 427947 h 430430"/>
                  <a:gd name="csX18" fmla="*/ 255687 w 312077"/>
                  <a:gd name="csY18" fmla="*/ 430431 h 430430"/>
                  <a:gd name="csX19" fmla="*/ 255687 w 312077"/>
                  <a:gd name="csY19" fmla="*/ 394433 h 430430"/>
                  <a:gd name="csX20" fmla="*/ 257501 w 312077"/>
                  <a:gd name="csY20" fmla="*/ 388843 h 430430"/>
                  <a:gd name="csX21" fmla="*/ 309507 w 312077"/>
                  <a:gd name="csY21" fmla="*/ 317117 h 430430"/>
                  <a:gd name="csX22" fmla="*/ 311168 w 312077"/>
                  <a:gd name="csY22" fmla="*/ 303973 h 430430"/>
                  <a:gd name="csX23" fmla="*/ 293922 w 312077"/>
                  <a:gd name="csY23" fmla="*/ 258051 h 430430"/>
                  <a:gd name="csX24" fmla="*/ 289457 w 312077"/>
                  <a:gd name="csY24" fmla="*/ 251846 h 430430"/>
                  <a:gd name="csX25" fmla="*/ 262115 w 312077"/>
                  <a:gd name="csY25" fmla="*/ 229941 h 430430"/>
                  <a:gd name="csX26" fmla="*/ 252018 w 312077"/>
                  <a:gd name="csY26" fmla="*/ 226843 h 430430"/>
                  <a:gd name="csX27" fmla="*/ 175422 w 312077"/>
                  <a:gd name="csY27" fmla="*/ 233233 h 430430"/>
                  <a:gd name="csX28" fmla="*/ 151410 w 312077"/>
                  <a:gd name="csY28" fmla="*/ 220918 h 430430"/>
                  <a:gd name="csX29" fmla="*/ 120649 w 312077"/>
                  <a:gd name="csY29" fmla="*/ 169684 h 430430"/>
                  <a:gd name="csX30" fmla="*/ 119431 w 312077"/>
                  <a:gd name="csY30" fmla="*/ 145834 h 430430"/>
                  <a:gd name="csX31" fmla="*/ 138355 w 312077"/>
                  <a:gd name="csY31" fmla="*/ 131398 h 430430"/>
                  <a:gd name="csX32" fmla="*/ 203072 w 312077"/>
                  <a:gd name="csY32" fmla="*/ 120626 h 430430"/>
                  <a:gd name="csX33" fmla="*/ 207741 w 312077"/>
                  <a:gd name="csY33" fmla="*/ 117082 h 430430"/>
                  <a:gd name="csX34" fmla="*/ 224885 w 312077"/>
                  <a:gd name="csY34" fmla="*/ 82889 h 430430"/>
                  <a:gd name="csX35" fmla="*/ 225159 w 312077"/>
                  <a:gd name="csY35" fmla="*/ 77717 h 430430"/>
                  <a:gd name="csX36" fmla="*/ 214560 w 312077"/>
                  <a:gd name="csY36" fmla="*/ 51263 h 430430"/>
                  <a:gd name="csX37" fmla="*/ 210685 w 312077"/>
                  <a:gd name="csY37" fmla="*/ 47552 h 430430"/>
                  <a:gd name="csX38" fmla="*/ 193593 w 312077"/>
                  <a:gd name="csY38" fmla="*/ 41794 h 430430"/>
                  <a:gd name="csX39" fmla="*/ 187147 w 312077"/>
                  <a:gd name="csY39" fmla="*/ 33590 h 430430"/>
                  <a:gd name="csX40" fmla="*/ 184239 w 312077"/>
                  <a:gd name="csY40" fmla="*/ 0 h 430430"/>
                  <a:gd name="csX41" fmla="*/ 71429 w 312077"/>
                  <a:gd name="csY41" fmla="*/ 57542 h 430430"/>
                  <a:gd name="csX42" fmla="*/ 0 w 312077"/>
                  <a:gd name="csY42" fmla="*/ 169309 h 430430"/>
                  <a:gd name="csX43" fmla="*/ 4693 w 312077"/>
                  <a:gd name="csY43" fmla="*/ 171172 h 430430"/>
                  <a:gd name="csX44" fmla="*/ 18665 w 312077"/>
                  <a:gd name="csY44" fmla="*/ 172084 h 43043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312077" h="430430">
                    <a:moveTo>
                      <a:pt x="18665" y="172084"/>
                    </a:moveTo>
                    <a:lnTo>
                      <a:pt x="53146" y="163005"/>
                    </a:lnTo>
                    <a:cubicBezTo>
                      <a:pt x="56020" y="162252"/>
                      <a:pt x="59053" y="162866"/>
                      <a:pt x="61383" y="164670"/>
                    </a:cubicBezTo>
                    <a:cubicBezTo>
                      <a:pt x="63722" y="166475"/>
                      <a:pt x="65094" y="169256"/>
                      <a:pt x="65094" y="172214"/>
                    </a:cubicBezTo>
                    <a:lnTo>
                      <a:pt x="65094" y="265464"/>
                    </a:lnTo>
                    <a:cubicBezTo>
                      <a:pt x="65094" y="273343"/>
                      <a:pt x="71503" y="279752"/>
                      <a:pt x="79382" y="279752"/>
                    </a:cubicBezTo>
                    <a:cubicBezTo>
                      <a:pt x="87260" y="279752"/>
                      <a:pt x="93669" y="273343"/>
                      <a:pt x="93669" y="265464"/>
                    </a:cubicBezTo>
                    <a:lnTo>
                      <a:pt x="93669" y="225839"/>
                    </a:lnTo>
                    <a:cubicBezTo>
                      <a:pt x="93669" y="221560"/>
                      <a:pt x="96525" y="217802"/>
                      <a:pt x="100655" y="216658"/>
                    </a:cubicBezTo>
                    <a:cubicBezTo>
                      <a:pt x="104794" y="215514"/>
                      <a:pt x="109166" y="217272"/>
                      <a:pt x="111361" y="220937"/>
                    </a:cubicBezTo>
                    <a:lnTo>
                      <a:pt x="146606" y="279705"/>
                    </a:lnTo>
                    <a:cubicBezTo>
                      <a:pt x="148968" y="283547"/>
                      <a:pt x="150247" y="288142"/>
                      <a:pt x="150247" y="292895"/>
                    </a:cubicBezTo>
                    <a:lnTo>
                      <a:pt x="150247" y="310326"/>
                    </a:lnTo>
                    <a:cubicBezTo>
                      <a:pt x="150247" y="316726"/>
                      <a:pt x="154577" y="322447"/>
                      <a:pt x="160777" y="324223"/>
                    </a:cubicBezTo>
                    <a:lnTo>
                      <a:pt x="199244" y="335171"/>
                    </a:lnTo>
                    <a:cubicBezTo>
                      <a:pt x="202556" y="336120"/>
                      <a:pt x="205104" y="338771"/>
                      <a:pt x="205900" y="342129"/>
                    </a:cubicBezTo>
                    <a:lnTo>
                      <a:pt x="221234" y="406516"/>
                    </a:lnTo>
                    <a:cubicBezTo>
                      <a:pt x="223801" y="417418"/>
                      <a:pt x="232475" y="425817"/>
                      <a:pt x="243330" y="427947"/>
                    </a:cubicBezTo>
                    <a:lnTo>
                      <a:pt x="255687" y="430431"/>
                    </a:lnTo>
                    <a:lnTo>
                      <a:pt x="255687" y="394433"/>
                    </a:lnTo>
                    <a:cubicBezTo>
                      <a:pt x="255687" y="392424"/>
                      <a:pt x="256320" y="390470"/>
                      <a:pt x="257501" y="388843"/>
                    </a:cubicBezTo>
                    <a:lnTo>
                      <a:pt x="309507" y="317117"/>
                    </a:lnTo>
                    <a:cubicBezTo>
                      <a:pt x="312182" y="313331"/>
                      <a:pt x="312828" y="308382"/>
                      <a:pt x="311168" y="303973"/>
                    </a:cubicBezTo>
                    <a:lnTo>
                      <a:pt x="293922" y="258051"/>
                    </a:lnTo>
                    <a:cubicBezTo>
                      <a:pt x="293006" y="255595"/>
                      <a:pt x="291467" y="253455"/>
                      <a:pt x="289457" y="251846"/>
                    </a:cubicBezTo>
                    <a:lnTo>
                      <a:pt x="262115" y="229941"/>
                    </a:lnTo>
                    <a:cubicBezTo>
                      <a:pt x="259175" y="227634"/>
                      <a:pt x="255580" y="226555"/>
                      <a:pt x="252018" y="226843"/>
                    </a:cubicBezTo>
                    <a:lnTo>
                      <a:pt x="175422" y="233233"/>
                    </a:lnTo>
                    <a:cubicBezTo>
                      <a:pt x="165590" y="234033"/>
                      <a:pt x="156428" y="229290"/>
                      <a:pt x="151410" y="220918"/>
                    </a:cubicBezTo>
                    <a:lnTo>
                      <a:pt x="120649" y="169684"/>
                    </a:lnTo>
                    <a:cubicBezTo>
                      <a:pt x="116333" y="162345"/>
                      <a:pt x="115891" y="153462"/>
                      <a:pt x="119431" y="145834"/>
                    </a:cubicBezTo>
                    <a:cubicBezTo>
                      <a:pt x="122970" y="138216"/>
                      <a:pt x="130044" y="132821"/>
                      <a:pt x="138355" y="131398"/>
                    </a:cubicBezTo>
                    <a:lnTo>
                      <a:pt x="203072" y="120626"/>
                    </a:lnTo>
                    <a:cubicBezTo>
                      <a:pt x="205044" y="120291"/>
                      <a:pt x="206797" y="118971"/>
                      <a:pt x="207741" y="117082"/>
                    </a:cubicBezTo>
                    <a:lnTo>
                      <a:pt x="224885" y="82889"/>
                    </a:lnTo>
                    <a:cubicBezTo>
                      <a:pt x="225740" y="81215"/>
                      <a:pt x="225829" y="79354"/>
                      <a:pt x="225159" y="77717"/>
                    </a:cubicBezTo>
                    <a:lnTo>
                      <a:pt x="214560" y="51263"/>
                    </a:lnTo>
                    <a:cubicBezTo>
                      <a:pt x="213857" y="49468"/>
                      <a:pt x="212420" y="48110"/>
                      <a:pt x="210685" y="47552"/>
                    </a:cubicBezTo>
                    <a:lnTo>
                      <a:pt x="193593" y="41794"/>
                    </a:lnTo>
                    <a:cubicBezTo>
                      <a:pt x="190003" y="40585"/>
                      <a:pt x="187473" y="37366"/>
                      <a:pt x="187147" y="33590"/>
                    </a:cubicBezTo>
                    <a:lnTo>
                      <a:pt x="184239" y="0"/>
                    </a:lnTo>
                    <a:cubicBezTo>
                      <a:pt x="142623" y="8824"/>
                      <a:pt x="104237" y="28145"/>
                      <a:pt x="71429" y="57542"/>
                    </a:cubicBezTo>
                    <a:cubicBezTo>
                      <a:pt x="37576" y="87861"/>
                      <a:pt x="13122" y="126685"/>
                      <a:pt x="0" y="169309"/>
                    </a:cubicBezTo>
                    <a:lnTo>
                      <a:pt x="4693" y="171172"/>
                    </a:lnTo>
                    <a:cubicBezTo>
                      <a:pt x="9233" y="173014"/>
                      <a:pt x="14176" y="173330"/>
                      <a:pt x="18665" y="172084"/>
                    </a:cubicBezTo>
                    <a:close/>
                  </a:path>
                </a:pathLst>
              </a:custGeom>
              <a:grpFill/>
              <a:ln w="9525" cap="flat">
                <a:noFill/>
                <a:prstDash val="solid"/>
                <a:miter/>
              </a:ln>
            </p:spPr>
            <p:txBody>
              <a:bodyPr/>
              <a:lstStyle/>
              <a:p>
                <a:endParaRPr lang="en-US"/>
              </a:p>
            </p:txBody>
          </p:sp>
          <p:sp>
            <p:nvSpPr>
              <p:cNvPr id="101" name="Freeform: Shape 100">
                <a:extLst>
                  <a:ext uri="{FF2B5EF4-FFF2-40B4-BE49-F238E27FC236}">
                    <a16:creationId xmlns:a16="http://schemas.microsoft.com/office/drawing/2014/main" id="{4FF380C2-2B23-50D6-AA5E-19B0B0FD553B}"/>
                  </a:ext>
                </a:extLst>
              </p:cNvPr>
              <p:cNvSpPr/>
              <p:nvPr/>
            </p:nvSpPr>
            <p:spPr>
              <a:xfrm>
                <a:off x="6113546" y="3138106"/>
                <a:ext cx="117327" cy="210216"/>
              </a:xfrm>
              <a:custGeom>
                <a:avLst/>
                <a:gdLst>
                  <a:gd name="csX0" fmla="*/ 51415 w 117327"/>
                  <a:gd name="csY0" fmla="*/ 107061 h 210216"/>
                  <a:gd name="csX1" fmla="*/ 54654 w 117327"/>
                  <a:gd name="csY1" fmla="*/ 113443 h 210216"/>
                  <a:gd name="csX2" fmla="*/ 61511 w 117327"/>
                  <a:gd name="csY2" fmla="*/ 188690 h 210216"/>
                  <a:gd name="csX3" fmla="*/ 68941 w 117327"/>
                  <a:gd name="csY3" fmla="*/ 200025 h 210216"/>
                  <a:gd name="csX4" fmla="*/ 87324 w 117327"/>
                  <a:gd name="csY4" fmla="*/ 210217 h 210216"/>
                  <a:gd name="csX5" fmla="*/ 87229 w 117327"/>
                  <a:gd name="csY5" fmla="*/ 138494 h 210216"/>
                  <a:gd name="csX6" fmla="*/ 117328 w 117327"/>
                  <a:gd name="csY6" fmla="*/ 77915 h 210216"/>
                  <a:gd name="csX7" fmla="*/ 5790 w 117327"/>
                  <a:gd name="csY7" fmla="*/ 0 h 210216"/>
                  <a:gd name="csX8" fmla="*/ 75 w 117327"/>
                  <a:gd name="csY8" fmla="*/ 54864 h 210216"/>
                  <a:gd name="csX9" fmla="*/ 5028 w 117327"/>
                  <a:gd name="csY9" fmla="*/ 67342 h 210216"/>
                  <a:gd name="csX10" fmla="*/ 51415 w 117327"/>
                  <a:gd name="csY10" fmla="*/ 107061 h 21021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17327" h="210216">
                    <a:moveTo>
                      <a:pt x="51415" y="107061"/>
                    </a:moveTo>
                    <a:cubicBezTo>
                      <a:pt x="53320" y="108681"/>
                      <a:pt x="54463" y="110966"/>
                      <a:pt x="54654" y="113443"/>
                    </a:cubicBezTo>
                    <a:lnTo>
                      <a:pt x="61511" y="188690"/>
                    </a:lnTo>
                    <a:cubicBezTo>
                      <a:pt x="61987" y="193453"/>
                      <a:pt x="64750" y="197644"/>
                      <a:pt x="68941" y="200025"/>
                    </a:cubicBezTo>
                    <a:lnTo>
                      <a:pt x="87324" y="210217"/>
                    </a:lnTo>
                    <a:lnTo>
                      <a:pt x="87229" y="138494"/>
                    </a:lnTo>
                    <a:cubicBezTo>
                      <a:pt x="87229" y="113824"/>
                      <a:pt x="99040" y="91821"/>
                      <a:pt x="117328" y="77915"/>
                    </a:cubicBezTo>
                    <a:cubicBezTo>
                      <a:pt x="88277" y="42482"/>
                      <a:pt x="49700" y="15145"/>
                      <a:pt x="5790" y="0"/>
                    </a:cubicBezTo>
                    <a:lnTo>
                      <a:pt x="75" y="54864"/>
                    </a:lnTo>
                    <a:cubicBezTo>
                      <a:pt x="-401" y="59627"/>
                      <a:pt x="1409" y="64199"/>
                      <a:pt x="5028" y="67342"/>
                    </a:cubicBezTo>
                    <a:lnTo>
                      <a:pt x="51415" y="107061"/>
                    </a:lnTo>
                    <a:close/>
                  </a:path>
                </a:pathLst>
              </a:custGeom>
              <a:grpFill/>
              <a:ln w="9525" cap="flat">
                <a:noFill/>
                <a:prstDash val="solid"/>
                <a:miter/>
              </a:ln>
            </p:spPr>
            <p:txBody>
              <a:bodyPr/>
              <a:lstStyle/>
              <a:p>
                <a:endParaRPr lang="en-US"/>
              </a:p>
            </p:txBody>
          </p:sp>
          <p:sp>
            <p:nvSpPr>
              <p:cNvPr id="102" name="Freeform: Shape 101">
                <a:extLst>
                  <a:ext uri="{FF2B5EF4-FFF2-40B4-BE49-F238E27FC236}">
                    <a16:creationId xmlns:a16="http://schemas.microsoft.com/office/drawing/2014/main" id="{3B42A53A-6D04-4C5A-046B-9515EE99BAF1}"/>
                  </a:ext>
                </a:extLst>
              </p:cNvPr>
              <p:cNvSpPr/>
              <p:nvPr/>
            </p:nvSpPr>
            <p:spPr>
              <a:xfrm>
                <a:off x="5791295" y="3124580"/>
                <a:ext cx="409765" cy="590550"/>
              </a:xfrm>
              <a:custGeom>
                <a:avLst/>
                <a:gdLst>
                  <a:gd name="csX0" fmla="*/ 409766 w 409765"/>
                  <a:gd name="csY0" fmla="*/ 406718 h 590550"/>
                  <a:gd name="csX1" fmla="*/ 409575 w 409765"/>
                  <a:gd name="csY1" fmla="*/ 245650 h 590550"/>
                  <a:gd name="csX2" fmla="*/ 381857 w 409765"/>
                  <a:gd name="csY2" fmla="*/ 230219 h 590550"/>
                  <a:gd name="csX3" fmla="*/ 364807 w 409765"/>
                  <a:gd name="csY3" fmla="*/ 203931 h 590550"/>
                  <a:gd name="csX4" fmla="*/ 358330 w 409765"/>
                  <a:gd name="csY4" fmla="*/ 132588 h 590550"/>
                  <a:gd name="csX5" fmla="*/ 314896 w 409765"/>
                  <a:gd name="csY5" fmla="*/ 95345 h 590550"/>
                  <a:gd name="csX6" fmla="*/ 303371 w 409765"/>
                  <a:gd name="csY6" fmla="*/ 66390 h 590550"/>
                  <a:gd name="csX7" fmla="*/ 309467 w 409765"/>
                  <a:gd name="csY7" fmla="*/ 7906 h 590550"/>
                  <a:gd name="csX8" fmla="*/ 275749 w 409765"/>
                  <a:gd name="csY8" fmla="*/ 1619 h 590550"/>
                  <a:gd name="csX9" fmla="*/ 247269 w 409765"/>
                  <a:gd name="csY9" fmla="*/ 0 h 590550"/>
                  <a:gd name="csX10" fmla="*/ 214122 w 409765"/>
                  <a:gd name="csY10" fmla="*/ 2381 h 590550"/>
                  <a:gd name="csX11" fmla="*/ 216598 w 409765"/>
                  <a:gd name="csY11" fmla="*/ 31337 h 590550"/>
                  <a:gd name="csX12" fmla="*/ 227647 w 409765"/>
                  <a:gd name="csY12" fmla="*/ 35052 h 590550"/>
                  <a:gd name="csX13" fmla="*/ 243268 w 409765"/>
                  <a:gd name="csY13" fmla="*/ 49911 h 590550"/>
                  <a:gd name="csX14" fmla="*/ 253841 w 409765"/>
                  <a:gd name="csY14" fmla="*/ 76200 h 590550"/>
                  <a:gd name="csX15" fmla="*/ 252889 w 409765"/>
                  <a:gd name="csY15" fmla="*/ 97155 h 590550"/>
                  <a:gd name="csX16" fmla="*/ 235744 w 409765"/>
                  <a:gd name="csY16" fmla="*/ 131255 h 590550"/>
                  <a:gd name="csX17" fmla="*/ 217265 w 409765"/>
                  <a:gd name="csY17" fmla="*/ 145066 h 590550"/>
                  <a:gd name="csX18" fmla="*/ 152495 w 409765"/>
                  <a:gd name="csY18" fmla="*/ 155829 h 590550"/>
                  <a:gd name="csX19" fmla="*/ 147733 w 409765"/>
                  <a:gd name="csY19" fmla="*/ 159448 h 590550"/>
                  <a:gd name="csX20" fmla="*/ 148018 w 409765"/>
                  <a:gd name="csY20" fmla="*/ 165545 h 590550"/>
                  <a:gd name="csX21" fmla="*/ 178784 w 409765"/>
                  <a:gd name="csY21" fmla="*/ 216694 h 590550"/>
                  <a:gd name="csX22" fmla="*/ 184880 w 409765"/>
                  <a:gd name="csY22" fmla="*/ 219837 h 590550"/>
                  <a:gd name="csX23" fmla="*/ 261366 w 409765"/>
                  <a:gd name="csY23" fmla="*/ 213456 h 590550"/>
                  <a:gd name="csX24" fmla="*/ 284988 w 409765"/>
                  <a:gd name="csY24" fmla="*/ 220599 h 590550"/>
                  <a:gd name="csX25" fmla="*/ 312420 w 409765"/>
                  <a:gd name="csY25" fmla="*/ 242602 h 590550"/>
                  <a:gd name="csX26" fmla="*/ 322802 w 409765"/>
                  <a:gd name="csY26" fmla="*/ 256984 h 590550"/>
                  <a:gd name="csX27" fmla="*/ 340043 w 409765"/>
                  <a:gd name="csY27" fmla="*/ 302895 h 590550"/>
                  <a:gd name="csX28" fmla="*/ 336042 w 409765"/>
                  <a:gd name="csY28" fmla="*/ 333851 h 590550"/>
                  <a:gd name="csX29" fmla="*/ 285750 w 409765"/>
                  <a:gd name="csY29" fmla="*/ 403098 h 590550"/>
                  <a:gd name="csX30" fmla="*/ 285750 w 409765"/>
                  <a:gd name="csY30" fmla="*/ 447675 h 590550"/>
                  <a:gd name="csX31" fmla="*/ 282226 w 409765"/>
                  <a:gd name="csY31" fmla="*/ 455009 h 590550"/>
                  <a:gd name="csX32" fmla="*/ 276225 w 409765"/>
                  <a:gd name="csY32" fmla="*/ 457200 h 590550"/>
                  <a:gd name="csX33" fmla="*/ 274320 w 409765"/>
                  <a:gd name="csY33" fmla="*/ 457009 h 590550"/>
                  <a:gd name="csX34" fmla="*/ 250603 w 409765"/>
                  <a:gd name="csY34" fmla="*/ 452247 h 590550"/>
                  <a:gd name="csX35" fmla="*/ 213741 w 409765"/>
                  <a:gd name="csY35" fmla="*/ 416528 h 590550"/>
                  <a:gd name="csX36" fmla="*/ 199644 w 409765"/>
                  <a:gd name="csY36" fmla="*/ 357568 h 590550"/>
                  <a:gd name="csX37" fmla="*/ 166592 w 409765"/>
                  <a:gd name="csY37" fmla="*/ 348139 h 590550"/>
                  <a:gd name="csX38" fmla="*/ 142208 w 409765"/>
                  <a:gd name="csY38" fmla="*/ 315944 h 590550"/>
                  <a:gd name="csX39" fmla="*/ 142208 w 409765"/>
                  <a:gd name="csY39" fmla="*/ 298514 h 590550"/>
                  <a:gd name="csX40" fmla="*/ 141351 w 409765"/>
                  <a:gd name="csY40" fmla="*/ 295180 h 590550"/>
                  <a:gd name="csX41" fmla="*/ 123730 w 409765"/>
                  <a:gd name="csY41" fmla="*/ 265843 h 590550"/>
                  <a:gd name="csX42" fmla="*/ 123730 w 409765"/>
                  <a:gd name="csY42" fmla="*/ 271082 h 590550"/>
                  <a:gd name="csX43" fmla="*/ 90392 w 409765"/>
                  <a:gd name="csY43" fmla="*/ 304419 h 590550"/>
                  <a:gd name="csX44" fmla="*/ 57055 w 409765"/>
                  <a:gd name="csY44" fmla="*/ 271082 h 590550"/>
                  <a:gd name="csX45" fmla="*/ 57055 w 409765"/>
                  <a:gd name="csY45" fmla="*/ 190215 h 590550"/>
                  <a:gd name="csX46" fmla="*/ 34576 w 409765"/>
                  <a:gd name="csY46" fmla="*/ 196120 h 590550"/>
                  <a:gd name="csX47" fmla="*/ 8667 w 409765"/>
                  <a:gd name="csY47" fmla="*/ 194500 h 590550"/>
                  <a:gd name="csX48" fmla="*/ 6096 w 409765"/>
                  <a:gd name="csY48" fmla="*/ 193453 h 590550"/>
                  <a:gd name="csX49" fmla="*/ 0 w 409765"/>
                  <a:gd name="csY49" fmla="*/ 247650 h 590550"/>
                  <a:gd name="csX50" fmla="*/ 0 w 409765"/>
                  <a:gd name="csY50" fmla="*/ 476250 h 590550"/>
                  <a:gd name="csX51" fmla="*/ 38100 w 409765"/>
                  <a:gd name="csY51" fmla="*/ 514350 h 590550"/>
                  <a:gd name="csX52" fmla="*/ 76200 w 409765"/>
                  <a:gd name="csY52" fmla="*/ 476250 h 590550"/>
                  <a:gd name="csX53" fmla="*/ 76200 w 409765"/>
                  <a:gd name="csY53" fmla="*/ 423863 h 590550"/>
                  <a:gd name="csX54" fmla="*/ 100013 w 409765"/>
                  <a:gd name="csY54" fmla="*/ 400050 h 590550"/>
                  <a:gd name="csX55" fmla="*/ 123825 w 409765"/>
                  <a:gd name="csY55" fmla="*/ 423863 h 590550"/>
                  <a:gd name="csX56" fmla="*/ 123825 w 409765"/>
                  <a:gd name="csY56" fmla="*/ 552450 h 590550"/>
                  <a:gd name="csX57" fmla="*/ 161925 w 409765"/>
                  <a:gd name="csY57" fmla="*/ 590550 h 590550"/>
                  <a:gd name="csX58" fmla="*/ 200025 w 409765"/>
                  <a:gd name="csY58" fmla="*/ 552450 h 590550"/>
                  <a:gd name="csX59" fmla="*/ 200025 w 409765"/>
                  <a:gd name="csY59" fmla="*/ 509588 h 590550"/>
                  <a:gd name="csX60" fmla="*/ 223838 w 409765"/>
                  <a:gd name="csY60" fmla="*/ 485775 h 590550"/>
                  <a:gd name="csX61" fmla="*/ 247650 w 409765"/>
                  <a:gd name="csY61" fmla="*/ 509588 h 590550"/>
                  <a:gd name="csX62" fmla="*/ 247650 w 409765"/>
                  <a:gd name="csY62" fmla="*/ 533400 h 590550"/>
                  <a:gd name="csX63" fmla="*/ 276225 w 409765"/>
                  <a:gd name="csY63" fmla="*/ 561975 h 590550"/>
                  <a:gd name="csX64" fmla="*/ 304800 w 409765"/>
                  <a:gd name="csY64" fmla="*/ 533400 h 590550"/>
                  <a:gd name="csX65" fmla="*/ 304800 w 409765"/>
                  <a:gd name="csY65" fmla="*/ 488728 h 590550"/>
                  <a:gd name="csX66" fmla="*/ 311848 w 409765"/>
                  <a:gd name="csY66" fmla="*/ 486918 h 590550"/>
                  <a:gd name="csX67" fmla="*/ 368808 w 409765"/>
                  <a:gd name="csY67" fmla="*/ 463487 h 590550"/>
                  <a:gd name="csX68" fmla="*/ 409766 w 409765"/>
                  <a:gd name="csY68" fmla="*/ 406718 h 5905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Lst>
                <a:rect l="l" t="t" r="r" b="b"/>
                <a:pathLst>
                  <a:path w="409765" h="590550">
                    <a:moveTo>
                      <a:pt x="409766" y="406718"/>
                    </a:moveTo>
                    <a:lnTo>
                      <a:pt x="409575" y="245650"/>
                    </a:lnTo>
                    <a:lnTo>
                      <a:pt x="381857" y="230219"/>
                    </a:lnTo>
                    <a:cubicBezTo>
                      <a:pt x="372237" y="224790"/>
                      <a:pt x="365855" y="214979"/>
                      <a:pt x="364807" y="203931"/>
                    </a:cubicBezTo>
                    <a:lnTo>
                      <a:pt x="358330" y="132588"/>
                    </a:lnTo>
                    <a:lnTo>
                      <a:pt x="314896" y="95345"/>
                    </a:lnTo>
                    <a:cubicBezTo>
                      <a:pt x="306514" y="88202"/>
                      <a:pt x="302228" y="77343"/>
                      <a:pt x="303371" y="66390"/>
                    </a:cubicBezTo>
                    <a:lnTo>
                      <a:pt x="309467" y="7906"/>
                    </a:lnTo>
                    <a:cubicBezTo>
                      <a:pt x="298418" y="5143"/>
                      <a:pt x="287274" y="2857"/>
                      <a:pt x="275749" y="1619"/>
                    </a:cubicBezTo>
                    <a:cubicBezTo>
                      <a:pt x="266319" y="571"/>
                      <a:pt x="256699" y="0"/>
                      <a:pt x="247269" y="0"/>
                    </a:cubicBezTo>
                    <a:cubicBezTo>
                      <a:pt x="236029" y="0"/>
                      <a:pt x="224980" y="953"/>
                      <a:pt x="214122" y="2381"/>
                    </a:cubicBezTo>
                    <a:lnTo>
                      <a:pt x="216598" y="31337"/>
                    </a:lnTo>
                    <a:lnTo>
                      <a:pt x="227647" y="35052"/>
                    </a:lnTo>
                    <a:cubicBezTo>
                      <a:pt x="234696" y="37338"/>
                      <a:pt x="240506" y="42767"/>
                      <a:pt x="243268" y="49911"/>
                    </a:cubicBezTo>
                    <a:lnTo>
                      <a:pt x="253841" y="76200"/>
                    </a:lnTo>
                    <a:cubicBezTo>
                      <a:pt x="256604" y="82868"/>
                      <a:pt x="256222" y="90583"/>
                      <a:pt x="252889" y="97155"/>
                    </a:cubicBezTo>
                    <a:lnTo>
                      <a:pt x="235744" y="131255"/>
                    </a:lnTo>
                    <a:cubicBezTo>
                      <a:pt x="232124" y="138493"/>
                      <a:pt x="225171" y="143637"/>
                      <a:pt x="217265" y="145066"/>
                    </a:cubicBezTo>
                    <a:lnTo>
                      <a:pt x="152495" y="155829"/>
                    </a:lnTo>
                    <a:cubicBezTo>
                      <a:pt x="149447" y="156306"/>
                      <a:pt x="148114" y="158496"/>
                      <a:pt x="147733" y="159448"/>
                    </a:cubicBezTo>
                    <a:cubicBezTo>
                      <a:pt x="147256" y="160401"/>
                      <a:pt x="146495" y="162878"/>
                      <a:pt x="148018" y="165545"/>
                    </a:cubicBezTo>
                    <a:lnTo>
                      <a:pt x="178784" y="216694"/>
                    </a:lnTo>
                    <a:cubicBezTo>
                      <a:pt x="180022" y="218884"/>
                      <a:pt x="182403" y="220123"/>
                      <a:pt x="184880" y="219837"/>
                    </a:cubicBezTo>
                    <a:lnTo>
                      <a:pt x="261366" y="213456"/>
                    </a:lnTo>
                    <a:cubicBezTo>
                      <a:pt x="269653" y="212693"/>
                      <a:pt x="278130" y="215265"/>
                      <a:pt x="284988" y="220599"/>
                    </a:cubicBezTo>
                    <a:lnTo>
                      <a:pt x="312420" y="242602"/>
                    </a:lnTo>
                    <a:cubicBezTo>
                      <a:pt x="317087" y="246316"/>
                      <a:pt x="320707" y="251365"/>
                      <a:pt x="322802" y="256984"/>
                    </a:cubicBezTo>
                    <a:lnTo>
                      <a:pt x="340043" y="302895"/>
                    </a:lnTo>
                    <a:cubicBezTo>
                      <a:pt x="343852" y="313182"/>
                      <a:pt x="342424" y="324803"/>
                      <a:pt x="336042" y="333851"/>
                    </a:cubicBezTo>
                    <a:lnTo>
                      <a:pt x="285750" y="403098"/>
                    </a:lnTo>
                    <a:lnTo>
                      <a:pt x="285750" y="447675"/>
                    </a:lnTo>
                    <a:cubicBezTo>
                      <a:pt x="285750" y="450532"/>
                      <a:pt x="284512" y="453200"/>
                      <a:pt x="282226" y="455009"/>
                    </a:cubicBezTo>
                    <a:cubicBezTo>
                      <a:pt x="280511" y="456438"/>
                      <a:pt x="278416" y="457200"/>
                      <a:pt x="276225" y="457200"/>
                    </a:cubicBezTo>
                    <a:cubicBezTo>
                      <a:pt x="275558" y="457200"/>
                      <a:pt x="274987" y="457105"/>
                      <a:pt x="274320" y="457009"/>
                    </a:cubicBezTo>
                    <a:lnTo>
                      <a:pt x="250603" y="452247"/>
                    </a:lnTo>
                    <a:cubicBezTo>
                      <a:pt x="232505" y="448723"/>
                      <a:pt x="218027" y="434626"/>
                      <a:pt x="213741" y="416528"/>
                    </a:cubicBezTo>
                    <a:lnTo>
                      <a:pt x="199644" y="357568"/>
                    </a:lnTo>
                    <a:lnTo>
                      <a:pt x="166592" y="348139"/>
                    </a:lnTo>
                    <a:cubicBezTo>
                      <a:pt x="152209" y="344043"/>
                      <a:pt x="142208" y="330803"/>
                      <a:pt x="142208" y="315944"/>
                    </a:cubicBezTo>
                    <a:lnTo>
                      <a:pt x="142208" y="298514"/>
                    </a:lnTo>
                    <a:cubicBezTo>
                      <a:pt x="142208" y="297275"/>
                      <a:pt x="141922" y="296133"/>
                      <a:pt x="141351" y="295180"/>
                    </a:cubicBezTo>
                    <a:lnTo>
                      <a:pt x="123730" y="265843"/>
                    </a:lnTo>
                    <a:lnTo>
                      <a:pt x="123730" y="271082"/>
                    </a:lnTo>
                    <a:cubicBezTo>
                      <a:pt x="123730" y="289465"/>
                      <a:pt x="108775" y="304419"/>
                      <a:pt x="90392" y="304419"/>
                    </a:cubicBezTo>
                    <a:cubicBezTo>
                      <a:pt x="72009" y="304419"/>
                      <a:pt x="57055" y="289465"/>
                      <a:pt x="57055" y="271082"/>
                    </a:cubicBezTo>
                    <a:lnTo>
                      <a:pt x="57055" y="190215"/>
                    </a:lnTo>
                    <a:lnTo>
                      <a:pt x="34576" y="196120"/>
                    </a:lnTo>
                    <a:cubicBezTo>
                      <a:pt x="26194" y="198406"/>
                      <a:pt x="16954" y="197834"/>
                      <a:pt x="8667" y="194500"/>
                    </a:cubicBezTo>
                    <a:lnTo>
                      <a:pt x="6096" y="193453"/>
                    </a:lnTo>
                    <a:cubicBezTo>
                      <a:pt x="2095" y="211074"/>
                      <a:pt x="0" y="229267"/>
                      <a:pt x="0" y="247650"/>
                    </a:cubicBezTo>
                    <a:lnTo>
                      <a:pt x="0" y="476250"/>
                    </a:lnTo>
                    <a:cubicBezTo>
                      <a:pt x="0" y="497300"/>
                      <a:pt x="17050" y="514350"/>
                      <a:pt x="38100" y="514350"/>
                    </a:cubicBezTo>
                    <a:cubicBezTo>
                      <a:pt x="59055" y="514350"/>
                      <a:pt x="76200" y="497300"/>
                      <a:pt x="76200" y="476250"/>
                    </a:cubicBezTo>
                    <a:lnTo>
                      <a:pt x="76200" y="423863"/>
                    </a:lnTo>
                    <a:cubicBezTo>
                      <a:pt x="76200" y="410718"/>
                      <a:pt x="86868" y="400050"/>
                      <a:pt x="100013" y="400050"/>
                    </a:cubicBezTo>
                    <a:cubicBezTo>
                      <a:pt x="113157" y="400050"/>
                      <a:pt x="123825" y="410718"/>
                      <a:pt x="123825" y="423863"/>
                    </a:cubicBezTo>
                    <a:lnTo>
                      <a:pt x="123825" y="552450"/>
                    </a:lnTo>
                    <a:cubicBezTo>
                      <a:pt x="123825" y="573500"/>
                      <a:pt x="140875" y="590550"/>
                      <a:pt x="161925" y="590550"/>
                    </a:cubicBezTo>
                    <a:cubicBezTo>
                      <a:pt x="182880" y="590550"/>
                      <a:pt x="200025" y="573500"/>
                      <a:pt x="200025" y="552450"/>
                    </a:cubicBezTo>
                    <a:lnTo>
                      <a:pt x="200025" y="509588"/>
                    </a:lnTo>
                    <a:cubicBezTo>
                      <a:pt x="200025" y="496443"/>
                      <a:pt x="210693" y="485775"/>
                      <a:pt x="223838" y="485775"/>
                    </a:cubicBezTo>
                    <a:cubicBezTo>
                      <a:pt x="236982" y="485775"/>
                      <a:pt x="247650" y="496443"/>
                      <a:pt x="247650" y="509588"/>
                    </a:cubicBezTo>
                    <a:lnTo>
                      <a:pt x="247650" y="533400"/>
                    </a:lnTo>
                    <a:cubicBezTo>
                      <a:pt x="247650" y="549212"/>
                      <a:pt x="260413" y="561975"/>
                      <a:pt x="276225" y="561975"/>
                    </a:cubicBezTo>
                    <a:cubicBezTo>
                      <a:pt x="291941" y="561975"/>
                      <a:pt x="304800" y="549212"/>
                      <a:pt x="304800" y="533400"/>
                    </a:cubicBezTo>
                    <a:lnTo>
                      <a:pt x="304800" y="488728"/>
                    </a:lnTo>
                    <a:lnTo>
                      <a:pt x="311848" y="486918"/>
                    </a:lnTo>
                    <a:cubicBezTo>
                      <a:pt x="332137" y="481489"/>
                      <a:pt x="351187" y="473583"/>
                      <a:pt x="368808" y="463487"/>
                    </a:cubicBezTo>
                    <a:cubicBezTo>
                      <a:pt x="376523" y="441389"/>
                      <a:pt x="390525" y="421672"/>
                      <a:pt x="409766" y="406718"/>
                    </a:cubicBezTo>
                    <a:close/>
                  </a:path>
                </a:pathLst>
              </a:custGeom>
              <a:grpFill/>
              <a:ln w="9525" cap="flat">
                <a:noFill/>
                <a:prstDash val="solid"/>
                <a:miter/>
              </a:ln>
            </p:spPr>
            <p:txBody>
              <a:bodyPr/>
              <a:lstStyle/>
              <a:p>
                <a:endParaRPr lang="en-US"/>
              </a:p>
            </p:txBody>
          </p:sp>
          <p:sp>
            <p:nvSpPr>
              <p:cNvPr id="103" name="Oval 102">
                <a:extLst>
                  <a:ext uri="{FF2B5EF4-FFF2-40B4-BE49-F238E27FC236}">
                    <a16:creationId xmlns:a16="http://schemas.microsoft.com/office/drawing/2014/main" id="{C3769FB7-17D6-DD3C-EC98-79592C999461}"/>
                  </a:ext>
                </a:extLst>
              </p:cNvPr>
              <p:cNvSpPr/>
              <p:nvPr/>
            </p:nvSpPr>
            <p:spPr>
              <a:xfrm>
                <a:off x="5791276" y="3658000"/>
                <a:ext cx="76199" cy="76200"/>
              </a:xfrm>
              <a:prstGeom prst="ellipse">
                <a:avLst/>
              </a:prstGeom>
              <a:grpFill/>
              <a:ln w="9525" cap="flat">
                <a:noFill/>
                <a:prstDash val="solid"/>
                <a:miter/>
              </a:ln>
            </p:spPr>
            <p:txBody>
              <a:bodyPr/>
              <a:lstStyle/>
              <a:p>
                <a:endParaRPr lang="en-US"/>
              </a:p>
            </p:txBody>
          </p:sp>
          <p:sp>
            <p:nvSpPr>
              <p:cNvPr id="106" name="Freeform: Shape 105">
                <a:extLst>
                  <a:ext uri="{FF2B5EF4-FFF2-40B4-BE49-F238E27FC236}">
                    <a16:creationId xmlns:a16="http://schemas.microsoft.com/office/drawing/2014/main" id="{6AB28382-9EC3-31B7-C62A-B78CAB69A483}"/>
                  </a:ext>
                </a:extLst>
              </p:cNvPr>
              <p:cNvSpPr/>
              <p:nvPr/>
            </p:nvSpPr>
            <p:spPr>
              <a:xfrm>
                <a:off x="6172204" y="3219450"/>
                <a:ext cx="209545" cy="514331"/>
              </a:xfrm>
              <a:custGeom>
                <a:avLst/>
                <a:gdLst>
                  <a:gd name="csX0" fmla="*/ 168971 w 209545"/>
                  <a:gd name="csY0" fmla="*/ 326854 h 514331"/>
                  <a:gd name="csX1" fmla="*/ 161920 w 209545"/>
                  <a:gd name="csY1" fmla="*/ 312102 h 514331"/>
                  <a:gd name="csX2" fmla="*/ 161920 w 209545"/>
                  <a:gd name="csY2" fmla="*/ 57150 h 514331"/>
                  <a:gd name="csX3" fmla="*/ 104770 w 209545"/>
                  <a:gd name="csY3" fmla="*/ 0 h 514331"/>
                  <a:gd name="csX4" fmla="*/ 47620 w 209545"/>
                  <a:gd name="csY4" fmla="*/ 57150 h 514331"/>
                  <a:gd name="csX5" fmla="*/ 47620 w 209545"/>
                  <a:gd name="csY5" fmla="*/ 312111 h 514331"/>
                  <a:gd name="csX6" fmla="*/ 40514 w 209545"/>
                  <a:gd name="csY6" fmla="*/ 326892 h 514331"/>
                  <a:gd name="csX7" fmla="*/ 707 w 209545"/>
                  <a:gd name="csY7" fmla="*/ 421937 h 514331"/>
                  <a:gd name="csX8" fmla="*/ 92794 w 209545"/>
                  <a:gd name="csY8" fmla="*/ 513680 h 514331"/>
                  <a:gd name="csX9" fmla="*/ 104496 w 209545"/>
                  <a:gd name="csY9" fmla="*/ 514331 h 514331"/>
                  <a:gd name="csX10" fmla="*/ 174631 w 209545"/>
                  <a:gd name="csY10" fmla="*/ 487663 h 514331"/>
                  <a:gd name="csX11" fmla="*/ 209545 w 209545"/>
                  <a:gd name="csY11" fmla="*/ 409575 h 514331"/>
                  <a:gd name="csX12" fmla="*/ 168971 w 209545"/>
                  <a:gd name="csY12" fmla="*/ 326854 h 514331"/>
                  <a:gd name="csX13" fmla="*/ 146786 w 209545"/>
                  <a:gd name="csY13" fmla="*/ 461349 h 514331"/>
                  <a:gd name="csX14" fmla="*/ 104672 w 209545"/>
                  <a:gd name="csY14" fmla="*/ 476231 h 514331"/>
                  <a:gd name="csX15" fmla="*/ 90487 w 209545"/>
                  <a:gd name="csY15" fmla="*/ 474752 h 514331"/>
                  <a:gd name="csX16" fmla="*/ 39449 w 209545"/>
                  <a:gd name="csY16" fmla="*/ 423183 h 514331"/>
                  <a:gd name="csX17" fmla="*/ 76195 w 209545"/>
                  <a:gd name="csY17" fmla="*/ 349374 h 514331"/>
                  <a:gd name="csX18" fmla="*/ 76195 w 209545"/>
                  <a:gd name="csY18" fmla="*/ 104775 h 514331"/>
                  <a:gd name="csX19" fmla="*/ 104770 w 209545"/>
                  <a:gd name="csY19" fmla="*/ 76200 h 514331"/>
                  <a:gd name="csX20" fmla="*/ 133345 w 209545"/>
                  <a:gd name="csY20" fmla="*/ 104775 h 514331"/>
                  <a:gd name="csX21" fmla="*/ 133345 w 209545"/>
                  <a:gd name="csY21" fmla="*/ 349383 h 514331"/>
                  <a:gd name="csX22" fmla="*/ 171445 w 209545"/>
                  <a:gd name="csY22" fmla="*/ 409575 h 514331"/>
                  <a:gd name="csX23" fmla="*/ 146786 w 209545"/>
                  <a:gd name="csY23" fmla="*/ 461349 h 51433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209545" h="514331">
                    <a:moveTo>
                      <a:pt x="168971" y="326854"/>
                    </a:moveTo>
                    <a:cubicBezTo>
                      <a:pt x="164557" y="323413"/>
                      <a:pt x="161920" y="317897"/>
                      <a:pt x="161920" y="312102"/>
                    </a:cubicBezTo>
                    <a:lnTo>
                      <a:pt x="161920" y="57150"/>
                    </a:lnTo>
                    <a:cubicBezTo>
                      <a:pt x="161920" y="25636"/>
                      <a:pt x="136285" y="0"/>
                      <a:pt x="104770" y="0"/>
                    </a:cubicBezTo>
                    <a:cubicBezTo>
                      <a:pt x="73256" y="0"/>
                      <a:pt x="47620" y="25636"/>
                      <a:pt x="47620" y="57150"/>
                    </a:cubicBezTo>
                    <a:lnTo>
                      <a:pt x="47620" y="312111"/>
                    </a:lnTo>
                    <a:cubicBezTo>
                      <a:pt x="47620" y="317897"/>
                      <a:pt x="44969" y="323413"/>
                      <a:pt x="40514" y="326892"/>
                    </a:cubicBezTo>
                    <a:cubicBezTo>
                      <a:pt x="11367" y="349569"/>
                      <a:pt x="-3516" y="385102"/>
                      <a:pt x="707" y="421937"/>
                    </a:cubicBezTo>
                    <a:cubicBezTo>
                      <a:pt x="6190" y="469785"/>
                      <a:pt x="44918" y="508369"/>
                      <a:pt x="92794" y="513680"/>
                    </a:cubicBezTo>
                    <a:cubicBezTo>
                      <a:pt x="96654" y="514117"/>
                      <a:pt x="100594" y="514331"/>
                      <a:pt x="104496" y="514331"/>
                    </a:cubicBezTo>
                    <a:cubicBezTo>
                      <a:pt x="130503" y="514331"/>
                      <a:pt x="155409" y="504862"/>
                      <a:pt x="174631" y="487663"/>
                    </a:cubicBezTo>
                    <a:cubicBezTo>
                      <a:pt x="196820" y="467795"/>
                      <a:pt x="209545" y="439331"/>
                      <a:pt x="209545" y="409575"/>
                    </a:cubicBezTo>
                    <a:cubicBezTo>
                      <a:pt x="209545" y="377037"/>
                      <a:pt x="194765" y="346890"/>
                      <a:pt x="168971" y="326854"/>
                    </a:cubicBezTo>
                    <a:close/>
                    <a:moveTo>
                      <a:pt x="146786" y="461349"/>
                    </a:moveTo>
                    <a:cubicBezTo>
                      <a:pt x="134806" y="471078"/>
                      <a:pt x="119983" y="476231"/>
                      <a:pt x="104672" y="476231"/>
                    </a:cubicBezTo>
                    <a:cubicBezTo>
                      <a:pt x="99966" y="476231"/>
                      <a:pt x="95217" y="475748"/>
                      <a:pt x="90487" y="474752"/>
                    </a:cubicBezTo>
                    <a:cubicBezTo>
                      <a:pt x="65052" y="469441"/>
                      <a:pt x="44541" y="448717"/>
                      <a:pt x="39449" y="423183"/>
                    </a:cubicBezTo>
                    <a:cubicBezTo>
                      <a:pt x="33314" y="392367"/>
                      <a:pt x="48592" y="362387"/>
                      <a:pt x="76195" y="349374"/>
                    </a:cubicBezTo>
                    <a:lnTo>
                      <a:pt x="76195" y="104775"/>
                    </a:lnTo>
                    <a:cubicBezTo>
                      <a:pt x="76195" y="89018"/>
                      <a:pt x="89013" y="76200"/>
                      <a:pt x="104770" y="76200"/>
                    </a:cubicBezTo>
                    <a:cubicBezTo>
                      <a:pt x="120527" y="76200"/>
                      <a:pt x="133345" y="89018"/>
                      <a:pt x="133345" y="104775"/>
                    </a:cubicBezTo>
                    <a:lnTo>
                      <a:pt x="133345" y="349383"/>
                    </a:lnTo>
                    <a:cubicBezTo>
                      <a:pt x="156386" y="360322"/>
                      <a:pt x="171445" y="383716"/>
                      <a:pt x="171445" y="409575"/>
                    </a:cubicBezTo>
                    <a:cubicBezTo>
                      <a:pt x="171445" y="429741"/>
                      <a:pt x="162460" y="448614"/>
                      <a:pt x="146786" y="461349"/>
                    </a:cubicBezTo>
                    <a:close/>
                  </a:path>
                </a:pathLst>
              </a:custGeom>
              <a:grpFill/>
              <a:ln w="9525" cap="flat">
                <a:noFill/>
                <a:prstDash val="solid"/>
                <a:miter/>
              </a:ln>
            </p:spPr>
            <p:txBody>
              <a:bodyPr/>
              <a:lstStyle/>
              <a:p>
                <a:endParaRPr lang="en-US"/>
              </a:p>
            </p:txBody>
          </p:sp>
          <p:sp>
            <p:nvSpPr>
              <p:cNvPr id="107" name="Freeform: Shape 106">
                <a:extLst>
                  <a:ext uri="{FF2B5EF4-FFF2-40B4-BE49-F238E27FC236}">
                    <a16:creationId xmlns:a16="http://schemas.microsoft.com/office/drawing/2014/main" id="{BB98142E-E73C-ECA4-F669-3FB3DA381D10}"/>
                  </a:ext>
                </a:extLst>
              </p:cNvPr>
              <p:cNvSpPr/>
              <p:nvPr/>
            </p:nvSpPr>
            <p:spPr>
              <a:xfrm>
                <a:off x="6229370" y="3314700"/>
                <a:ext cx="95229" cy="361932"/>
              </a:xfrm>
              <a:custGeom>
                <a:avLst/>
                <a:gdLst>
                  <a:gd name="csX0" fmla="*/ 63478 w 95229"/>
                  <a:gd name="csY0" fmla="*/ 269472 h 361932"/>
                  <a:gd name="csX1" fmla="*/ 57129 w 95229"/>
                  <a:gd name="csY1" fmla="*/ 260496 h 361932"/>
                  <a:gd name="csX2" fmla="*/ 57129 w 95229"/>
                  <a:gd name="csY2" fmla="*/ 9525 h 361932"/>
                  <a:gd name="csX3" fmla="*/ 47604 w 95229"/>
                  <a:gd name="csY3" fmla="*/ 0 h 361932"/>
                  <a:gd name="csX4" fmla="*/ 38079 w 95229"/>
                  <a:gd name="csY4" fmla="*/ 9525 h 361932"/>
                  <a:gd name="csX5" fmla="*/ 38079 w 95229"/>
                  <a:gd name="csY5" fmla="*/ 260496 h 361932"/>
                  <a:gd name="csX6" fmla="*/ 31735 w 95229"/>
                  <a:gd name="csY6" fmla="*/ 269472 h 361932"/>
                  <a:gd name="csX7" fmla="*/ 970 w 95229"/>
                  <a:gd name="csY7" fmla="*/ 324213 h 361932"/>
                  <a:gd name="csX8" fmla="*/ 37219 w 95229"/>
                  <a:gd name="csY8" fmla="*/ 360862 h 361932"/>
                  <a:gd name="csX9" fmla="*/ 77607 w 95229"/>
                  <a:gd name="csY9" fmla="*/ 351309 h 361932"/>
                  <a:gd name="csX10" fmla="*/ 95229 w 95229"/>
                  <a:gd name="csY10" fmla="*/ 314325 h 361932"/>
                  <a:gd name="csX11" fmla="*/ 63478 w 95229"/>
                  <a:gd name="csY11" fmla="*/ 269472 h 36193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95229" h="361932">
                    <a:moveTo>
                      <a:pt x="63478" y="269472"/>
                    </a:moveTo>
                    <a:cubicBezTo>
                      <a:pt x="59673" y="268132"/>
                      <a:pt x="57129" y="264533"/>
                      <a:pt x="57129" y="260496"/>
                    </a:cubicBezTo>
                    <a:lnTo>
                      <a:pt x="57129" y="9525"/>
                    </a:lnTo>
                    <a:cubicBezTo>
                      <a:pt x="57129" y="4270"/>
                      <a:pt x="52855" y="0"/>
                      <a:pt x="47604" y="0"/>
                    </a:cubicBezTo>
                    <a:cubicBezTo>
                      <a:pt x="42353" y="0"/>
                      <a:pt x="38079" y="4270"/>
                      <a:pt x="38079" y="9525"/>
                    </a:cubicBezTo>
                    <a:lnTo>
                      <a:pt x="38079" y="260496"/>
                    </a:lnTo>
                    <a:cubicBezTo>
                      <a:pt x="38079" y="264533"/>
                      <a:pt x="35535" y="268123"/>
                      <a:pt x="31735" y="269472"/>
                    </a:cubicBezTo>
                    <a:cubicBezTo>
                      <a:pt x="9179" y="277462"/>
                      <a:pt x="-3760" y="300484"/>
                      <a:pt x="970" y="324213"/>
                    </a:cubicBezTo>
                    <a:cubicBezTo>
                      <a:pt x="4584" y="342361"/>
                      <a:pt x="19150" y="357085"/>
                      <a:pt x="37219" y="360862"/>
                    </a:cubicBezTo>
                    <a:cubicBezTo>
                      <a:pt x="51702" y="363894"/>
                      <a:pt x="66417" y="360415"/>
                      <a:pt x="77607" y="351309"/>
                    </a:cubicBezTo>
                    <a:cubicBezTo>
                      <a:pt x="88806" y="342212"/>
                      <a:pt x="95229" y="328733"/>
                      <a:pt x="95229" y="314325"/>
                    </a:cubicBezTo>
                    <a:cubicBezTo>
                      <a:pt x="95229" y="294224"/>
                      <a:pt x="82467" y="276197"/>
                      <a:pt x="63478" y="269472"/>
                    </a:cubicBezTo>
                    <a:close/>
                  </a:path>
                </a:pathLst>
              </a:custGeom>
              <a:grpFill/>
              <a:ln w="9525" cap="flat">
                <a:noFill/>
                <a:prstDash val="solid"/>
                <a:miter/>
              </a:ln>
            </p:spPr>
            <p:txBody>
              <a:bodyPr/>
              <a:lstStyle/>
              <a:p>
                <a:endParaRPr lang="en-US"/>
              </a:p>
            </p:txBody>
          </p:sp>
          <p:sp>
            <p:nvSpPr>
              <p:cNvPr id="108" name="Freeform: Shape 107">
                <a:extLst>
                  <a:ext uri="{FF2B5EF4-FFF2-40B4-BE49-F238E27FC236}">
                    <a16:creationId xmlns:a16="http://schemas.microsoft.com/office/drawing/2014/main" id="{ACE5B54A-7B8B-6E83-3323-70FC4FC48204}"/>
                  </a:ext>
                </a:extLst>
              </p:cNvPr>
              <p:cNvSpPr/>
              <p:nvPr/>
            </p:nvSpPr>
            <p:spPr>
              <a:xfrm>
                <a:off x="6353175" y="3324225"/>
                <a:ext cx="47625" cy="19050"/>
              </a:xfrm>
              <a:custGeom>
                <a:avLst/>
                <a:gdLst>
                  <a:gd name="csX0" fmla="*/ 9525 w 47625"/>
                  <a:gd name="csY0" fmla="*/ 19050 h 19050"/>
                  <a:gd name="csX1" fmla="*/ 38100 w 47625"/>
                  <a:gd name="csY1" fmla="*/ 19050 h 19050"/>
                  <a:gd name="csX2" fmla="*/ 47625 w 47625"/>
                  <a:gd name="csY2" fmla="*/ 9525 h 19050"/>
                  <a:gd name="csX3" fmla="*/ 38100 w 47625"/>
                  <a:gd name="csY3" fmla="*/ 0 h 19050"/>
                  <a:gd name="csX4" fmla="*/ 9525 w 47625"/>
                  <a:gd name="csY4" fmla="*/ 0 h 19050"/>
                  <a:gd name="csX5" fmla="*/ 0 w 47625"/>
                  <a:gd name="csY5" fmla="*/ 9525 h 19050"/>
                  <a:gd name="csX6" fmla="*/ 9525 w 47625"/>
                  <a:gd name="csY6" fmla="*/ 19050 h 1905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7625" h="19050">
                    <a:moveTo>
                      <a:pt x="9525" y="19050"/>
                    </a:moveTo>
                    <a:lnTo>
                      <a:pt x="38100" y="19050"/>
                    </a:lnTo>
                    <a:cubicBezTo>
                      <a:pt x="43360" y="19050"/>
                      <a:pt x="47625" y="14790"/>
                      <a:pt x="47625" y="9525"/>
                    </a:cubicBezTo>
                    <a:cubicBezTo>
                      <a:pt x="47625" y="4260"/>
                      <a:pt x="43360" y="0"/>
                      <a:pt x="38100" y="0"/>
                    </a:cubicBezTo>
                    <a:lnTo>
                      <a:pt x="9525" y="0"/>
                    </a:lnTo>
                    <a:cubicBezTo>
                      <a:pt x="4265" y="0"/>
                      <a:pt x="0" y="4260"/>
                      <a:pt x="0" y="9525"/>
                    </a:cubicBezTo>
                    <a:cubicBezTo>
                      <a:pt x="0" y="14790"/>
                      <a:pt x="4265" y="19050"/>
                      <a:pt x="9525" y="19050"/>
                    </a:cubicBezTo>
                    <a:close/>
                  </a:path>
                </a:pathLst>
              </a:custGeom>
              <a:grpFill/>
              <a:ln w="9525" cap="flat">
                <a:noFill/>
                <a:prstDash val="solid"/>
                <a:miter/>
              </a:ln>
            </p:spPr>
            <p:txBody>
              <a:bodyPr/>
              <a:lstStyle/>
              <a:p>
                <a:endParaRPr lang="en-US"/>
              </a:p>
            </p:txBody>
          </p:sp>
          <p:sp>
            <p:nvSpPr>
              <p:cNvPr id="109" name="Freeform: Shape 108">
                <a:extLst>
                  <a:ext uri="{FF2B5EF4-FFF2-40B4-BE49-F238E27FC236}">
                    <a16:creationId xmlns:a16="http://schemas.microsoft.com/office/drawing/2014/main" id="{EABDA84B-CB93-16EA-F9FA-D78C22CFFDE3}"/>
                  </a:ext>
                </a:extLst>
              </p:cNvPr>
              <p:cNvSpPr/>
              <p:nvPr/>
            </p:nvSpPr>
            <p:spPr>
              <a:xfrm>
                <a:off x="6353175" y="3371850"/>
                <a:ext cx="47625" cy="19050"/>
              </a:xfrm>
              <a:custGeom>
                <a:avLst/>
                <a:gdLst>
                  <a:gd name="csX0" fmla="*/ 38100 w 47625"/>
                  <a:gd name="csY0" fmla="*/ 0 h 19050"/>
                  <a:gd name="csX1" fmla="*/ 9525 w 47625"/>
                  <a:gd name="csY1" fmla="*/ 0 h 19050"/>
                  <a:gd name="csX2" fmla="*/ 0 w 47625"/>
                  <a:gd name="csY2" fmla="*/ 9525 h 19050"/>
                  <a:gd name="csX3" fmla="*/ 9525 w 47625"/>
                  <a:gd name="csY3" fmla="*/ 19050 h 19050"/>
                  <a:gd name="csX4" fmla="*/ 38100 w 47625"/>
                  <a:gd name="csY4" fmla="*/ 19050 h 19050"/>
                  <a:gd name="csX5" fmla="*/ 47625 w 47625"/>
                  <a:gd name="csY5" fmla="*/ 9525 h 19050"/>
                  <a:gd name="csX6" fmla="*/ 38100 w 47625"/>
                  <a:gd name="csY6" fmla="*/ 0 h 1905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7625" h="19050">
                    <a:moveTo>
                      <a:pt x="38100" y="0"/>
                    </a:moveTo>
                    <a:lnTo>
                      <a:pt x="9525" y="0"/>
                    </a:lnTo>
                    <a:cubicBezTo>
                      <a:pt x="4265" y="0"/>
                      <a:pt x="0" y="4260"/>
                      <a:pt x="0" y="9525"/>
                    </a:cubicBezTo>
                    <a:cubicBezTo>
                      <a:pt x="0" y="14790"/>
                      <a:pt x="4265" y="19050"/>
                      <a:pt x="9525" y="19050"/>
                    </a:cubicBezTo>
                    <a:lnTo>
                      <a:pt x="38100" y="19050"/>
                    </a:lnTo>
                    <a:cubicBezTo>
                      <a:pt x="43360" y="19050"/>
                      <a:pt x="47625" y="14790"/>
                      <a:pt x="47625" y="9525"/>
                    </a:cubicBezTo>
                    <a:cubicBezTo>
                      <a:pt x="47625" y="4260"/>
                      <a:pt x="43360" y="0"/>
                      <a:pt x="38100" y="0"/>
                    </a:cubicBezTo>
                    <a:close/>
                  </a:path>
                </a:pathLst>
              </a:custGeom>
              <a:grpFill/>
              <a:ln w="9525" cap="flat">
                <a:noFill/>
                <a:prstDash val="solid"/>
                <a:miter/>
              </a:ln>
            </p:spPr>
            <p:txBody>
              <a:bodyPr/>
              <a:lstStyle/>
              <a:p>
                <a:endParaRPr lang="en-US"/>
              </a:p>
            </p:txBody>
          </p:sp>
          <p:sp>
            <p:nvSpPr>
              <p:cNvPr id="111" name="Freeform: Shape 110">
                <a:extLst>
                  <a:ext uri="{FF2B5EF4-FFF2-40B4-BE49-F238E27FC236}">
                    <a16:creationId xmlns:a16="http://schemas.microsoft.com/office/drawing/2014/main" id="{DDF2B550-3FDC-D033-52D7-524673D2B805}"/>
                  </a:ext>
                </a:extLst>
              </p:cNvPr>
              <p:cNvSpPr/>
              <p:nvPr/>
            </p:nvSpPr>
            <p:spPr>
              <a:xfrm>
                <a:off x="6353175" y="3419475"/>
                <a:ext cx="47625" cy="19050"/>
              </a:xfrm>
              <a:custGeom>
                <a:avLst/>
                <a:gdLst>
                  <a:gd name="csX0" fmla="*/ 38100 w 47625"/>
                  <a:gd name="csY0" fmla="*/ 0 h 19050"/>
                  <a:gd name="csX1" fmla="*/ 9525 w 47625"/>
                  <a:gd name="csY1" fmla="*/ 0 h 19050"/>
                  <a:gd name="csX2" fmla="*/ 0 w 47625"/>
                  <a:gd name="csY2" fmla="*/ 9525 h 19050"/>
                  <a:gd name="csX3" fmla="*/ 9525 w 47625"/>
                  <a:gd name="csY3" fmla="*/ 19050 h 19050"/>
                  <a:gd name="csX4" fmla="*/ 38100 w 47625"/>
                  <a:gd name="csY4" fmla="*/ 19050 h 19050"/>
                  <a:gd name="csX5" fmla="*/ 47625 w 47625"/>
                  <a:gd name="csY5" fmla="*/ 9525 h 19050"/>
                  <a:gd name="csX6" fmla="*/ 38100 w 47625"/>
                  <a:gd name="csY6" fmla="*/ 0 h 1905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7625" h="19050">
                    <a:moveTo>
                      <a:pt x="38100" y="0"/>
                    </a:moveTo>
                    <a:lnTo>
                      <a:pt x="9525" y="0"/>
                    </a:lnTo>
                    <a:cubicBezTo>
                      <a:pt x="4265" y="0"/>
                      <a:pt x="0" y="4260"/>
                      <a:pt x="0" y="9525"/>
                    </a:cubicBezTo>
                    <a:cubicBezTo>
                      <a:pt x="0" y="14790"/>
                      <a:pt x="4265" y="19050"/>
                      <a:pt x="9525" y="19050"/>
                    </a:cubicBezTo>
                    <a:lnTo>
                      <a:pt x="38100" y="19050"/>
                    </a:lnTo>
                    <a:cubicBezTo>
                      <a:pt x="43360" y="19050"/>
                      <a:pt x="47625" y="14790"/>
                      <a:pt x="47625" y="9525"/>
                    </a:cubicBezTo>
                    <a:cubicBezTo>
                      <a:pt x="47625" y="4260"/>
                      <a:pt x="43360" y="0"/>
                      <a:pt x="38100" y="0"/>
                    </a:cubicBezTo>
                    <a:close/>
                  </a:path>
                </a:pathLst>
              </a:custGeom>
              <a:grpFill/>
              <a:ln w="9525" cap="flat">
                <a:noFill/>
                <a:prstDash val="solid"/>
                <a:miter/>
              </a:ln>
            </p:spPr>
            <p:txBody>
              <a:bodyPr/>
              <a:lstStyle/>
              <a:p>
                <a:endParaRPr lang="en-US"/>
              </a:p>
            </p:txBody>
          </p:sp>
          <p:sp>
            <p:nvSpPr>
              <p:cNvPr id="116" name="Freeform: Shape 115">
                <a:extLst>
                  <a:ext uri="{FF2B5EF4-FFF2-40B4-BE49-F238E27FC236}">
                    <a16:creationId xmlns:a16="http://schemas.microsoft.com/office/drawing/2014/main" id="{41345344-9121-D299-37DE-33AB2F715000}"/>
                  </a:ext>
                </a:extLst>
              </p:cNvPr>
              <p:cNvSpPr/>
              <p:nvPr/>
            </p:nvSpPr>
            <p:spPr>
              <a:xfrm>
                <a:off x="6353175" y="3467100"/>
                <a:ext cx="47625" cy="19050"/>
              </a:xfrm>
              <a:custGeom>
                <a:avLst/>
                <a:gdLst>
                  <a:gd name="csX0" fmla="*/ 38100 w 47625"/>
                  <a:gd name="csY0" fmla="*/ 0 h 19050"/>
                  <a:gd name="csX1" fmla="*/ 9525 w 47625"/>
                  <a:gd name="csY1" fmla="*/ 0 h 19050"/>
                  <a:gd name="csX2" fmla="*/ 0 w 47625"/>
                  <a:gd name="csY2" fmla="*/ 9525 h 19050"/>
                  <a:gd name="csX3" fmla="*/ 9525 w 47625"/>
                  <a:gd name="csY3" fmla="*/ 19050 h 19050"/>
                  <a:gd name="csX4" fmla="*/ 38100 w 47625"/>
                  <a:gd name="csY4" fmla="*/ 19050 h 19050"/>
                  <a:gd name="csX5" fmla="*/ 47625 w 47625"/>
                  <a:gd name="csY5" fmla="*/ 9525 h 19050"/>
                  <a:gd name="csX6" fmla="*/ 38100 w 47625"/>
                  <a:gd name="csY6" fmla="*/ 0 h 1905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7625" h="19050">
                    <a:moveTo>
                      <a:pt x="38100" y="0"/>
                    </a:moveTo>
                    <a:lnTo>
                      <a:pt x="9525" y="0"/>
                    </a:lnTo>
                    <a:cubicBezTo>
                      <a:pt x="4265" y="0"/>
                      <a:pt x="0" y="4260"/>
                      <a:pt x="0" y="9525"/>
                    </a:cubicBezTo>
                    <a:cubicBezTo>
                      <a:pt x="0" y="14790"/>
                      <a:pt x="4265" y="19050"/>
                      <a:pt x="9525" y="19050"/>
                    </a:cubicBezTo>
                    <a:lnTo>
                      <a:pt x="38100" y="19050"/>
                    </a:lnTo>
                    <a:cubicBezTo>
                      <a:pt x="43360" y="19050"/>
                      <a:pt x="47625" y="14790"/>
                      <a:pt x="47625" y="9525"/>
                    </a:cubicBezTo>
                    <a:cubicBezTo>
                      <a:pt x="47625" y="4260"/>
                      <a:pt x="43360" y="0"/>
                      <a:pt x="38100" y="0"/>
                    </a:cubicBezTo>
                    <a:close/>
                  </a:path>
                </a:pathLst>
              </a:custGeom>
              <a:grpFill/>
              <a:ln w="9525" cap="flat">
                <a:noFill/>
                <a:prstDash val="solid"/>
                <a:miter/>
              </a:ln>
            </p:spPr>
            <p:txBody>
              <a:bodyPr/>
              <a:lstStyle/>
              <a:p>
                <a:endParaRPr lang="en-US"/>
              </a:p>
            </p:txBody>
          </p:sp>
        </p:grpSp>
      </p:grpSp>
      <p:grpSp>
        <p:nvGrpSpPr>
          <p:cNvPr id="126" name="Group 125">
            <a:extLst>
              <a:ext uri="{FF2B5EF4-FFF2-40B4-BE49-F238E27FC236}">
                <a16:creationId xmlns:a16="http://schemas.microsoft.com/office/drawing/2014/main" id="{1DBB87BC-5F48-E03A-7C4F-69BB654B6CA6}"/>
              </a:ext>
            </a:extLst>
          </p:cNvPr>
          <p:cNvGrpSpPr/>
          <p:nvPr/>
        </p:nvGrpSpPr>
        <p:grpSpPr>
          <a:xfrm>
            <a:off x="6250778" y="1440815"/>
            <a:ext cx="354334" cy="354334"/>
            <a:chOff x="6250778" y="1440815"/>
            <a:chExt cx="354334" cy="354334"/>
          </a:xfrm>
        </p:grpSpPr>
        <p:sp>
          <p:nvSpPr>
            <p:cNvPr id="131" name="Oval 130">
              <a:extLst>
                <a:ext uri="{FF2B5EF4-FFF2-40B4-BE49-F238E27FC236}">
                  <a16:creationId xmlns:a16="http://schemas.microsoft.com/office/drawing/2014/main" id="{B315ACA0-C894-61F7-4220-6B8B04348BBE}"/>
                </a:ext>
              </a:extLst>
            </p:cNvPr>
            <p:cNvSpPr/>
            <p:nvPr/>
          </p:nvSpPr>
          <p:spPr>
            <a:xfrm>
              <a:off x="6250778"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1" name="Graphic 119">
              <a:extLst>
                <a:ext uri="{FF2B5EF4-FFF2-40B4-BE49-F238E27FC236}">
                  <a16:creationId xmlns:a16="http://schemas.microsoft.com/office/drawing/2014/main" id="{6CE0AB03-E6D9-B4C2-4743-0640830705B3}"/>
                </a:ext>
              </a:extLst>
            </p:cNvPr>
            <p:cNvGrpSpPr/>
            <p:nvPr/>
          </p:nvGrpSpPr>
          <p:grpSpPr>
            <a:xfrm>
              <a:off x="6310073" y="1500110"/>
              <a:ext cx="235744" cy="235744"/>
              <a:chOff x="3962400" y="1295400"/>
              <a:chExt cx="4267200" cy="4267200"/>
            </a:xfrm>
            <a:solidFill>
              <a:srgbClr val="2B660F"/>
            </a:solidFill>
          </p:grpSpPr>
          <p:sp>
            <p:nvSpPr>
              <p:cNvPr id="122" name="Freeform: Shape 121">
                <a:extLst>
                  <a:ext uri="{FF2B5EF4-FFF2-40B4-BE49-F238E27FC236}">
                    <a16:creationId xmlns:a16="http://schemas.microsoft.com/office/drawing/2014/main" id="{0D53416C-EEBC-102D-DD2D-A4CFC7FD0494}"/>
                  </a:ext>
                </a:extLst>
              </p:cNvPr>
              <p:cNvSpPr/>
              <p:nvPr/>
            </p:nvSpPr>
            <p:spPr>
              <a:xfrm>
                <a:off x="4011745" y="3429000"/>
                <a:ext cx="1292776" cy="1340346"/>
              </a:xfrm>
              <a:custGeom>
                <a:avLst/>
                <a:gdLst>
                  <a:gd name="csX0" fmla="*/ 518127 w 1292776"/>
                  <a:gd name="csY0" fmla="*/ 1227237 h 1340346"/>
                  <a:gd name="csX1" fmla="*/ 744345 w 1292776"/>
                  <a:gd name="csY1" fmla="*/ 1340346 h 1340346"/>
                  <a:gd name="csX2" fmla="*/ 868914 w 1292776"/>
                  <a:gd name="csY2" fmla="*/ 966490 h 1340346"/>
                  <a:gd name="csX3" fmla="*/ 898978 w 1292776"/>
                  <a:gd name="csY3" fmla="*/ 927199 h 1340346"/>
                  <a:gd name="csX4" fmla="*/ 1292777 w 1292776"/>
                  <a:gd name="csY4" fmla="*/ 664666 h 1340346"/>
                  <a:gd name="csX5" fmla="*/ 1041406 w 1292776"/>
                  <a:gd name="csY5" fmla="*/ 287685 h 1340346"/>
                  <a:gd name="csX6" fmla="*/ 754763 w 1292776"/>
                  <a:gd name="csY6" fmla="*/ 144363 h 1340346"/>
                  <a:gd name="csX7" fmla="*/ 734969 w 1292776"/>
                  <a:gd name="csY7" fmla="*/ 130076 h 1340346"/>
                  <a:gd name="csX8" fmla="*/ 604893 w 1292776"/>
                  <a:gd name="csY8" fmla="*/ 0 h 1340346"/>
                  <a:gd name="csX9" fmla="*/ 363196 w 1292776"/>
                  <a:gd name="csY9" fmla="*/ 0 h 1340346"/>
                  <a:gd name="csX10" fmla="*/ 89502 w 1292776"/>
                  <a:gd name="csY10" fmla="*/ 273769 h 1340346"/>
                  <a:gd name="csX11" fmla="*/ 0 w 1292776"/>
                  <a:gd name="csY11" fmla="*/ 452772 h 1340346"/>
                  <a:gd name="csX12" fmla="*/ 329571 w 1292776"/>
                  <a:gd name="csY12" fmla="*/ 1219200 h 1340346"/>
                  <a:gd name="csX13" fmla="*/ 484045 w 1292776"/>
                  <a:gd name="csY13" fmla="*/ 1219200 h 1340346"/>
                  <a:gd name="csX14" fmla="*/ 518127 w 1292776"/>
                  <a:gd name="csY14" fmla="*/ 1227237 h 13403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1292776" h="1340346">
                    <a:moveTo>
                      <a:pt x="518127" y="1227237"/>
                    </a:moveTo>
                    <a:lnTo>
                      <a:pt x="744345" y="1340346"/>
                    </a:lnTo>
                    <a:lnTo>
                      <a:pt x="868914" y="966490"/>
                    </a:lnTo>
                    <a:cubicBezTo>
                      <a:pt x="874272" y="950416"/>
                      <a:pt x="884839" y="936575"/>
                      <a:pt x="898978" y="927199"/>
                    </a:cubicBezTo>
                    <a:lnTo>
                      <a:pt x="1292777" y="664666"/>
                    </a:lnTo>
                    <a:lnTo>
                      <a:pt x="1041406" y="287685"/>
                    </a:lnTo>
                    <a:lnTo>
                      <a:pt x="754763" y="144363"/>
                    </a:lnTo>
                    <a:cubicBezTo>
                      <a:pt x="747471" y="140717"/>
                      <a:pt x="740773" y="135880"/>
                      <a:pt x="734969" y="130076"/>
                    </a:cubicBezTo>
                    <a:lnTo>
                      <a:pt x="604893" y="0"/>
                    </a:lnTo>
                    <a:lnTo>
                      <a:pt x="363196" y="0"/>
                    </a:lnTo>
                    <a:lnTo>
                      <a:pt x="89502" y="273769"/>
                    </a:lnTo>
                    <a:lnTo>
                      <a:pt x="0" y="452772"/>
                    </a:lnTo>
                    <a:cubicBezTo>
                      <a:pt x="59708" y="732430"/>
                      <a:pt x="173366" y="991446"/>
                      <a:pt x="329571" y="1219200"/>
                    </a:cubicBezTo>
                    <a:lnTo>
                      <a:pt x="484045" y="1219200"/>
                    </a:lnTo>
                    <a:cubicBezTo>
                      <a:pt x="495802" y="1219200"/>
                      <a:pt x="507560" y="1221953"/>
                      <a:pt x="518127" y="1227237"/>
                    </a:cubicBezTo>
                    <a:close/>
                  </a:path>
                </a:pathLst>
              </a:custGeom>
              <a:grpFill/>
              <a:ln w="152400" cap="flat">
                <a:noFill/>
                <a:prstDash val="solid"/>
                <a:miter/>
              </a:ln>
            </p:spPr>
            <p:txBody>
              <a:bodyPr/>
              <a:lstStyle/>
              <a:p>
                <a:endParaRPr lang="en-US"/>
              </a:p>
            </p:txBody>
          </p:sp>
          <p:sp>
            <p:nvSpPr>
              <p:cNvPr id="123" name="Freeform: Shape 122">
                <a:extLst>
                  <a:ext uri="{FF2B5EF4-FFF2-40B4-BE49-F238E27FC236}">
                    <a16:creationId xmlns:a16="http://schemas.microsoft.com/office/drawing/2014/main" id="{4380770F-A29D-F76C-1386-45605D5BD398}"/>
                  </a:ext>
                </a:extLst>
              </p:cNvPr>
              <p:cNvSpPr/>
              <p:nvPr/>
            </p:nvSpPr>
            <p:spPr>
              <a:xfrm>
                <a:off x="3962400" y="1295400"/>
                <a:ext cx="3921462" cy="4267200"/>
              </a:xfrm>
              <a:custGeom>
                <a:avLst/>
                <a:gdLst>
                  <a:gd name="csX0" fmla="*/ 3699718 w 3921462"/>
                  <a:gd name="csY0" fmla="*/ 3192363 h 4267200"/>
                  <a:gd name="csX1" fmla="*/ 3659088 w 3921462"/>
                  <a:gd name="csY1" fmla="*/ 3139157 h 4267200"/>
                  <a:gd name="csX2" fmla="*/ 3509665 w 3921462"/>
                  <a:gd name="csY2" fmla="*/ 2391891 h 4267200"/>
                  <a:gd name="csX3" fmla="*/ 3229570 w 3921462"/>
                  <a:gd name="csY3" fmla="*/ 1971749 h 4267200"/>
                  <a:gd name="csX4" fmla="*/ 2648545 w 3921462"/>
                  <a:gd name="csY4" fmla="*/ 1826493 h 4267200"/>
                  <a:gd name="csX5" fmla="*/ 2593033 w 3921462"/>
                  <a:gd name="csY5" fmla="*/ 1734145 h 4267200"/>
                  <a:gd name="csX6" fmla="*/ 2745433 w 3921462"/>
                  <a:gd name="csY6" fmla="*/ 1124545 h 4267200"/>
                  <a:gd name="csX7" fmla="*/ 2777133 w 3921462"/>
                  <a:gd name="csY7" fmla="*/ 1079599 h 4267200"/>
                  <a:gd name="csX8" fmla="*/ 3234333 w 3921462"/>
                  <a:gd name="csY8" fmla="*/ 774799 h 4267200"/>
                  <a:gd name="csX9" fmla="*/ 3276600 w 3921462"/>
                  <a:gd name="csY9" fmla="*/ 762000 h 4267200"/>
                  <a:gd name="csX10" fmla="*/ 3581400 w 3921462"/>
                  <a:gd name="csY10" fmla="*/ 762000 h 4267200"/>
                  <a:gd name="csX11" fmla="*/ 3615482 w 3921462"/>
                  <a:gd name="csY11" fmla="*/ 770037 h 4267200"/>
                  <a:gd name="csX12" fmla="*/ 3880275 w 3921462"/>
                  <a:gd name="csY12" fmla="*/ 902438 h 4267200"/>
                  <a:gd name="csX13" fmla="*/ 2406709 w 3921462"/>
                  <a:gd name="csY13" fmla="*/ 0 h 4267200"/>
                  <a:gd name="csX14" fmla="*/ 2438400 w 3921462"/>
                  <a:gd name="csY14" fmla="*/ 134131 h 4267200"/>
                  <a:gd name="csX15" fmla="*/ 2133600 w 3921462"/>
                  <a:gd name="csY15" fmla="*/ 441750 h 4267200"/>
                  <a:gd name="csX16" fmla="*/ 1828800 w 3921462"/>
                  <a:gd name="csY16" fmla="*/ 134131 h 4267200"/>
                  <a:gd name="csX17" fmla="*/ 1860491 w 3921462"/>
                  <a:gd name="csY17" fmla="*/ 0 h 4267200"/>
                  <a:gd name="csX18" fmla="*/ 0 w 3921462"/>
                  <a:gd name="csY18" fmla="*/ 2133600 h 4267200"/>
                  <a:gd name="csX19" fmla="*/ 8948 w 3921462"/>
                  <a:gd name="csY19" fmla="*/ 2326844 h 4267200"/>
                  <a:gd name="csX20" fmla="*/ 22315 w 3921462"/>
                  <a:gd name="csY20" fmla="*/ 2308324 h 4267200"/>
                  <a:gd name="csX21" fmla="*/ 327115 w 3921462"/>
                  <a:gd name="csY21" fmla="*/ 2003524 h 4267200"/>
                  <a:gd name="csX22" fmla="*/ 380991 w 3921462"/>
                  <a:gd name="csY22" fmla="*/ 1981200 h 4267200"/>
                  <a:gd name="csX23" fmla="*/ 685791 w 3921462"/>
                  <a:gd name="csY23" fmla="*/ 1981200 h 4267200"/>
                  <a:gd name="csX24" fmla="*/ 739667 w 3921462"/>
                  <a:gd name="csY24" fmla="*/ 2003524 h 4267200"/>
                  <a:gd name="csX25" fmla="*/ 883286 w 3921462"/>
                  <a:gd name="csY25" fmla="*/ 2147143 h 4267200"/>
                  <a:gd name="csX26" fmla="*/ 1177072 w 3921462"/>
                  <a:gd name="csY26" fmla="*/ 2294037 h 4267200"/>
                  <a:gd name="csX27" fmla="*/ 1206392 w 3921462"/>
                  <a:gd name="csY27" fmla="*/ 2319933 h 4267200"/>
                  <a:gd name="csX28" fmla="*/ 1511192 w 3921462"/>
                  <a:gd name="csY28" fmla="*/ 2777133 h 4267200"/>
                  <a:gd name="csX29" fmla="*/ 1490058 w 3921462"/>
                  <a:gd name="csY29" fmla="*/ 2882801 h 4267200"/>
                  <a:gd name="csX30" fmla="*/ 1054587 w 3921462"/>
                  <a:gd name="csY30" fmla="*/ 3173090 h 4267200"/>
                  <a:gd name="csX31" fmla="*/ 910521 w 3921462"/>
                  <a:gd name="csY31" fmla="*/ 3605510 h 4267200"/>
                  <a:gd name="csX32" fmla="*/ 867361 w 3921462"/>
                  <a:gd name="csY32" fmla="*/ 3651796 h 4267200"/>
                  <a:gd name="csX33" fmla="*/ 838191 w 3921462"/>
                  <a:gd name="csY33" fmla="*/ 3657600 h 4267200"/>
                  <a:gd name="csX34" fmla="*/ 804109 w 3921462"/>
                  <a:gd name="csY34" fmla="*/ 3649563 h 4267200"/>
                  <a:gd name="csX35" fmla="*/ 515383 w 3921462"/>
                  <a:gd name="csY35" fmla="*/ 3505200 h 4267200"/>
                  <a:gd name="csX36" fmla="*/ 493616 w 3921462"/>
                  <a:gd name="csY36" fmla="*/ 3505200 h 4267200"/>
                  <a:gd name="csX37" fmla="*/ 1860491 w 3921462"/>
                  <a:gd name="csY37" fmla="*/ 4267200 h 4267200"/>
                  <a:gd name="csX38" fmla="*/ 1828800 w 3921462"/>
                  <a:gd name="csY38" fmla="*/ 4133059 h 4267200"/>
                  <a:gd name="csX39" fmla="*/ 2133600 w 3921462"/>
                  <a:gd name="csY39" fmla="*/ 3825450 h 4267200"/>
                  <a:gd name="csX40" fmla="*/ 2438400 w 3921462"/>
                  <a:gd name="csY40" fmla="*/ 4133059 h 4267200"/>
                  <a:gd name="csX41" fmla="*/ 2406709 w 3921462"/>
                  <a:gd name="csY41" fmla="*/ 4267200 h 4267200"/>
                  <a:gd name="csX42" fmla="*/ 3921463 w 3921462"/>
                  <a:gd name="csY42" fmla="*/ 3303231 h 4267200"/>
                  <a:gd name="csX43" fmla="*/ 2209800 w 3921462"/>
                  <a:gd name="csY43" fmla="*/ 3581400 h 4267200"/>
                  <a:gd name="csX44" fmla="*/ 2133600 w 3921462"/>
                  <a:gd name="csY44" fmla="*/ 3657600 h 4267200"/>
                  <a:gd name="csX45" fmla="*/ 2057400 w 3921462"/>
                  <a:gd name="csY45" fmla="*/ 3581400 h 4267200"/>
                  <a:gd name="csX46" fmla="*/ 2057400 w 3921462"/>
                  <a:gd name="csY46" fmla="*/ 3429000 h 4267200"/>
                  <a:gd name="csX47" fmla="*/ 2133600 w 3921462"/>
                  <a:gd name="csY47" fmla="*/ 3352800 h 4267200"/>
                  <a:gd name="csX48" fmla="*/ 2209800 w 3921462"/>
                  <a:gd name="csY48" fmla="*/ 3429000 h 4267200"/>
                  <a:gd name="csX49" fmla="*/ 2209800 w 3921462"/>
                  <a:gd name="csY49" fmla="*/ 3124200 h 4267200"/>
                  <a:gd name="csX50" fmla="*/ 2133600 w 3921462"/>
                  <a:gd name="csY50" fmla="*/ 3200400 h 4267200"/>
                  <a:gd name="csX51" fmla="*/ 2057400 w 3921462"/>
                  <a:gd name="csY51" fmla="*/ 3124200 h 4267200"/>
                  <a:gd name="csX52" fmla="*/ 2057400 w 3921462"/>
                  <a:gd name="csY52" fmla="*/ 2971800 h 4267200"/>
                  <a:gd name="csX53" fmla="*/ 2133600 w 3921462"/>
                  <a:gd name="csY53" fmla="*/ 2895600 h 4267200"/>
                  <a:gd name="csX54" fmla="*/ 2209800 w 3921462"/>
                  <a:gd name="csY54" fmla="*/ 2971800 h 4267200"/>
                  <a:gd name="csX55" fmla="*/ 2209800 w 3921462"/>
                  <a:gd name="csY55" fmla="*/ 2667000 h 4267200"/>
                  <a:gd name="csX56" fmla="*/ 2133600 w 3921462"/>
                  <a:gd name="csY56" fmla="*/ 2743200 h 4267200"/>
                  <a:gd name="csX57" fmla="*/ 2057400 w 3921462"/>
                  <a:gd name="csY57" fmla="*/ 2667000 h 4267200"/>
                  <a:gd name="csX58" fmla="*/ 2057400 w 3921462"/>
                  <a:gd name="csY58" fmla="*/ 2514600 h 4267200"/>
                  <a:gd name="csX59" fmla="*/ 2133600 w 3921462"/>
                  <a:gd name="csY59" fmla="*/ 2438400 h 4267200"/>
                  <a:gd name="csX60" fmla="*/ 2209800 w 3921462"/>
                  <a:gd name="csY60" fmla="*/ 2514600 h 4267200"/>
                  <a:gd name="csX61" fmla="*/ 2209800 w 3921462"/>
                  <a:gd name="csY61" fmla="*/ 2209800 h 4267200"/>
                  <a:gd name="csX62" fmla="*/ 2133600 w 3921462"/>
                  <a:gd name="csY62" fmla="*/ 2286000 h 4267200"/>
                  <a:gd name="csX63" fmla="*/ 2057400 w 3921462"/>
                  <a:gd name="csY63" fmla="*/ 2209800 h 4267200"/>
                  <a:gd name="csX64" fmla="*/ 2057400 w 3921462"/>
                  <a:gd name="csY64" fmla="*/ 2057400 h 4267200"/>
                  <a:gd name="csX65" fmla="*/ 2133600 w 3921462"/>
                  <a:gd name="csY65" fmla="*/ 1981200 h 4267200"/>
                  <a:gd name="csX66" fmla="*/ 2209800 w 3921462"/>
                  <a:gd name="csY66" fmla="*/ 2057400 h 4267200"/>
                  <a:gd name="csX67" fmla="*/ 2209800 w 3921462"/>
                  <a:gd name="csY67" fmla="*/ 1752600 h 4267200"/>
                  <a:gd name="csX68" fmla="*/ 2133600 w 3921462"/>
                  <a:gd name="csY68" fmla="*/ 1828800 h 4267200"/>
                  <a:gd name="csX69" fmla="*/ 2057400 w 3921462"/>
                  <a:gd name="csY69" fmla="*/ 1752600 h 4267200"/>
                  <a:gd name="csX70" fmla="*/ 2057400 w 3921462"/>
                  <a:gd name="csY70" fmla="*/ 1600200 h 4267200"/>
                  <a:gd name="csX71" fmla="*/ 2133600 w 3921462"/>
                  <a:gd name="csY71" fmla="*/ 1524000 h 4267200"/>
                  <a:gd name="csX72" fmla="*/ 2209800 w 3921462"/>
                  <a:gd name="csY72" fmla="*/ 1600200 h 4267200"/>
                  <a:gd name="csX73" fmla="*/ 2209800 w 3921462"/>
                  <a:gd name="csY73" fmla="*/ 1295400 h 4267200"/>
                  <a:gd name="csX74" fmla="*/ 2133600 w 3921462"/>
                  <a:gd name="csY74" fmla="*/ 1371600 h 4267200"/>
                  <a:gd name="csX75" fmla="*/ 2057400 w 3921462"/>
                  <a:gd name="csY75" fmla="*/ 1295400 h 4267200"/>
                  <a:gd name="csX76" fmla="*/ 2057400 w 3921462"/>
                  <a:gd name="csY76" fmla="*/ 1143000 h 4267200"/>
                  <a:gd name="csX77" fmla="*/ 2133600 w 3921462"/>
                  <a:gd name="csY77" fmla="*/ 1066800 h 4267200"/>
                  <a:gd name="csX78" fmla="*/ 2209800 w 3921462"/>
                  <a:gd name="csY78" fmla="*/ 1143000 h 4267200"/>
                  <a:gd name="csX79" fmla="*/ 2209800 w 3921462"/>
                  <a:gd name="csY79" fmla="*/ 838200 h 4267200"/>
                  <a:gd name="csX80" fmla="*/ 2133600 w 3921462"/>
                  <a:gd name="csY80" fmla="*/ 914400 h 4267200"/>
                  <a:gd name="csX81" fmla="*/ 2057400 w 3921462"/>
                  <a:gd name="csY81" fmla="*/ 838200 h 4267200"/>
                  <a:gd name="csX82" fmla="*/ 2057400 w 3921462"/>
                  <a:gd name="csY82" fmla="*/ 685800 h 4267200"/>
                  <a:gd name="csX83" fmla="*/ 2133600 w 3921462"/>
                  <a:gd name="csY83" fmla="*/ 609600 h 4267200"/>
                  <a:gd name="csX84" fmla="*/ 2209800 w 3921462"/>
                  <a:gd name="csY84" fmla="*/ 685800 h 42672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Lst>
                <a:rect l="l" t="t" r="r" b="b"/>
                <a:pathLst>
                  <a:path w="3921462" h="4267200">
                    <a:moveTo>
                      <a:pt x="3699718" y="3192363"/>
                    </a:moveTo>
                    <a:cubicBezTo>
                      <a:pt x="3678734" y="3181871"/>
                      <a:pt x="3663702" y="3162226"/>
                      <a:pt x="3659088" y="3139157"/>
                    </a:cubicBezTo>
                    <a:lnTo>
                      <a:pt x="3509665" y="2391891"/>
                    </a:lnTo>
                    <a:lnTo>
                      <a:pt x="3229570" y="1971749"/>
                    </a:lnTo>
                    <a:lnTo>
                      <a:pt x="2648545" y="1826493"/>
                    </a:lnTo>
                    <a:cubicBezTo>
                      <a:pt x="2607618" y="1816299"/>
                      <a:pt x="2582912" y="1774924"/>
                      <a:pt x="2593033" y="1734145"/>
                    </a:cubicBezTo>
                    <a:lnTo>
                      <a:pt x="2745433" y="1124545"/>
                    </a:lnTo>
                    <a:cubicBezTo>
                      <a:pt x="2750046" y="1106165"/>
                      <a:pt x="2761357" y="1090092"/>
                      <a:pt x="2777133" y="1079599"/>
                    </a:cubicBezTo>
                    <a:lnTo>
                      <a:pt x="3234333" y="774799"/>
                    </a:lnTo>
                    <a:cubicBezTo>
                      <a:pt x="3246835" y="766465"/>
                      <a:pt x="3261568" y="762000"/>
                      <a:pt x="3276600" y="762000"/>
                    </a:cubicBezTo>
                    <a:lnTo>
                      <a:pt x="3581400" y="762000"/>
                    </a:lnTo>
                    <a:cubicBezTo>
                      <a:pt x="3593158" y="762000"/>
                      <a:pt x="3604915" y="764753"/>
                      <a:pt x="3615482" y="770037"/>
                    </a:cubicBezTo>
                    <a:lnTo>
                      <a:pt x="3880275" y="902438"/>
                    </a:lnTo>
                    <a:cubicBezTo>
                      <a:pt x="3543486" y="418328"/>
                      <a:pt x="3015453" y="79028"/>
                      <a:pt x="2406709" y="0"/>
                    </a:cubicBezTo>
                    <a:cubicBezTo>
                      <a:pt x="2426382" y="40686"/>
                      <a:pt x="2438400" y="85809"/>
                      <a:pt x="2438400" y="134131"/>
                    </a:cubicBezTo>
                    <a:cubicBezTo>
                      <a:pt x="2438400" y="304019"/>
                      <a:pt x="2301934" y="441750"/>
                      <a:pt x="2133600" y="441750"/>
                    </a:cubicBezTo>
                    <a:cubicBezTo>
                      <a:pt x="1965266" y="441750"/>
                      <a:pt x="1828800" y="304019"/>
                      <a:pt x="1828800" y="134131"/>
                    </a:cubicBezTo>
                    <a:cubicBezTo>
                      <a:pt x="1828800" y="85809"/>
                      <a:pt x="1840818" y="40686"/>
                      <a:pt x="1860491" y="0"/>
                    </a:cubicBezTo>
                    <a:cubicBezTo>
                      <a:pt x="812816" y="136010"/>
                      <a:pt x="0" y="1039853"/>
                      <a:pt x="0" y="2133600"/>
                    </a:cubicBezTo>
                    <a:cubicBezTo>
                      <a:pt x="0" y="2198768"/>
                      <a:pt x="3302" y="2263146"/>
                      <a:pt x="8948" y="2326844"/>
                    </a:cubicBezTo>
                    <a:cubicBezTo>
                      <a:pt x="12548" y="2320091"/>
                      <a:pt x="16883" y="2313757"/>
                      <a:pt x="22315" y="2308324"/>
                    </a:cubicBezTo>
                    <a:lnTo>
                      <a:pt x="327115" y="2003524"/>
                    </a:lnTo>
                    <a:cubicBezTo>
                      <a:pt x="341402" y="1989237"/>
                      <a:pt x="360750" y="1981200"/>
                      <a:pt x="380991" y="1981200"/>
                    </a:cubicBezTo>
                    <a:lnTo>
                      <a:pt x="685791" y="1981200"/>
                    </a:lnTo>
                    <a:cubicBezTo>
                      <a:pt x="706031" y="1981200"/>
                      <a:pt x="725379" y="1989237"/>
                      <a:pt x="739667" y="2003524"/>
                    </a:cubicBezTo>
                    <a:lnTo>
                      <a:pt x="883286" y="2147143"/>
                    </a:lnTo>
                    <a:lnTo>
                      <a:pt x="1177072" y="2294037"/>
                    </a:lnTo>
                    <a:cubicBezTo>
                      <a:pt x="1188979" y="2299990"/>
                      <a:pt x="1199099" y="2308920"/>
                      <a:pt x="1206392" y="2319933"/>
                    </a:cubicBezTo>
                    <a:lnTo>
                      <a:pt x="1511192" y="2777133"/>
                    </a:lnTo>
                    <a:cubicBezTo>
                      <a:pt x="1534558" y="2812182"/>
                      <a:pt x="1525033" y="2859435"/>
                      <a:pt x="1490058" y="2882801"/>
                    </a:cubicBezTo>
                    <a:lnTo>
                      <a:pt x="1054587" y="3173090"/>
                    </a:lnTo>
                    <a:lnTo>
                      <a:pt x="910521" y="3605510"/>
                    </a:lnTo>
                    <a:cubicBezTo>
                      <a:pt x="903526" y="3626421"/>
                      <a:pt x="887750" y="3643313"/>
                      <a:pt x="867361" y="3651796"/>
                    </a:cubicBezTo>
                    <a:cubicBezTo>
                      <a:pt x="857985" y="3655665"/>
                      <a:pt x="848013" y="3657600"/>
                      <a:pt x="838191" y="3657600"/>
                    </a:cubicBezTo>
                    <a:cubicBezTo>
                      <a:pt x="826433" y="3657600"/>
                      <a:pt x="814825" y="3654921"/>
                      <a:pt x="804109" y="3649563"/>
                    </a:cubicBezTo>
                    <a:lnTo>
                      <a:pt x="515383" y="3505200"/>
                    </a:lnTo>
                    <a:lnTo>
                      <a:pt x="493616" y="3505200"/>
                    </a:lnTo>
                    <a:cubicBezTo>
                      <a:pt x="830387" y="3913678"/>
                      <a:pt x="1312580" y="4196070"/>
                      <a:pt x="1860491" y="4267200"/>
                    </a:cubicBezTo>
                    <a:cubicBezTo>
                      <a:pt x="1840818" y="4226514"/>
                      <a:pt x="1828800" y="4181382"/>
                      <a:pt x="1828800" y="4133059"/>
                    </a:cubicBezTo>
                    <a:cubicBezTo>
                      <a:pt x="1828800" y="3963163"/>
                      <a:pt x="1965266" y="3825450"/>
                      <a:pt x="2133600" y="3825450"/>
                    </a:cubicBezTo>
                    <a:cubicBezTo>
                      <a:pt x="2301934" y="3825450"/>
                      <a:pt x="2438400" y="3963163"/>
                      <a:pt x="2438400" y="4133059"/>
                    </a:cubicBezTo>
                    <a:cubicBezTo>
                      <a:pt x="2438400" y="4181382"/>
                      <a:pt x="2426382" y="4226514"/>
                      <a:pt x="2406709" y="4267200"/>
                    </a:cubicBezTo>
                    <a:cubicBezTo>
                      <a:pt x="3040912" y="4184861"/>
                      <a:pt x="3587586" y="3820093"/>
                      <a:pt x="3921463" y="3303231"/>
                    </a:cubicBezTo>
                    <a:close/>
                    <a:moveTo>
                      <a:pt x="2209800" y="3581400"/>
                    </a:moveTo>
                    <a:cubicBezTo>
                      <a:pt x="2209800" y="3623518"/>
                      <a:pt x="2175718" y="3657600"/>
                      <a:pt x="2133600" y="3657600"/>
                    </a:cubicBezTo>
                    <a:cubicBezTo>
                      <a:pt x="2091482" y="3657600"/>
                      <a:pt x="2057400" y="3623518"/>
                      <a:pt x="2057400" y="3581400"/>
                    </a:cubicBezTo>
                    <a:lnTo>
                      <a:pt x="2057400" y="3429000"/>
                    </a:lnTo>
                    <a:cubicBezTo>
                      <a:pt x="2057400" y="3386882"/>
                      <a:pt x="2091482" y="3352800"/>
                      <a:pt x="2133600" y="3352800"/>
                    </a:cubicBezTo>
                    <a:cubicBezTo>
                      <a:pt x="2175718" y="3352800"/>
                      <a:pt x="2209800" y="3386882"/>
                      <a:pt x="2209800" y="3429000"/>
                    </a:cubicBezTo>
                    <a:close/>
                    <a:moveTo>
                      <a:pt x="2209800" y="3124200"/>
                    </a:moveTo>
                    <a:cubicBezTo>
                      <a:pt x="2209800" y="3166318"/>
                      <a:pt x="2175718" y="3200400"/>
                      <a:pt x="2133600" y="3200400"/>
                    </a:cubicBezTo>
                    <a:cubicBezTo>
                      <a:pt x="2091482" y="3200400"/>
                      <a:pt x="2057400" y="3166318"/>
                      <a:pt x="2057400" y="3124200"/>
                    </a:cubicBezTo>
                    <a:lnTo>
                      <a:pt x="2057400" y="2971800"/>
                    </a:lnTo>
                    <a:cubicBezTo>
                      <a:pt x="2057400" y="2929682"/>
                      <a:pt x="2091482" y="2895600"/>
                      <a:pt x="2133600" y="2895600"/>
                    </a:cubicBezTo>
                    <a:cubicBezTo>
                      <a:pt x="2175718" y="2895600"/>
                      <a:pt x="2209800" y="2929682"/>
                      <a:pt x="2209800" y="2971800"/>
                    </a:cubicBezTo>
                    <a:close/>
                    <a:moveTo>
                      <a:pt x="2209800" y="2667000"/>
                    </a:moveTo>
                    <a:cubicBezTo>
                      <a:pt x="2209800" y="2709118"/>
                      <a:pt x="2175718" y="2743200"/>
                      <a:pt x="2133600" y="2743200"/>
                    </a:cubicBezTo>
                    <a:cubicBezTo>
                      <a:pt x="2091482" y="2743200"/>
                      <a:pt x="2057400" y="2709118"/>
                      <a:pt x="2057400" y="2667000"/>
                    </a:cubicBezTo>
                    <a:lnTo>
                      <a:pt x="2057400" y="2514600"/>
                    </a:lnTo>
                    <a:cubicBezTo>
                      <a:pt x="2057400" y="2472482"/>
                      <a:pt x="2091482" y="2438400"/>
                      <a:pt x="2133600" y="2438400"/>
                    </a:cubicBezTo>
                    <a:cubicBezTo>
                      <a:pt x="2175718" y="2438400"/>
                      <a:pt x="2209800" y="2472482"/>
                      <a:pt x="2209800" y="2514600"/>
                    </a:cubicBezTo>
                    <a:close/>
                    <a:moveTo>
                      <a:pt x="2209800" y="2209800"/>
                    </a:moveTo>
                    <a:cubicBezTo>
                      <a:pt x="2209800" y="2251918"/>
                      <a:pt x="2175718" y="2286000"/>
                      <a:pt x="2133600" y="2286000"/>
                    </a:cubicBezTo>
                    <a:cubicBezTo>
                      <a:pt x="2091482" y="2286000"/>
                      <a:pt x="2057400" y="2251918"/>
                      <a:pt x="2057400" y="2209800"/>
                    </a:cubicBezTo>
                    <a:lnTo>
                      <a:pt x="2057400" y="2057400"/>
                    </a:lnTo>
                    <a:cubicBezTo>
                      <a:pt x="2057400" y="2015282"/>
                      <a:pt x="2091482" y="1981200"/>
                      <a:pt x="2133600" y="1981200"/>
                    </a:cubicBezTo>
                    <a:cubicBezTo>
                      <a:pt x="2175718" y="1981200"/>
                      <a:pt x="2209800" y="2015282"/>
                      <a:pt x="2209800" y="2057400"/>
                    </a:cubicBezTo>
                    <a:close/>
                    <a:moveTo>
                      <a:pt x="2209800" y="1752600"/>
                    </a:moveTo>
                    <a:cubicBezTo>
                      <a:pt x="2209800" y="1794718"/>
                      <a:pt x="2175718" y="1828800"/>
                      <a:pt x="2133600" y="1828800"/>
                    </a:cubicBezTo>
                    <a:cubicBezTo>
                      <a:pt x="2091482" y="1828800"/>
                      <a:pt x="2057400" y="1794718"/>
                      <a:pt x="2057400" y="1752600"/>
                    </a:cubicBezTo>
                    <a:lnTo>
                      <a:pt x="2057400" y="1600200"/>
                    </a:lnTo>
                    <a:cubicBezTo>
                      <a:pt x="2057400" y="1558082"/>
                      <a:pt x="2091482" y="1524000"/>
                      <a:pt x="2133600" y="1524000"/>
                    </a:cubicBezTo>
                    <a:cubicBezTo>
                      <a:pt x="2175718" y="1524000"/>
                      <a:pt x="2209800" y="1558082"/>
                      <a:pt x="2209800" y="1600200"/>
                    </a:cubicBezTo>
                    <a:close/>
                    <a:moveTo>
                      <a:pt x="2209800" y="1295400"/>
                    </a:moveTo>
                    <a:cubicBezTo>
                      <a:pt x="2209800" y="1337518"/>
                      <a:pt x="2175718" y="1371600"/>
                      <a:pt x="2133600" y="1371600"/>
                    </a:cubicBezTo>
                    <a:cubicBezTo>
                      <a:pt x="2091482" y="1371600"/>
                      <a:pt x="2057400" y="1337518"/>
                      <a:pt x="2057400" y="1295400"/>
                    </a:cubicBezTo>
                    <a:lnTo>
                      <a:pt x="2057400" y="1143000"/>
                    </a:lnTo>
                    <a:cubicBezTo>
                      <a:pt x="2057400" y="1100882"/>
                      <a:pt x="2091482" y="1066800"/>
                      <a:pt x="2133600" y="1066800"/>
                    </a:cubicBezTo>
                    <a:cubicBezTo>
                      <a:pt x="2175718" y="1066800"/>
                      <a:pt x="2209800" y="1100882"/>
                      <a:pt x="2209800" y="1143000"/>
                    </a:cubicBezTo>
                    <a:close/>
                    <a:moveTo>
                      <a:pt x="2209800" y="838200"/>
                    </a:moveTo>
                    <a:cubicBezTo>
                      <a:pt x="2209800" y="880318"/>
                      <a:pt x="2175718" y="914400"/>
                      <a:pt x="2133600" y="914400"/>
                    </a:cubicBezTo>
                    <a:cubicBezTo>
                      <a:pt x="2091482" y="914400"/>
                      <a:pt x="2057400" y="880318"/>
                      <a:pt x="2057400" y="838200"/>
                    </a:cubicBezTo>
                    <a:lnTo>
                      <a:pt x="2057400" y="685800"/>
                    </a:lnTo>
                    <a:cubicBezTo>
                      <a:pt x="2057400" y="643682"/>
                      <a:pt x="2091482" y="609600"/>
                      <a:pt x="2133600" y="609600"/>
                    </a:cubicBezTo>
                    <a:cubicBezTo>
                      <a:pt x="2175718" y="609600"/>
                      <a:pt x="2209800" y="643682"/>
                      <a:pt x="2209800" y="685800"/>
                    </a:cubicBezTo>
                    <a:close/>
                  </a:path>
                </a:pathLst>
              </a:custGeom>
              <a:grpFill/>
              <a:ln w="152400" cap="flat">
                <a:noFill/>
                <a:prstDash val="solid"/>
                <a:miter/>
              </a:ln>
            </p:spPr>
            <p:txBody>
              <a:bodyPr/>
              <a:lstStyle/>
              <a:p>
                <a:endParaRPr lang="en-US"/>
              </a:p>
            </p:txBody>
          </p:sp>
          <p:sp>
            <p:nvSpPr>
              <p:cNvPr id="125" name="Freeform: Shape 124">
                <a:extLst>
                  <a:ext uri="{FF2B5EF4-FFF2-40B4-BE49-F238E27FC236}">
                    <a16:creationId xmlns:a16="http://schemas.microsoft.com/office/drawing/2014/main" id="{4E464703-8BD3-8F84-DA6C-228CEF092CC3}"/>
                  </a:ext>
                </a:extLst>
              </p:cNvPr>
              <p:cNvSpPr/>
              <p:nvPr/>
            </p:nvSpPr>
            <p:spPr>
              <a:xfrm>
                <a:off x="6721822" y="2209800"/>
                <a:ext cx="1507777" cy="2257443"/>
              </a:xfrm>
              <a:custGeom>
                <a:avLst/>
                <a:gdLst>
                  <a:gd name="csX0" fmla="*/ 804118 w 1507777"/>
                  <a:gd name="csY0" fmla="*/ 0 h 2257443"/>
                  <a:gd name="csX1" fmla="*/ 540246 w 1507777"/>
                  <a:gd name="csY1" fmla="*/ 0 h 2257443"/>
                  <a:gd name="csX2" fmla="*/ 126802 w 1507777"/>
                  <a:gd name="csY2" fmla="*/ 275630 h 2257443"/>
                  <a:gd name="csX3" fmla="*/ 0 w 1507777"/>
                  <a:gd name="csY3" fmla="*/ 782762 h 2257443"/>
                  <a:gd name="csX4" fmla="*/ 535632 w 1507777"/>
                  <a:gd name="csY4" fmla="*/ 916707 h 2257443"/>
                  <a:gd name="csX5" fmla="*/ 580579 w 1507777"/>
                  <a:gd name="csY5" fmla="*/ 948333 h 2257443"/>
                  <a:gd name="csX6" fmla="*/ 885379 w 1507777"/>
                  <a:gd name="csY6" fmla="*/ 1405533 h 2257443"/>
                  <a:gd name="csX7" fmla="*/ 896689 w 1507777"/>
                  <a:gd name="csY7" fmla="*/ 1432843 h 2257443"/>
                  <a:gd name="csX8" fmla="*/ 1041797 w 1507777"/>
                  <a:gd name="csY8" fmla="*/ 2158306 h 2257443"/>
                  <a:gd name="csX9" fmla="*/ 1240083 w 1507777"/>
                  <a:gd name="csY9" fmla="*/ 2257444 h 2257443"/>
                  <a:gd name="csX10" fmla="*/ 1507778 w 1507777"/>
                  <a:gd name="csY10" fmla="*/ 1219200 h 2257443"/>
                  <a:gd name="csX11" fmla="*/ 1249021 w 1507777"/>
                  <a:gd name="csY11" fmla="*/ 197244 h 2257443"/>
                  <a:gd name="csX12" fmla="*/ 1102668 w 1507777"/>
                  <a:gd name="csY12" fmla="*/ 148456 h 225744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1507777" h="2257443">
                    <a:moveTo>
                      <a:pt x="804118" y="0"/>
                    </a:moveTo>
                    <a:lnTo>
                      <a:pt x="540246" y="0"/>
                    </a:lnTo>
                    <a:lnTo>
                      <a:pt x="126802" y="275630"/>
                    </a:lnTo>
                    <a:lnTo>
                      <a:pt x="0" y="782762"/>
                    </a:lnTo>
                    <a:lnTo>
                      <a:pt x="535632" y="916707"/>
                    </a:lnTo>
                    <a:cubicBezTo>
                      <a:pt x="554087" y="921246"/>
                      <a:pt x="570012" y="932557"/>
                      <a:pt x="580579" y="948333"/>
                    </a:cubicBezTo>
                    <a:lnTo>
                      <a:pt x="885379" y="1405533"/>
                    </a:lnTo>
                    <a:cubicBezTo>
                      <a:pt x="890885" y="1413793"/>
                      <a:pt x="894755" y="1423095"/>
                      <a:pt x="896689" y="1432843"/>
                    </a:cubicBezTo>
                    <a:lnTo>
                      <a:pt x="1041797" y="2158306"/>
                    </a:lnTo>
                    <a:lnTo>
                      <a:pt x="1240083" y="2257444"/>
                    </a:lnTo>
                    <a:cubicBezTo>
                      <a:pt x="1409468" y="1949295"/>
                      <a:pt x="1507778" y="1596098"/>
                      <a:pt x="1507778" y="1219200"/>
                    </a:cubicBezTo>
                    <a:cubicBezTo>
                      <a:pt x="1507778" y="848944"/>
                      <a:pt x="1412891" y="501551"/>
                      <a:pt x="1249021" y="197244"/>
                    </a:cubicBezTo>
                    <a:lnTo>
                      <a:pt x="1102668" y="148456"/>
                    </a:lnTo>
                    <a:close/>
                  </a:path>
                </a:pathLst>
              </a:custGeom>
              <a:grpFill/>
              <a:ln w="152400" cap="flat">
                <a:noFill/>
                <a:prstDash val="solid"/>
                <a:miter/>
              </a:ln>
            </p:spPr>
            <p:txBody>
              <a:bodyPr/>
              <a:lstStyle/>
              <a:p>
                <a:endParaRPr lang="en-US"/>
              </a:p>
            </p:txBody>
          </p:sp>
        </p:grpSp>
      </p:grpSp>
      <p:grpSp>
        <p:nvGrpSpPr>
          <p:cNvPr id="135" name="Group 134">
            <a:extLst>
              <a:ext uri="{FF2B5EF4-FFF2-40B4-BE49-F238E27FC236}">
                <a16:creationId xmlns:a16="http://schemas.microsoft.com/office/drawing/2014/main" id="{A4AB9180-C774-7985-4BF1-DC898CB25C97}"/>
              </a:ext>
            </a:extLst>
          </p:cNvPr>
          <p:cNvGrpSpPr/>
          <p:nvPr/>
        </p:nvGrpSpPr>
        <p:grpSpPr>
          <a:xfrm>
            <a:off x="6250778" y="2450345"/>
            <a:ext cx="354334" cy="354334"/>
            <a:chOff x="6250778" y="2450345"/>
            <a:chExt cx="354334" cy="354334"/>
          </a:xfrm>
        </p:grpSpPr>
        <p:sp>
          <p:nvSpPr>
            <p:cNvPr id="132" name="Oval 131">
              <a:extLst>
                <a:ext uri="{FF2B5EF4-FFF2-40B4-BE49-F238E27FC236}">
                  <a16:creationId xmlns:a16="http://schemas.microsoft.com/office/drawing/2014/main" id="{1F9665CC-06CC-DF21-17E0-C8B7595CD40E}"/>
                </a:ext>
              </a:extLst>
            </p:cNvPr>
            <p:cNvSpPr/>
            <p:nvPr/>
          </p:nvSpPr>
          <p:spPr>
            <a:xfrm>
              <a:off x="6250778" y="245034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Graphic 128">
              <a:extLst>
                <a:ext uri="{FF2B5EF4-FFF2-40B4-BE49-F238E27FC236}">
                  <a16:creationId xmlns:a16="http://schemas.microsoft.com/office/drawing/2014/main" id="{8B127F0F-F192-B910-5C50-40AE5D127DB5}"/>
                </a:ext>
              </a:extLst>
            </p:cNvPr>
            <p:cNvSpPr/>
            <p:nvPr/>
          </p:nvSpPr>
          <p:spPr>
            <a:xfrm>
              <a:off x="6311254" y="2510821"/>
              <a:ext cx="233383" cy="233382"/>
            </a:xfrm>
            <a:custGeom>
              <a:avLst/>
              <a:gdLst>
                <a:gd name="csX0" fmla="*/ 4652706 w 4667276"/>
                <a:gd name="csY0" fmla="*/ 2073114 h 4667264"/>
                <a:gd name="csX1" fmla="*/ 4556046 w 4667276"/>
                <a:gd name="csY1" fmla="*/ 1986713 h 4667264"/>
                <a:gd name="csX2" fmla="*/ 4364079 w 4667276"/>
                <a:gd name="csY2" fmla="*/ 1986713 h 4667264"/>
                <a:gd name="csX3" fmla="*/ 4269039 w 4667276"/>
                <a:gd name="csY3" fmla="*/ 1910036 h 4667264"/>
                <a:gd name="csX4" fmla="*/ 4002005 w 4667276"/>
                <a:gd name="csY4" fmla="*/ 1264470 h 4667264"/>
                <a:gd name="csX5" fmla="*/ 4014969 w 4667276"/>
                <a:gd name="csY5" fmla="*/ 1142969 h 4667264"/>
                <a:gd name="csX6" fmla="*/ 4150509 w 4667276"/>
                <a:gd name="csY6" fmla="*/ 1007428 h 4667264"/>
                <a:gd name="csX7" fmla="*/ 4157796 w 4667276"/>
                <a:gd name="csY7" fmla="*/ 877831 h 4667264"/>
                <a:gd name="csX8" fmla="*/ 3983917 w 4667276"/>
                <a:gd name="csY8" fmla="*/ 683435 h 4667264"/>
                <a:gd name="csX9" fmla="*/ 3789512 w 4667276"/>
                <a:gd name="csY9" fmla="*/ 509557 h 4667264"/>
                <a:gd name="csX10" fmla="*/ 3659915 w 4667276"/>
                <a:gd name="csY10" fmla="*/ 516576 h 4667264"/>
                <a:gd name="csX11" fmla="*/ 3524383 w 4667276"/>
                <a:gd name="csY11" fmla="*/ 652384 h 4667264"/>
                <a:gd name="csX12" fmla="*/ 3402883 w 4667276"/>
                <a:gd name="csY12" fmla="*/ 665347 h 4667264"/>
                <a:gd name="csX13" fmla="*/ 2757316 w 4667276"/>
                <a:gd name="csY13" fmla="*/ 398047 h 4667264"/>
                <a:gd name="csX14" fmla="*/ 2680640 w 4667276"/>
                <a:gd name="csY14" fmla="*/ 303007 h 4667264"/>
                <a:gd name="csX15" fmla="*/ 2680640 w 4667276"/>
                <a:gd name="csY15" fmla="*/ 111307 h 4667264"/>
                <a:gd name="csX16" fmla="*/ 2594239 w 4667276"/>
                <a:gd name="csY16" fmla="*/ 14380 h 4667264"/>
                <a:gd name="csX17" fmla="*/ 2073145 w 4667276"/>
                <a:gd name="csY17" fmla="*/ 14380 h 4667264"/>
                <a:gd name="csX18" fmla="*/ 1986744 w 4667276"/>
                <a:gd name="csY18" fmla="*/ 111307 h 4667264"/>
                <a:gd name="csX19" fmla="*/ 1986744 w 4667276"/>
                <a:gd name="csY19" fmla="*/ 303007 h 4667264"/>
                <a:gd name="csX20" fmla="*/ 1910058 w 4667276"/>
                <a:gd name="csY20" fmla="*/ 398047 h 4667264"/>
                <a:gd name="csX21" fmla="*/ 1264215 w 4667276"/>
                <a:gd name="csY21" fmla="*/ 665347 h 4667264"/>
                <a:gd name="csX22" fmla="*/ 1142981 w 4667276"/>
                <a:gd name="csY22" fmla="*/ 652384 h 4667264"/>
                <a:gd name="csX23" fmla="*/ 1007440 w 4667276"/>
                <a:gd name="csY23" fmla="*/ 516576 h 4667264"/>
                <a:gd name="csX24" fmla="*/ 877843 w 4667276"/>
                <a:gd name="csY24" fmla="*/ 509557 h 4667264"/>
                <a:gd name="csX25" fmla="*/ 683438 w 4667276"/>
                <a:gd name="csY25" fmla="*/ 683435 h 4667264"/>
                <a:gd name="csX26" fmla="*/ 509559 w 4667276"/>
                <a:gd name="csY26" fmla="*/ 877831 h 4667264"/>
                <a:gd name="csX27" fmla="*/ 516579 w 4667276"/>
                <a:gd name="csY27" fmla="*/ 1007428 h 4667264"/>
                <a:gd name="csX28" fmla="*/ 652386 w 4667276"/>
                <a:gd name="csY28" fmla="*/ 1142969 h 4667264"/>
                <a:gd name="csX29" fmla="*/ 665350 w 4667276"/>
                <a:gd name="csY29" fmla="*/ 1264470 h 4667264"/>
                <a:gd name="csX30" fmla="*/ 398050 w 4667276"/>
                <a:gd name="csY30" fmla="*/ 1910036 h 4667264"/>
                <a:gd name="csX31" fmla="*/ 303009 w 4667276"/>
                <a:gd name="csY31" fmla="*/ 1986713 h 4667264"/>
                <a:gd name="csX32" fmla="*/ 111309 w 4667276"/>
                <a:gd name="csY32" fmla="*/ 1986713 h 4667264"/>
                <a:gd name="csX33" fmla="*/ 14373 w 4667276"/>
                <a:gd name="csY33" fmla="*/ 2073114 h 4667264"/>
                <a:gd name="csX34" fmla="*/ 14373 w 4667276"/>
                <a:gd name="csY34" fmla="*/ 2594217 h 4667264"/>
                <a:gd name="csX35" fmla="*/ 111309 w 4667276"/>
                <a:gd name="csY35" fmla="*/ 2680618 h 4667264"/>
                <a:gd name="csX36" fmla="*/ 303009 w 4667276"/>
                <a:gd name="csY36" fmla="*/ 2680618 h 4667264"/>
                <a:gd name="csX37" fmla="*/ 398050 w 4667276"/>
                <a:gd name="csY37" fmla="*/ 2757295 h 4667264"/>
                <a:gd name="csX38" fmla="*/ 665350 w 4667276"/>
                <a:gd name="csY38" fmla="*/ 3402861 h 4667264"/>
                <a:gd name="csX39" fmla="*/ 652386 w 4667276"/>
                <a:gd name="csY39" fmla="*/ 3524362 h 4667264"/>
                <a:gd name="csX40" fmla="*/ 516579 w 4667276"/>
                <a:gd name="csY40" fmla="*/ 3659903 h 4667264"/>
                <a:gd name="csX41" fmla="*/ 509559 w 4667276"/>
                <a:gd name="csY41" fmla="*/ 3789500 h 4667264"/>
                <a:gd name="csX42" fmla="*/ 683438 w 4667276"/>
                <a:gd name="csY42" fmla="*/ 3983896 h 4667264"/>
                <a:gd name="csX43" fmla="*/ 877843 w 4667276"/>
                <a:gd name="csY43" fmla="*/ 4157774 h 4667264"/>
                <a:gd name="csX44" fmla="*/ 1007440 w 4667276"/>
                <a:gd name="csY44" fmla="*/ 4150478 h 4667264"/>
                <a:gd name="csX45" fmla="*/ 1142981 w 4667276"/>
                <a:gd name="csY45" fmla="*/ 4014938 h 4667264"/>
                <a:gd name="csX46" fmla="*/ 1264482 w 4667276"/>
                <a:gd name="csY46" fmla="*/ 4001984 h 4667264"/>
                <a:gd name="csX47" fmla="*/ 1910048 w 4667276"/>
                <a:gd name="csY47" fmla="*/ 4269017 h 4667264"/>
                <a:gd name="csX48" fmla="*/ 1986734 w 4667276"/>
                <a:gd name="csY48" fmla="*/ 4364324 h 4667264"/>
                <a:gd name="csX49" fmla="*/ 1986734 w 4667276"/>
                <a:gd name="csY49" fmla="*/ 4556024 h 4667264"/>
                <a:gd name="csX50" fmla="*/ 2073135 w 4667276"/>
                <a:gd name="csY50" fmla="*/ 4652684 h 4667264"/>
                <a:gd name="csX51" fmla="*/ 2594229 w 4667276"/>
                <a:gd name="csY51" fmla="*/ 4652684 h 4667264"/>
                <a:gd name="csX52" fmla="*/ 2680630 w 4667276"/>
                <a:gd name="csY52" fmla="*/ 4556024 h 4667264"/>
                <a:gd name="csX53" fmla="*/ 2680630 w 4667276"/>
                <a:gd name="csY53" fmla="*/ 4364058 h 4667264"/>
                <a:gd name="csX54" fmla="*/ 2757307 w 4667276"/>
                <a:gd name="csY54" fmla="*/ 4269017 h 4667264"/>
                <a:gd name="csX55" fmla="*/ 3402873 w 4667276"/>
                <a:gd name="csY55" fmla="*/ 4001984 h 4667264"/>
                <a:gd name="csX56" fmla="*/ 3524374 w 4667276"/>
                <a:gd name="csY56" fmla="*/ 4014938 h 4667264"/>
                <a:gd name="csX57" fmla="*/ 3659905 w 4667276"/>
                <a:gd name="csY57" fmla="*/ 4150478 h 4667264"/>
                <a:gd name="csX58" fmla="*/ 3789502 w 4667276"/>
                <a:gd name="csY58" fmla="*/ 4157774 h 4667264"/>
                <a:gd name="csX59" fmla="*/ 3983908 w 4667276"/>
                <a:gd name="csY59" fmla="*/ 3983896 h 4667264"/>
                <a:gd name="csX60" fmla="*/ 4157786 w 4667276"/>
                <a:gd name="csY60" fmla="*/ 3789500 h 4667264"/>
                <a:gd name="csX61" fmla="*/ 4150500 w 4667276"/>
                <a:gd name="csY61" fmla="*/ 3659903 h 4667264"/>
                <a:gd name="csX62" fmla="*/ 4014959 w 4667276"/>
                <a:gd name="csY62" fmla="*/ 3524095 h 4667264"/>
                <a:gd name="csX63" fmla="*/ 4001996 w 4667276"/>
                <a:gd name="csY63" fmla="*/ 3402861 h 4667264"/>
                <a:gd name="csX64" fmla="*/ 4269029 w 4667276"/>
                <a:gd name="csY64" fmla="*/ 2757295 h 4667264"/>
                <a:gd name="csX65" fmla="*/ 4364069 w 4667276"/>
                <a:gd name="csY65" fmla="*/ 2680618 h 4667264"/>
                <a:gd name="csX66" fmla="*/ 4556036 w 4667276"/>
                <a:gd name="csY66" fmla="*/ 2680618 h 4667264"/>
                <a:gd name="csX67" fmla="*/ 4652696 w 4667276"/>
                <a:gd name="csY67" fmla="*/ 2594217 h 4667264"/>
                <a:gd name="csX68" fmla="*/ 4652696 w 4667276"/>
                <a:gd name="csY68" fmla="*/ 2073114 h 4667264"/>
                <a:gd name="csX69" fmla="*/ 3734705 w 4667276"/>
                <a:gd name="csY69" fmla="*/ 3191997 h 4667264"/>
                <a:gd name="csX70" fmla="*/ 3178502 w 4667276"/>
                <a:gd name="csY70" fmla="*/ 3513027 h 4667264"/>
                <a:gd name="csX71" fmla="*/ 3050791 w 4667276"/>
                <a:gd name="csY71" fmla="*/ 3439313 h 4667264"/>
                <a:gd name="csX72" fmla="*/ 2335292 w 4667276"/>
                <a:gd name="csY72" fmla="*/ 3651530 h 4667264"/>
                <a:gd name="csX73" fmla="*/ 1697546 w 4667276"/>
                <a:gd name="csY73" fmla="*/ 3486291 h 4667264"/>
                <a:gd name="csX74" fmla="*/ 1398927 w 4667276"/>
                <a:gd name="csY74" fmla="*/ 3558652 h 4667264"/>
                <a:gd name="csX75" fmla="*/ 747960 w 4667276"/>
                <a:gd name="csY75" fmla="*/ 2907952 h 4667264"/>
                <a:gd name="csX76" fmla="*/ 1024176 w 4667276"/>
                <a:gd name="csY76" fmla="*/ 2376047 h 4667264"/>
                <a:gd name="csX77" fmla="*/ 1023633 w 4667276"/>
                <a:gd name="csY77" fmla="*/ 2339871 h 4667264"/>
                <a:gd name="csX78" fmla="*/ 1653273 w 4667276"/>
                <a:gd name="csY78" fmla="*/ 1219102 h 4667264"/>
                <a:gd name="csX79" fmla="*/ 2335302 w 4667276"/>
                <a:gd name="csY79" fmla="*/ 594596 h 4667264"/>
                <a:gd name="csX80" fmla="*/ 3017053 w 4667276"/>
                <a:gd name="csY80" fmla="*/ 1219102 h 4667264"/>
                <a:gd name="csX81" fmla="*/ 3646961 w 4667276"/>
                <a:gd name="csY81" fmla="*/ 2339871 h 4667264"/>
                <a:gd name="csX82" fmla="*/ 3637779 w 4667276"/>
                <a:gd name="csY82" fmla="*/ 2494043 h 4667264"/>
                <a:gd name="csX83" fmla="*/ 3734705 w 4667276"/>
                <a:gd name="csY83" fmla="*/ 2549936 h 4667264"/>
                <a:gd name="csX84" fmla="*/ 2970609 w 4667276"/>
                <a:gd name="csY84" fmla="*/ 1534466 h 4667264"/>
                <a:gd name="csX85" fmla="*/ 3001118 w 4667276"/>
                <a:gd name="csY85" fmla="*/ 1437806 h 4667264"/>
                <a:gd name="csX86" fmla="*/ 3456337 w 4667276"/>
                <a:gd name="csY86" fmla="*/ 2339881 h 4667264"/>
                <a:gd name="csX87" fmla="*/ 3455261 w 4667276"/>
                <a:gd name="csY87" fmla="*/ 2388753 h 4667264"/>
                <a:gd name="csX88" fmla="*/ 3361030 w 4667276"/>
                <a:gd name="csY88" fmla="*/ 2334213 h 4667264"/>
                <a:gd name="csX89" fmla="*/ 2970609 w 4667276"/>
                <a:gd name="csY89" fmla="*/ 1534475 h 4667264"/>
                <a:gd name="csX90" fmla="*/ 1312269 w 4667276"/>
                <a:gd name="csY90" fmla="*/ 2262928 h 4667264"/>
                <a:gd name="csX91" fmla="*/ 1215609 w 4667276"/>
                <a:gd name="csY91" fmla="*/ 2283445 h 4667264"/>
                <a:gd name="csX92" fmla="*/ 1669209 w 4667276"/>
                <a:gd name="csY92" fmla="*/ 1437806 h 4667264"/>
                <a:gd name="csX93" fmla="*/ 1699984 w 4667276"/>
                <a:gd name="csY93" fmla="*/ 1534199 h 4667264"/>
                <a:gd name="csX94" fmla="*/ 1312259 w 4667276"/>
                <a:gd name="csY94" fmla="*/ 2262928 h 4667264"/>
                <a:gd name="csX95" fmla="*/ 2762707 w 4667276"/>
                <a:gd name="csY95" fmla="*/ 3272730 h 4667264"/>
                <a:gd name="csX96" fmla="*/ 2861529 w 4667276"/>
                <a:gd name="csY96" fmla="*/ 3329976 h 4667264"/>
                <a:gd name="csX97" fmla="*/ 2335302 w 4667276"/>
                <a:gd name="csY97" fmla="*/ 3460926 h 4667264"/>
                <a:gd name="csX98" fmla="*/ 1867662 w 4667276"/>
                <a:gd name="csY98" fmla="*/ 3359132 h 4667264"/>
                <a:gd name="csX99" fmla="*/ 1930841 w 4667276"/>
                <a:gd name="csY99" fmla="*/ 3282989 h 4667264"/>
                <a:gd name="csX100" fmla="*/ 2335302 w 4667276"/>
                <a:gd name="csY100" fmla="*/ 3365885 h 4667264"/>
                <a:gd name="csX101" fmla="*/ 2762707 w 4667276"/>
                <a:gd name="csY101" fmla="*/ 3272730 h 4667264"/>
                <a:gd name="csX102" fmla="*/ 3235748 w 4667276"/>
                <a:gd name="csY102" fmla="*/ 2903913 h 4667264"/>
                <a:gd name="csX103" fmla="*/ 3620234 w 4667276"/>
                <a:gd name="csY103" fmla="*/ 2681971 h 4667264"/>
                <a:gd name="csX104" fmla="*/ 3620234 w 4667276"/>
                <a:gd name="csY104" fmla="*/ 3125855 h 4667264"/>
                <a:gd name="csX105" fmla="*/ 3235748 w 4667276"/>
                <a:gd name="csY105" fmla="*/ 3348064 h 4667264"/>
                <a:gd name="csX106" fmla="*/ 2736790 w 4667276"/>
                <a:gd name="csY106" fmla="*/ 2681971 h 4667264"/>
                <a:gd name="csX107" fmla="*/ 3121543 w 4667276"/>
                <a:gd name="csY107" fmla="*/ 2903913 h 4667264"/>
                <a:gd name="csX108" fmla="*/ 3121543 w 4667276"/>
                <a:gd name="csY108" fmla="*/ 3348064 h 4667264"/>
                <a:gd name="csX109" fmla="*/ 2736790 w 4667276"/>
                <a:gd name="csY109" fmla="*/ 3125855 h 4667264"/>
                <a:gd name="csX110" fmla="*/ 3563264 w 4667276"/>
                <a:gd name="csY110" fmla="*/ 2582882 h 4667264"/>
                <a:gd name="csX111" fmla="*/ 3178512 w 4667276"/>
                <a:gd name="csY111" fmla="*/ 2805091 h 4667264"/>
                <a:gd name="csX112" fmla="*/ 2794035 w 4667276"/>
                <a:gd name="csY112" fmla="*/ 2582882 h 4667264"/>
                <a:gd name="csX113" fmla="*/ 3178512 w 4667276"/>
                <a:gd name="csY113" fmla="*/ 2360940 h 4667264"/>
                <a:gd name="csX114" fmla="*/ 2335311 w 4667276"/>
                <a:gd name="csY114" fmla="*/ 1849295 h 4667264"/>
                <a:gd name="csX115" fmla="*/ 2905554 w 4667276"/>
                <a:gd name="csY115" fmla="*/ 1279053 h 4667264"/>
                <a:gd name="csX116" fmla="*/ 2335311 w 4667276"/>
                <a:gd name="csY116" fmla="*/ 708810 h 4667264"/>
                <a:gd name="csX117" fmla="*/ 1765068 w 4667276"/>
                <a:gd name="csY117" fmla="*/ 1279053 h 4667264"/>
                <a:gd name="csX118" fmla="*/ 2335311 w 4667276"/>
                <a:gd name="csY118" fmla="*/ 1849295 h 4667264"/>
                <a:gd name="csX119" fmla="*/ 2166557 w 4667276"/>
                <a:gd name="csY119" fmla="*/ 1059006 h 4667264"/>
                <a:gd name="csX120" fmla="*/ 2262950 w 4667276"/>
                <a:gd name="csY120" fmla="*/ 981244 h 4667264"/>
                <a:gd name="csX121" fmla="*/ 2278066 w 4667276"/>
                <a:gd name="csY121" fmla="*/ 976110 h 4667264"/>
                <a:gd name="csX122" fmla="*/ 2278066 w 4667276"/>
                <a:gd name="csY122" fmla="*/ 908340 h 4667264"/>
                <a:gd name="csX123" fmla="*/ 2335311 w 4667276"/>
                <a:gd name="csY123" fmla="*/ 851104 h 4667264"/>
                <a:gd name="csX124" fmla="*/ 2392280 w 4667276"/>
                <a:gd name="csY124" fmla="*/ 908340 h 4667264"/>
                <a:gd name="csX125" fmla="*/ 2392280 w 4667276"/>
                <a:gd name="csY125" fmla="*/ 972872 h 4667264"/>
                <a:gd name="csX126" fmla="*/ 2512428 w 4667276"/>
                <a:gd name="csY126" fmla="*/ 1041185 h 4667264"/>
                <a:gd name="csX127" fmla="*/ 2514591 w 4667276"/>
                <a:gd name="csY127" fmla="*/ 1121643 h 4667264"/>
                <a:gd name="csX128" fmla="*/ 2433857 w 4667276"/>
                <a:gd name="csY128" fmla="*/ 1123529 h 4667264"/>
                <a:gd name="csX129" fmla="*/ 2303983 w 4667276"/>
                <a:gd name="csY129" fmla="*/ 1087619 h 4667264"/>
                <a:gd name="csX130" fmla="*/ 2262673 w 4667276"/>
                <a:gd name="csY130" fmla="*/ 1120014 h 4667264"/>
                <a:gd name="csX131" fmla="*/ 2255387 w 4667276"/>
                <a:gd name="csY131" fmla="*/ 1155923 h 4667264"/>
                <a:gd name="csX132" fmla="*/ 2358523 w 4667276"/>
                <a:gd name="csY132" fmla="*/ 1227751 h 4667264"/>
                <a:gd name="csX133" fmla="*/ 2482187 w 4667276"/>
                <a:gd name="csY133" fmla="*/ 1296865 h 4667264"/>
                <a:gd name="csX134" fmla="*/ 2528897 w 4667276"/>
                <a:gd name="csY134" fmla="*/ 1421604 h 4667264"/>
                <a:gd name="csX135" fmla="*/ 2474090 w 4667276"/>
                <a:gd name="csY135" fmla="*/ 1534189 h 4667264"/>
                <a:gd name="csX136" fmla="*/ 2399033 w 4667276"/>
                <a:gd name="csY136" fmla="*/ 1579014 h 4667264"/>
                <a:gd name="csX137" fmla="*/ 2392290 w 4667276"/>
                <a:gd name="csY137" fmla="*/ 1581176 h 4667264"/>
                <a:gd name="csX138" fmla="*/ 2392290 w 4667276"/>
                <a:gd name="csY138" fmla="*/ 1650023 h 4667264"/>
                <a:gd name="csX139" fmla="*/ 2335321 w 4667276"/>
                <a:gd name="csY139" fmla="*/ 1706992 h 4667264"/>
                <a:gd name="csX140" fmla="*/ 2278075 w 4667276"/>
                <a:gd name="csY140" fmla="*/ 1650023 h 4667264"/>
                <a:gd name="csX141" fmla="*/ 2278075 w 4667276"/>
                <a:gd name="csY141" fmla="*/ 1585224 h 4667264"/>
                <a:gd name="csX142" fmla="*/ 2167376 w 4667276"/>
                <a:gd name="csY142" fmla="*/ 1520969 h 4667264"/>
                <a:gd name="csX143" fmla="*/ 2169271 w 4667276"/>
                <a:gd name="csY143" fmla="*/ 1440235 h 4667264"/>
                <a:gd name="csX144" fmla="*/ 2250005 w 4667276"/>
                <a:gd name="csY144" fmla="*/ 1442397 h 4667264"/>
                <a:gd name="csX145" fmla="*/ 2319661 w 4667276"/>
                <a:gd name="csY145" fmla="*/ 1476420 h 4667264"/>
                <a:gd name="csX146" fmla="*/ 2362324 w 4667276"/>
                <a:gd name="csY146" fmla="*/ 1471020 h 4667264"/>
                <a:gd name="csX147" fmla="*/ 2395537 w 4667276"/>
                <a:gd name="csY147" fmla="*/ 1451579 h 4667264"/>
                <a:gd name="csX148" fmla="*/ 2414978 w 4667276"/>
                <a:gd name="csY148" fmla="*/ 1412698 h 4667264"/>
                <a:gd name="csX149" fmla="*/ 2400129 w 4667276"/>
                <a:gd name="csY149" fmla="*/ 1375979 h 4667264"/>
                <a:gd name="csX150" fmla="*/ 2326958 w 4667276"/>
                <a:gd name="csY150" fmla="*/ 1337098 h 4667264"/>
                <a:gd name="csX151" fmla="*/ 2144440 w 4667276"/>
                <a:gd name="csY151" fmla="*/ 1182117 h 4667264"/>
                <a:gd name="csX152" fmla="*/ 2166576 w 4667276"/>
                <a:gd name="csY152" fmla="*/ 1058997 h 4667264"/>
                <a:gd name="csX153" fmla="*/ 1398946 w 4667276"/>
                <a:gd name="csY153" fmla="*/ 2371475 h 4667264"/>
                <a:gd name="csX154" fmla="*/ 862460 w 4667276"/>
                <a:gd name="csY154" fmla="*/ 2907971 h 4667264"/>
                <a:gd name="csX155" fmla="*/ 1398946 w 4667276"/>
                <a:gd name="csY155" fmla="*/ 3444457 h 4667264"/>
                <a:gd name="csX156" fmla="*/ 1935166 w 4667276"/>
                <a:gd name="csY156" fmla="*/ 2907971 h 4667264"/>
                <a:gd name="csX157" fmla="*/ 1398946 w 4667276"/>
                <a:gd name="csY157" fmla="*/ 2371475 h 4667264"/>
                <a:gd name="csX158" fmla="*/ 1670571 w 4667276"/>
                <a:gd name="csY158" fmla="*/ 2795109 h 4667264"/>
                <a:gd name="csX159" fmla="*/ 1364390 w 4667276"/>
                <a:gd name="csY159" fmla="*/ 3101557 h 4667264"/>
                <a:gd name="csX160" fmla="*/ 1364123 w 4667276"/>
                <a:gd name="csY160" fmla="*/ 3101557 h 4667264"/>
                <a:gd name="csX161" fmla="*/ 1363313 w 4667276"/>
                <a:gd name="csY161" fmla="*/ 3102366 h 4667264"/>
                <a:gd name="csX162" fmla="*/ 1282856 w 4667276"/>
                <a:gd name="csY162" fmla="*/ 3100747 h 4667264"/>
                <a:gd name="csX163" fmla="*/ 1126255 w 4667276"/>
                <a:gd name="csY163" fmla="*/ 2938213 h 4667264"/>
                <a:gd name="csX164" fmla="*/ 1127874 w 4667276"/>
                <a:gd name="csY164" fmla="*/ 2857755 h 4667264"/>
                <a:gd name="csX165" fmla="*/ 1208608 w 4667276"/>
                <a:gd name="csY165" fmla="*/ 2859107 h 4667264"/>
                <a:gd name="csX166" fmla="*/ 1324442 w 4667276"/>
                <a:gd name="csY166" fmla="*/ 2979799 h 4667264"/>
                <a:gd name="csX167" fmla="*/ 1589856 w 4667276"/>
                <a:gd name="csY167" fmla="*/ 2714385 h 4667264"/>
                <a:gd name="csX168" fmla="*/ 1670590 w 4667276"/>
                <a:gd name="csY168" fmla="*/ 2714385 h 4667264"/>
                <a:gd name="csX169" fmla="*/ 1670590 w 4667276"/>
                <a:gd name="csY169" fmla="*/ 2795119 h 466726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Lst>
              <a:rect l="l" t="t" r="r" b="b"/>
              <a:pathLst>
                <a:path w="4667276" h="4667264">
                  <a:moveTo>
                    <a:pt x="4652706" y="2073114"/>
                  </a:moveTo>
                  <a:cubicBezTo>
                    <a:pt x="4647305" y="2023698"/>
                    <a:pt x="4605728" y="1986713"/>
                    <a:pt x="4556046" y="1986713"/>
                  </a:cubicBezTo>
                  <a:lnTo>
                    <a:pt x="4364079" y="1986713"/>
                  </a:lnTo>
                  <a:cubicBezTo>
                    <a:pt x="4317911" y="1986713"/>
                    <a:pt x="4279030" y="1955128"/>
                    <a:pt x="4269039" y="1910036"/>
                  </a:cubicBezTo>
                  <a:cubicBezTo>
                    <a:pt x="4219899" y="1684046"/>
                    <a:pt x="4130802" y="1465076"/>
                    <a:pt x="4002005" y="1264470"/>
                  </a:cubicBezTo>
                  <a:cubicBezTo>
                    <a:pt x="3976897" y="1225322"/>
                    <a:pt x="3982298" y="1175640"/>
                    <a:pt x="4014969" y="1142969"/>
                  </a:cubicBezTo>
                  <a:lnTo>
                    <a:pt x="4150509" y="1007428"/>
                  </a:lnTo>
                  <a:cubicBezTo>
                    <a:pt x="4185876" y="972062"/>
                    <a:pt x="4188848" y="916712"/>
                    <a:pt x="4157796" y="877831"/>
                  </a:cubicBezTo>
                  <a:cubicBezTo>
                    <a:pt x="4104065" y="810604"/>
                    <a:pt x="4046020" y="745805"/>
                    <a:pt x="3983917" y="683435"/>
                  </a:cubicBezTo>
                  <a:cubicBezTo>
                    <a:pt x="3921548" y="621066"/>
                    <a:pt x="3856739" y="563287"/>
                    <a:pt x="3789512" y="509557"/>
                  </a:cubicBezTo>
                  <a:cubicBezTo>
                    <a:pt x="3750631" y="478238"/>
                    <a:pt x="3695014" y="481477"/>
                    <a:pt x="3659915" y="516576"/>
                  </a:cubicBezTo>
                  <a:lnTo>
                    <a:pt x="3524383" y="652384"/>
                  </a:lnTo>
                  <a:cubicBezTo>
                    <a:pt x="3491446" y="685055"/>
                    <a:pt x="3441764" y="690455"/>
                    <a:pt x="3402883" y="665347"/>
                  </a:cubicBezTo>
                  <a:cubicBezTo>
                    <a:pt x="3202010" y="536284"/>
                    <a:pt x="2983030" y="447187"/>
                    <a:pt x="2757316" y="398047"/>
                  </a:cubicBezTo>
                  <a:cubicBezTo>
                    <a:pt x="2711958" y="388322"/>
                    <a:pt x="2680640" y="349441"/>
                    <a:pt x="2680640" y="303007"/>
                  </a:cubicBezTo>
                  <a:lnTo>
                    <a:pt x="2680640" y="111307"/>
                  </a:lnTo>
                  <a:cubicBezTo>
                    <a:pt x="2680640" y="61358"/>
                    <a:pt x="2643654" y="20048"/>
                    <a:pt x="2594239" y="14380"/>
                  </a:cubicBezTo>
                  <a:cubicBezTo>
                    <a:pt x="2421169" y="-4793"/>
                    <a:pt x="2246205" y="-4793"/>
                    <a:pt x="2073145" y="14380"/>
                  </a:cubicBezTo>
                  <a:cubicBezTo>
                    <a:pt x="2023729" y="20048"/>
                    <a:pt x="1986744" y="61358"/>
                    <a:pt x="1986744" y="111307"/>
                  </a:cubicBezTo>
                  <a:lnTo>
                    <a:pt x="1986744" y="303007"/>
                  </a:lnTo>
                  <a:cubicBezTo>
                    <a:pt x="1986744" y="349441"/>
                    <a:pt x="1955416" y="388332"/>
                    <a:pt x="1910058" y="398047"/>
                  </a:cubicBezTo>
                  <a:cubicBezTo>
                    <a:pt x="1684068" y="447463"/>
                    <a:pt x="1465097" y="536284"/>
                    <a:pt x="1264215" y="665347"/>
                  </a:cubicBezTo>
                  <a:cubicBezTo>
                    <a:pt x="1225334" y="690455"/>
                    <a:pt x="1175661" y="685055"/>
                    <a:pt x="1142981" y="652384"/>
                  </a:cubicBezTo>
                  <a:lnTo>
                    <a:pt x="1007440" y="516576"/>
                  </a:lnTo>
                  <a:cubicBezTo>
                    <a:pt x="972074" y="481477"/>
                    <a:pt x="916724" y="478238"/>
                    <a:pt x="877843" y="509557"/>
                  </a:cubicBezTo>
                  <a:cubicBezTo>
                    <a:pt x="810606" y="563287"/>
                    <a:pt x="745807" y="621066"/>
                    <a:pt x="683438" y="683435"/>
                  </a:cubicBezTo>
                  <a:cubicBezTo>
                    <a:pt x="621068" y="745805"/>
                    <a:pt x="563289" y="810604"/>
                    <a:pt x="509559" y="877831"/>
                  </a:cubicBezTo>
                  <a:cubicBezTo>
                    <a:pt x="478231" y="916712"/>
                    <a:pt x="481479" y="972062"/>
                    <a:pt x="516579" y="1007428"/>
                  </a:cubicBezTo>
                  <a:lnTo>
                    <a:pt x="652386" y="1142969"/>
                  </a:lnTo>
                  <a:cubicBezTo>
                    <a:pt x="685057" y="1175640"/>
                    <a:pt x="690458" y="1225322"/>
                    <a:pt x="665350" y="1264470"/>
                  </a:cubicBezTo>
                  <a:cubicBezTo>
                    <a:pt x="536286" y="1465086"/>
                    <a:pt x="447189" y="1684046"/>
                    <a:pt x="398050" y="1910036"/>
                  </a:cubicBezTo>
                  <a:cubicBezTo>
                    <a:pt x="388325" y="1955394"/>
                    <a:pt x="349444" y="1986713"/>
                    <a:pt x="303009" y="1986713"/>
                  </a:cubicBezTo>
                  <a:lnTo>
                    <a:pt x="111309" y="1986713"/>
                  </a:lnTo>
                  <a:cubicBezTo>
                    <a:pt x="61360" y="1986713"/>
                    <a:pt x="20050" y="2023698"/>
                    <a:pt x="14373" y="2073114"/>
                  </a:cubicBezTo>
                  <a:cubicBezTo>
                    <a:pt x="-4791" y="2246183"/>
                    <a:pt x="-4791" y="2421148"/>
                    <a:pt x="14373" y="2594217"/>
                  </a:cubicBezTo>
                  <a:cubicBezTo>
                    <a:pt x="20050" y="2643624"/>
                    <a:pt x="61360" y="2680618"/>
                    <a:pt x="111309" y="2680618"/>
                  </a:cubicBezTo>
                  <a:lnTo>
                    <a:pt x="303009" y="2680618"/>
                  </a:lnTo>
                  <a:cubicBezTo>
                    <a:pt x="349444" y="2680618"/>
                    <a:pt x="388334" y="2711937"/>
                    <a:pt x="398050" y="2757295"/>
                  </a:cubicBezTo>
                  <a:cubicBezTo>
                    <a:pt x="447456" y="2983018"/>
                    <a:pt x="536286" y="3201988"/>
                    <a:pt x="665350" y="3402861"/>
                  </a:cubicBezTo>
                  <a:cubicBezTo>
                    <a:pt x="690458" y="3441742"/>
                    <a:pt x="685057" y="3491425"/>
                    <a:pt x="652386" y="3524362"/>
                  </a:cubicBezTo>
                  <a:lnTo>
                    <a:pt x="516579" y="3659903"/>
                  </a:lnTo>
                  <a:cubicBezTo>
                    <a:pt x="481479" y="3695002"/>
                    <a:pt x="478241" y="3750619"/>
                    <a:pt x="509559" y="3789500"/>
                  </a:cubicBezTo>
                  <a:cubicBezTo>
                    <a:pt x="563289" y="3856727"/>
                    <a:pt x="621068" y="3921526"/>
                    <a:pt x="683438" y="3983896"/>
                  </a:cubicBezTo>
                  <a:cubicBezTo>
                    <a:pt x="745807" y="4045999"/>
                    <a:pt x="810606" y="4104044"/>
                    <a:pt x="877843" y="4157774"/>
                  </a:cubicBezTo>
                  <a:cubicBezTo>
                    <a:pt x="916724" y="4188826"/>
                    <a:pt x="972074" y="4185854"/>
                    <a:pt x="1007440" y="4150478"/>
                  </a:cubicBezTo>
                  <a:lnTo>
                    <a:pt x="1142981" y="4014938"/>
                  </a:lnTo>
                  <a:cubicBezTo>
                    <a:pt x="1175652" y="3982267"/>
                    <a:pt x="1225334" y="3976866"/>
                    <a:pt x="1264482" y="4001984"/>
                  </a:cubicBezTo>
                  <a:cubicBezTo>
                    <a:pt x="1465097" y="4130771"/>
                    <a:pt x="1684068" y="4219868"/>
                    <a:pt x="1910048" y="4269017"/>
                  </a:cubicBezTo>
                  <a:cubicBezTo>
                    <a:pt x="1955140" y="4279009"/>
                    <a:pt x="1986734" y="4317880"/>
                    <a:pt x="1986734" y="4364324"/>
                  </a:cubicBezTo>
                  <a:lnTo>
                    <a:pt x="1986734" y="4556024"/>
                  </a:lnTo>
                  <a:cubicBezTo>
                    <a:pt x="1986734" y="4605707"/>
                    <a:pt x="2023720" y="4647284"/>
                    <a:pt x="2073135" y="4652684"/>
                  </a:cubicBezTo>
                  <a:cubicBezTo>
                    <a:pt x="2246205" y="4672125"/>
                    <a:pt x="2421169" y="4672125"/>
                    <a:pt x="2594229" y="4652684"/>
                  </a:cubicBezTo>
                  <a:cubicBezTo>
                    <a:pt x="2643645" y="4647284"/>
                    <a:pt x="2680630" y="4605707"/>
                    <a:pt x="2680630" y="4556024"/>
                  </a:cubicBezTo>
                  <a:lnTo>
                    <a:pt x="2680630" y="4364058"/>
                  </a:lnTo>
                  <a:cubicBezTo>
                    <a:pt x="2680630" y="4317880"/>
                    <a:pt x="2711949" y="4279009"/>
                    <a:pt x="2757307" y="4269017"/>
                  </a:cubicBezTo>
                  <a:cubicBezTo>
                    <a:pt x="2983030" y="4219878"/>
                    <a:pt x="3202000" y="4130771"/>
                    <a:pt x="3402873" y="4001984"/>
                  </a:cubicBezTo>
                  <a:cubicBezTo>
                    <a:pt x="3441754" y="3976876"/>
                    <a:pt x="3491437" y="3982276"/>
                    <a:pt x="3524374" y="4014938"/>
                  </a:cubicBezTo>
                  <a:lnTo>
                    <a:pt x="3659905" y="4150478"/>
                  </a:lnTo>
                  <a:cubicBezTo>
                    <a:pt x="3695005" y="4185845"/>
                    <a:pt x="3750621" y="4188816"/>
                    <a:pt x="3789502" y="4157774"/>
                  </a:cubicBezTo>
                  <a:cubicBezTo>
                    <a:pt x="3856730" y="4104044"/>
                    <a:pt x="3921528" y="4045999"/>
                    <a:pt x="3983908" y="3983896"/>
                  </a:cubicBezTo>
                  <a:cubicBezTo>
                    <a:pt x="4046011" y="3921526"/>
                    <a:pt x="4104056" y="3856727"/>
                    <a:pt x="4157786" y="3789500"/>
                  </a:cubicBezTo>
                  <a:cubicBezTo>
                    <a:pt x="4188838" y="3750619"/>
                    <a:pt x="4185866" y="3695002"/>
                    <a:pt x="4150500" y="3659903"/>
                  </a:cubicBezTo>
                  <a:lnTo>
                    <a:pt x="4014959" y="3524095"/>
                  </a:lnTo>
                  <a:cubicBezTo>
                    <a:pt x="3982288" y="3491425"/>
                    <a:pt x="3976888" y="3441742"/>
                    <a:pt x="4001996" y="3402861"/>
                  </a:cubicBezTo>
                  <a:cubicBezTo>
                    <a:pt x="4130783" y="3201979"/>
                    <a:pt x="4219880" y="2983009"/>
                    <a:pt x="4269029" y="2757295"/>
                  </a:cubicBezTo>
                  <a:cubicBezTo>
                    <a:pt x="4279021" y="2711937"/>
                    <a:pt x="4317902" y="2680618"/>
                    <a:pt x="4364069" y="2680618"/>
                  </a:cubicBezTo>
                  <a:lnTo>
                    <a:pt x="4556036" y="2680618"/>
                  </a:lnTo>
                  <a:cubicBezTo>
                    <a:pt x="4605719" y="2680618"/>
                    <a:pt x="4647296" y="2643624"/>
                    <a:pt x="4652696" y="2594217"/>
                  </a:cubicBezTo>
                  <a:cubicBezTo>
                    <a:pt x="4672136" y="2421148"/>
                    <a:pt x="4672136" y="2246183"/>
                    <a:pt x="4652696" y="2073114"/>
                  </a:cubicBezTo>
                  <a:close/>
                  <a:moveTo>
                    <a:pt x="3734705" y="3191997"/>
                  </a:moveTo>
                  <a:lnTo>
                    <a:pt x="3178502" y="3513027"/>
                  </a:lnTo>
                  <a:lnTo>
                    <a:pt x="3050791" y="3439313"/>
                  </a:lnTo>
                  <a:cubicBezTo>
                    <a:pt x="2845051" y="3573502"/>
                    <a:pt x="2599344" y="3651530"/>
                    <a:pt x="2335292" y="3651530"/>
                  </a:cubicBezTo>
                  <a:cubicBezTo>
                    <a:pt x="2103635" y="3651530"/>
                    <a:pt x="1886283" y="3591589"/>
                    <a:pt x="1697546" y="3486291"/>
                  </a:cubicBezTo>
                  <a:cubicBezTo>
                    <a:pt x="1608182" y="3532458"/>
                    <a:pt x="1506388" y="3558652"/>
                    <a:pt x="1398927" y="3558652"/>
                  </a:cubicBezTo>
                  <a:cubicBezTo>
                    <a:pt x="1039559" y="3558652"/>
                    <a:pt x="747960" y="3267320"/>
                    <a:pt x="747960" y="2907952"/>
                  </a:cubicBezTo>
                  <a:cubicBezTo>
                    <a:pt x="747960" y="2688172"/>
                    <a:pt x="857040" y="2493776"/>
                    <a:pt x="1024176" y="2376047"/>
                  </a:cubicBezTo>
                  <a:cubicBezTo>
                    <a:pt x="1023633" y="2363903"/>
                    <a:pt x="1023633" y="2352025"/>
                    <a:pt x="1023633" y="2339871"/>
                  </a:cubicBezTo>
                  <a:cubicBezTo>
                    <a:pt x="1023633" y="1865212"/>
                    <a:pt x="1275817" y="1449417"/>
                    <a:pt x="1653273" y="1219102"/>
                  </a:cubicBezTo>
                  <a:cubicBezTo>
                    <a:pt x="1683782" y="869182"/>
                    <a:pt x="1977276" y="594596"/>
                    <a:pt x="2335302" y="594596"/>
                  </a:cubicBezTo>
                  <a:cubicBezTo>
                    <a:pt x="2693327" y="594596"/>
                    <a:pt x="2986812" y="869182"/>
                    <a:pt x="3017053" y="1219102"/>
                  </a:cubicBezTo>
                  <a:cubicBezTo>
                    <a:pt x="3394786" y="1449417"/>
                    <a:pt x="3646961" y="1865212"/>
                    <a:pt x="3646961" y="2339871"/>
                  </a:cubicBezTo>
                  <a:cubicBezTo>
                    <a:pt x="3646961" y="2391982"/>
                    <a:pt x="3643722" y="2443551"/>
                    <a:pt x="3637779" y="2494043"/>
                  </a:cubicBezTo>
                  <a:lnTo>
                    <a:pt x="3734705" y="2549936"/>
                  </a:lnTo>
                  <a:close/>
                  <a:moveTo>
                    <a:pt x="2970609" y="1534466"/>
                  </a:moveTo>
                  <a:cubicBezTo>
                    <a:pt x="2983030" y="1503147"/>
                    <a:pt x="2993289" y="1471020"/>
                    <a:pt x="3001118" y="1437806"/>
                  </a:cubicBezTo>
                  <a:cubicBezTo>
                    <a:pt x="3277334" y="1642193"/>
                    <a:pt x="3456337" y="1969977"/>
                    <a:pt x="3456337" y="2339881"/>
                  </a:cubicBezTo>
                  <a:cubicBezTo>
                    <a:pt x="3456337" y="2356349"/>
                    <a:pt x="3456070" y="2372551"/>
                    <a:pt x="3455261" y="2388753"/>
                  </a:cubicBezTo>
                  <a:lnTo>
                    <a:pt x="3361030" y="2334213"/>
                  </a:lnTo>
                  <a:cubicBezTo>
                    <a:pt x="3359410" y="2009944"/>
                    <a:pt x="3207134" y="1721041"/>
                    <a:pt x="2970609" y="1534475"/>
                  </a:cubicBezTo>
                  <a:close/>
                  <a:moveTo>
                    <a:pt x="1312269" y="2262928"/>
                  </a:moveTo>
                  <a:cubicBezTo>
                    <a:pt x="1279055" y="2267519"/>
                    <a:pt x="1246927" y="2274263"/>
                    <a:pt x="1215609" y="2283445"/>
                  </a:cubicBezTo>
                  <a:cubicBezTo>
                    <a:pt x="1232621" y="1936764"/>
                    <a:pt x="1407309" y="1631668"/>
                    <a:pt x="1669209" y="1437806"/>
                  </a:cubicBezTo>
                  <a:cubicBezTo>
                    <a:pt x="1677038" y="1471020"/>
                    <a:pt x="1687297" y="1503147"/>
                    <a:pt x="1699984" y="1534199"/>
                  </a:cubicBezTo>
                  <a:cubicBezTo>
                    <a:pt x="1480737" y="1707268"/>
                    <a:pt x="1334129" y="1967815"/>
                    <a:pt x="1312259" y="2262928"/>
                  </a:cubicBezTo>
                  <a:close/>
                  <a:moveTo>
                    <a:pt x="2762707" y="3272730"/>
                  </a:moveTo>
                  <a:lnTo>
                    <a:pt x="2861529" y="3329976"/>
                  </a:lnTo>
                  <a:cubicBezTo>
                    <a:pt x="2704662" y="3413672"/>
                    <a:pt x="2525373" y="3460926"/>
                    <a:pt x="2335302" y="3460926"/>
                  </a:cubicBezTo>
                  <a:cubicBezTo>
                    <a:pt x="2168443" y="3460926"/>
                    <a:pt x="2009947" y="3424473"/>
                    <a:pt x="1867662" y="3359132"/>
                  </a:cubicBezTo>
                  <a:cubicBezTo>
                    <a:pt x="1890617" y="3335377"/>
                    <a:pt x="1911677" y="3309992"/>
                    <a:pt x="1930841" y="3282989"/>
                  </a:cubicBezTo>
                  <a:cubicBezTo>
                    <a:pt x="2054771" y="3336177"/>
                    <a:pt x="2191664" y="3365885"/>
                    <a:pt x="2335302" y="3365885"/>
                  </a:cubicBezTo>
                  <a:cubicBezTo>
                    <a:pt x="2487854" y="3365885"/>
                    <a:pt x="2632567" y="3332405"/>
                    <a:pt x="2762707" y="3272730"/>
                  </a:cubicBezTo>
                  <a:close/>
                  <a:moveTo>
                    <a:pt x="3235748" y="2903913"/>
                  </a:moveTo>
                  <a:lnTo>
                    <a:pt x="3620234" y="2681971"/>
                  </a:lnTo>
                  <a:lnTo>
                    <a:pt x="3620234" y="3125855"/>
                  </a:lnTo>
                  <a:lnTo>
                    <a:pt x="3235748" y="3348064"/>
                  </a:lnTo>
                  <a:close/>
                  <a:moveTo>
                    <a:pt x="2736790" y="2681971"/>
                  </a:moveTo>
                  <a:lnTo>
                    <a:pt x="3121543" y="2903913"/>
                  </a:lnTo>
                  <a:lnTo>
                    <a:pt x="3121543" y="3348064"/>
                  </a:lnTo>
                  <a:lnTo>
                    <a:pt x="2736790" y="3125855"/>
                  </a:lnTo>
                  <a:close/>
                  <a:moveTo>
                    <a:pt x="3563264" y="2582882"/>
                  </a:moveTo>
                  <a:lnTo>
                    <a:pt x="3178512" y="2805091"/>
                  </a:lnTo>
                  <a:lnTo>
                    <a:pt x="2794035" y="2582882"/>
                  </a:lnTo>
                  <a:lnTo>
                    <a:pt x="3178512" y="2360940"/>
                  </a:lnTo>
                  <a:close/>
                  <a:moveTo>
                    <a:pt x="2335311" y="1849295"/>
                  </a:moveTo>
                  <a:cubicBezTo>
                    <a:pt x="2650131" y="1849295"/>
                    <a:pt x="2905554" y="1594140"/>
                    <a:pt x="2905554" y="1279053"/>
                  </a:cubicBezTo>
                  <a:cubicBezTo>
                    <a:pt x="2905554" y="963966"/>
                    <a:pt x="2650131" y="708810"/>
                    <a:pt x="2335311" y="708810"/>
                  </a:cubicBezTo>
                  <a:cubicBezTo>
                    <a:pt x="2020491" y="708810"/>
                    <a:pt x="1765068" y="964223"/>
                    <a:pt x="1765068" y="1279053"/>
                  </a:cubicBezTo>
                  <a:cubicBezTo>
                    <a:pt x="1765068" y="1593883"/>
                    <a:pt x="2020214" y="1849295"/>
                    <a:pt x="2335311" y="1849295"/>
                  </a:cubicBezTo>
                  <a:close/>
                  <a:moveTo>
                    <a:pt x="2166557" y="1059006"/>
                  </a:moveTo>
                  <a:cubicBezTo>
                    <a:pt x="2188159" y="1024983"/>
                    <a:pt x="2222173" y="997179"/>
                    <a:pt x="2262950" y="981244"/>
                  </a:cubicBezTo>
                  <a:cubicBezTo>
                    <a:pt x="2267807" y="979349"/>
                    <a:pt x="2272941" y="977729"/>
                    <a:pt x="2278066" y="976110"/>
                  </a:cubicBezTo>
                  <a:lnTo>
                    <a:pt x="2278066" y="908340"/>
                  </a:lnTo>
                  <a:cubicBezTo>
                    <a:pt x="2278066" y="876755"/>
                    <a:pt x="2303717" y="851104"/>
                    <a:pt x="2335311" y="851104"/>
                  </a:cubicBezTo>
                  <a:cubicBezTo>
                    <a:pt x="2366906" y="851104"/>
                    <a:pt x="2392280" y="876755"/>
                    <a:pt x="2392280" y="908340"/>
                  </a:cubicBezTo>
                  <a:lnTo>
                    <a:pt x="2392280" y="972872"/>
                  </a:lnTo>
                  <a:cubicBezTo>
                    <a:pt x="2432514" y="982597"/>
                    <a:pt x="2473547" y="1004190"/>
                    <a:pt x="2512428" y="1041185"/>
                  </a:cubicBezTo>
                  <a:cubicBezTo>
                    <a:pt x="2535374" y="1062788"/>
                    <a:pt x="2536193" y="1098964"/>
                    <a:pt x="2514591" y="1121643"/>
                  </a:cubicBezTo>
                  <a:cubicBezTo>
                    <a:pt x="2492721" y="1144322"/>
                    <a:pt x="2456812" y="1145398"/>
                    <a:pt x="2433857" y="1123529"/>
                  </a:cubicBezTo>
                  <a:cubicBezTo>
                    <a:pt x="2387689" y="1079790"/>
                    <a:pt x="2339359" y="1073846"/>
                    <a:pt x="2303983" y="1087619"/>
                  </a:cubicBezTo>
                  <a:cubicBezTo>
                    <a:pt x="2285895" y="1094639"/>
                    <a:pt x="2271313" y="1106250"/>
                    <a:pt x="2262673" y="1120014"/>
                  </a:cubicBezTo>
                  <a:cubicBezTo>
                    <a:pt x="2255387" y="1131349"/>
                    <a:pt x="2252415" y="1144045"/>
                    <a:pt x="2255387" y="1155923"/>
                  </a:cubicBezTo>
                  <a:cubicBezTo>
                    <a:pt x="2261330" y="1181307"/>
                    <a:pt x="2291839" y="1208311"/>
                    <a:pt x="2358523" y="1227751"/>
                  </a:cubicBezTo>
                  <a:cubicBezTo>
                    <a:pt x="2414416" y="1243953"/>
                    <a:pt x="2454916" y="1268518"/>
                    <a:pt x="2482187" y="1296865"/>
                  </a:cubicBezTo>
                  <a:cubicBezTo>
                    <a:pt x="2518363" y="1334669"/>
                    <a:pt x="2532402" y="1378675"/>
                    <a:pt x="2528897" y="1421604"/>
                  </a:cubicBezTo>
                  <a:cubicBezTo>
                    <a:pt x="2525382" y="1466429"/>
                    <a:pt x="2504866" y="1505033"/>
                    <a:pt x="2474090" y="1534189"/>
                  </a:cubicBezTo>
                  <a:cubicBezTo>
                    <a:pt x="2453030" y="1554173"/>
                    <a:pt x="2427380" y="1569556"/>
                    <a:pt x="2399033" y="1579014"/>
                  </a:cubicBezTo>
                  <a:cubicBezTo>
                    <a:pt x="2396871" y="1579824"/>
                    <a:pt x="2394709" y="1580633"/>
                    <a:pt x="2392290" y="1581176"/>
                  </a:cubicBezTo>
                  <a:lnTo>
                    <a:pt x="2392290" y="1650023"/>
                  </a:lnTo>
                  <a:cubicBezTo>
                    <a:pt x="2392290" y="1681351"/>
                    <a:pt x="2366906" y="1706992"/>
                    <a:pt x="2335321" y="1706992"/>
                  </a:cubicBezTo>
                  <a:cubicBezTo>
                    <a:pt x="2303736" y="1706992"/>
                    <a:pt x="2278075" y="1681341"/>
                    <a:pt x="2278075" y="1650023"/>
                  </a:cubicBezTo>
                  <a:lnTo>
                    <a:pt x="2278075" y="1585224"/>
                  </a:lnTo>
                  <a:cubicBezTo>
                    <a:pt x="2238661" y="1576052"/>
                    <a:pt x="2200047" y="1555259"/>
                    <a:pt x="2167376" y="1520969"/>
                  </a:cubicBezTo>
                  <a:cubicBezTo>
                    <a:pt x="2145506" y="1498013"/>
                    <a:pt x="2146583" y="1461838"/>
                    <a:pt x="2169271" y="1440235"/>
                  </a:cubicBezTo>
                  <a:cubicBezTo>
                    <a:pt x="2192217" y="1418632"/>
                    <a:pt x="2228126" y="1419442"/>
                    <a:pt x="2250005" y="1442397"/>
                  </a:cubicBezTo>
                  <a:cubicBezTo>
                    <a:pt x="2270522" y="1464000"/>
                    <a:pt x="2295363" y="1474534"/>
                    <a:pt x="2319661" y="1476420"/>
                  </a:cubicBezTo>
                  <a:cubicBezTo>
                    <a:pt x="2334511" y="1477497"/>
                    <a:pt x="2349084" y="1475611"/>
                    <a:pt x="2362324" y="1471020"/>
                  </a:cubicBezTo>
                  <a:cubicBezTo>
                    <a:pt x="2375288" y="1466695"/>
                    <a:pt x="2386622" y="1459952"/>
                    <a:pt x="2395537" y="1451579"/>
                  </a:cubicBezTo>
                  <a:cubicBezTo>
                    <a:pt x="2406606" y="1441054"/>
                    <a:pt x="2413892" y="1427814"/>
                    <a:pt x="2414978" y="1412698"/>
                  </a:cubicBezTo>
                  <a:cubicBezTo>
                    <a:pt x="2416064" y="1400820"/>
                    <a:pt x="2411473" y="1387857"/>
                    <a:pt x="2400129" y="1375979"/>
                  </a:cubicBezTo>
                  <a:cubicBezTo>
                    <a:pt x="2385546" y="1360863"/>
                    <a:pt x="2362057" y="1347357"/>
                    <a:pt x="2326958" y="1337098"/>
                  </a:cubicBezTo>
                  <a:cubicBezTo>
                    <a:pt x="2214096" y="1304427"/>
                    <a:pt x="2159556" y="1244487"/>
                    <a:pt x="2144440" y="1182117"/>
                  </a:cubicBezTo>
                  <a:cubicBezTo>
                    <a:pt x="2134181" y="1138645"/>
                    <a:pt x="2143363" y="1095439"/>
                    <a:pt x="2166576" y="1058997"/>
                  </a:cubicBezTo>
                  <a:close/>
                  <a:moveTo>
                    <a:pt x="1398946" y="2371475"/>
                  </a:moveTo>
                  <a:cubicBezTo>
                    <a:pt x="1102481" y="2371475"/>
                    <a:pt x="862460" y="2611781"/>
                    <a:pt x="862460" y="2907971"/>
                  </a:cubicBezTo>
                  <a:cubicBezTo>
                    <a:pt x="862460" y="3204160"/>
                    <a:pt x="1102490" y="3444457"/>
                    <a:pt x="1398946" y="3444457"/>
                  </a:cubicBezTo>
                  <a:cubicBezTo>
                    <a:pt x="1695402" y="3444457"/>
                    <a:pt x="1935166" y="3204160"/>
                    <a:pt x="1935166" y="2907971"/>
                  </a:cubicBezTo>
                  <a:cubicBezTo>
                    <a:pt x="1935166" y="2611781"/>
                    <a:pt x="1695136" y="2371475"/>
                    <a:pt x="1398946" y="2371475"/>
                  </a:cubicBezTo>
                  <a:close/>
                  <a:moveTo>
                    <a:pt x="1670571" y="2795109"/>
                  </a:moveTo>
                  <a:lnTo>
                    <a:pt x="1364390" y="3101557"/>
                  </a:lnTo>
                  <a:lnTo>
                    <a:pt x="1364123" y="3101557"/>
                  </a:lnTo>
                  <a:lnTo>
                    <a:pt x="1363313" y="3102366"/>
                  </a:lnTo>
                  <a:cubicBezTo>
                    <a:pt x="1340634" y="3124236"/>
                    <a:pt x="1304725" y="3123426"/>
                    <a:pt x="1282856" y="3100747"/>
                  </a:cubicBezTo>
                  <a:lnTo>
                    <a:pt x="1126255" y="2938213"/>
                  </a:lnTo>
                  <a:cubicBezTo>
                    <a:pt x="1104652" y="2915534"/>
                    <a:pt x="1105195" y="2879348"/>
                    <a:pt x="1127874" y="2857755"/>
                  </a:cubicBezTo>
                  <a:cubicBezTo>
                    <a:pt x="1150553" y="2835886"/>
                    <a:pt x="1186739" y="2836428"/>
                    <a:pt x="1208608" y="2859107"/>
                  </a:cubicBezTo>
                  <a:lnTo>
                    <a:pt x="1324442" y="2979799"/>
                  </a:lnTo>
                  <a:lnTo>
                    <a:pt x="1589856" y="2714385"/>
                  </a:lnTo>
                  <a:cubicBezTo>
                    <a:pt x="1612268" y="2692248"/>
                    <a:pt x="1648444" y="2692248"/>
                    <a:pt x="1670590" y="2714385"/>
                  </a:cubicBezTo>
                  <a:cubicBezTo>
                    <a:pt x="1693002" y="2736797"/>
                    <a:pt x="1693002" y="2772973"/>
                    <a:pt x="1670590" y="2795119"/>
                  </a:cubicBezTo>
                  <a:close/>
                </a:path>
              </a:pathLst>
            </a:custGeom>
            <a:solidFill>
              <a:srgbClr val="2B660F"/>
            </a:solidFill>
            <a:ln w="9525" cap="flat">
              <a:noFill/>
              <a:prstDash val="solid"/>
              <a:miter/>
            </a:ln>
          </p:spPr>
          <p:txBody>
            <a:bodyPr/>
            <a:lstStyle/>
            <a:p>
              <a:endParaRPr lang="en-US"/>
            </a:p>
          </p:txBody>
        </p:sp>
      </p:grpSp>
      <p:grpSp>
        <p:nvGrpSpPr>
          <p:cNvPr id="170" name="Group 169">
            <a:extLst>
              <a:ext uri="{FF2B5EF4-FFF2-40B4-BE49-F238E27FC236}">
                <a16:creationId xmlns:a16="http://schemas.microsoft.com/office/drawing/2014/main" id="{26C46279-124D-98DF-4D82-23F186FD11D8}"/>
              </a:ext>
            </a:extLst>
          </p:cNvPr>
          <p:cNvGrpSpPr/>
          <p:nvPr/>
        </p:nvGrpSpPr>
        <p:grpSpPr>
          <a:xfrm>
            <a:off x="6250778" y="3271263"/>
            <a:ext cx="354334" cy="354334"/>
            <a:chOff x="6250778" y="3271263"/>
            <a:chExt cx="354334" cy="354334"/>
          </a:xfrm>
        </p:grpSpPr>
        <p:sp>
          <p:nvSpPr>
            <p:cNvPr id="133" name="Oval 132">
              <a:extLst>
                <a:ext uri="{FF2B5EF4-FFF2-40B4-BE49-F238E27FC236}">
                  <a16:creationId xmlns:a16="http://schemas.microsoft.com/office/drawing/2014/main" id="{58B70545-CE72-8945-DF77-51EE70CB960D}"/>
                </a:ext>
              </a:extLst>
            </p:cNvPr>
            <p:cNvSpPr/>
            <p:nvPr/>
          </p:nvSpPr>
          <p:spPr>
            <a:xfrm>
              <a:off x="6250778" y="3271263"/>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5" name="Graphic 153">
              <a:extLst>
                <a:ext uri="{FF2B5EF4-FFF2-40B4-BE49-F238E27FC236}">
                  <a16:creationId xmlns:a16="http://schemas.microsoft.com/office/drawing/2014/main" id="{C7455E0F-E30B-C6FD-A672-7BD1C5052DA6}"/>
                </a:ext>
              </a:extLst>
            </p:cNvPr>
            <p:cNvGrpSpPr/>
            <p:nvPr/>
          </p:nvGrpSpPr>
          <p:grpSpPr>
            <a:xfrm>
              <a:off x="6301020" y="3321505"/>
              <a:ext cx="253850" cy="253850"/>
              <a:chOff x="3657600" y="990600"/>
              <a:chExt cx="4876800" cy="4876800"/>
            </a:xfrm>
            <a:solidFill>
              <a:srgbClr val="2B660F"/>
            </a:solidFill>
          </p:grpSpPr>
          <p:sp>
            <p:nvSpPr>
              <p:cNvPr id="156" name="Freeform: Shape 155">
                <a:extLst>
                  <a:ext uri="{FF2B5EF4-FFF2-40B4-BE49-F238E27FC236}">
                    <a16:creationId xmlns:a16="http://schemas.microsoft.com/office/drawing/2014/main" id="{565F12B3-E348-E137-6297-4AE5A6503FEB}"/>
                  </a:ext>
                </a:extLst>
              </p:cNvPr>
              <p:cNvSpPr/>
              <p:nvPr/>
            </p:nvSpPr>
            <p:spPr>
              <a:xfrm>
                <a:off x="4794989" y="2322871"/>
                <a:ext cx="1066009" cy="2212257"/>
              </a:xfrm>
              <a:custGeom>
                <a:avLst/>
                <a:gdLst>
                  <a:gd name="csX0" fmla="*/ 1066009 w 1066009"/>
                  <a:gd name="csY0" fmla="*/ 1106129 h 2212257"/>
                  <a:gd name="csX1" fmla="*/ 616772 w 1066009"/>
                  <a:gd name="csY1" fmla="*/ 105785 h 2212257"/>
                  <a:gd name="csX2" fmla="*/ 616772 w 1066009"/>
                  <a:gd name="csY2" fmla="*/ 0 h 2212257"/>
                  <a:gd name="csX3" fmla="*/ 0 w 1066009"/>
                  <a:gd name="csY3" fmla="*/ 1106129 h 2212257"/>
                  <a:gd name="csX4" fmla="*/ 616772 w 1066009"/>
                  <a:gd name="csY4" fmla="*/ 2212258 h 2212257"/>
                  <a:gd name="csX5" fmla="*/ 616772 w 1066009"/>
                  <a:gd name="csY5" fmla="*/ 2106473 h 2212257"/>
                  <a:gd name="csX6" fmla="*/ 1066009 w 1066009"/>
                  <a:gd name="csY6" fmla="*/ 1106129 h 221225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066009" h="2212257">
                    <a:moveTo>
                      <a:pt x="1066009" y="1106129"/>
                    </a:moveTo>
                    <a:cubicBezTo>
                      <a:pt x="781736" y="854259"/>
                      <a:pt x="616772" y="492690"/>
                      <a:pt x="616772" y="105785"/>
                    </a:cubicBezTo>
                    <a:lnTo>
                      <a:pt x="616772" y="0"/>
                    </a:lnTo>
                    <a:cubicBezTo>
                      <a:pt x="246821" y="229667"/>
                      <a:pt x="0" y="639642"/>
                      <a:pt x="0" y="1106129"/>
                    </a:cubicBezTo>
                    <a:cubicBezTo>
                      <a:pt x="0" y="1572616"/>
                      <a:pt x="246821" y="1982591"/>
                      <a:pt x="616772" y="2212258"/>
                    </a:cubicBezTo>
                    <a:lnTo>
                      <a:pt x="616772" y="2106473"/>
                    </a:lnTo>
                    <a:cubicBezTo>
                      <a:pt x="616763" y="1719567"/>
                      <a:pt x="781726" y="1357998"/>
                      <a:pt x="1066009" y="1106129"/>
                    </a:cubicBezTo>
                    <a:close/>
                  </a:path>
                </a:pathLst>
              </a:custGeom>
              <a:grpFill/>
              <a:ln w="9525" cap="flat">
                <a:noFill/>
                <a:prstDash val="solid"/>
                <a:miter/>
              </a:ln>
            </p:spPr>
            <p:txBody>
              <a:bodyPr/>
              <a:lstStyle/>
              <a:p>
                <a:endParaRPr lang="en-US"/>
              </a:p>
            </p:txBody>
          </p:sp>
          <p:sp>
            <p:nvSpPr>
              <p:cNvPr id="157" name="Freeform: Shape 156">
                <a:extLst>
                  <a:ext uri="{FF2B5EF4-FFF2-40B4-BE49-F238E27FC236}">
                    <a16:creationId xmlns:a16="http://schemas.microsoft.com/office/drawing/2014/main" id="{24D28BFD-165C-8833-8690-DBA8239F54AF}"/>
                  </a:ext>
                </a:extLst>
              </p:cNvPr>
              <p:cNvSpPr/>
              <p:nvPr/>
            </p:nvSpPr>
            <p:spPr>
              <a:xfrm>
                <a:off x="3927767" y="1260767"/>
                <a:ext cx="2025281" cy="2025281"/>
              </a:xfrm>
              <a:custGeom>
                <a:avLst/>
                <a:gdLst>
                  <a:gd name="csX0" fmla="*/ 2025282 w 2025281"/>
                  <a:gd name="csY0" fmla="*/ 587712 h 2025281"/>
                  <a:gd name="csX1" fmla="*/ 2025282 w 2025281"/>
                  <a:gd name="csY1" fmla="*/ 0 h 2025281"/>
                  <a:gd name="csX2" fmla="*/ 631831 w 2025281"/>
                  <a:gd name="csY2" fmla="*/ 631831 h 2025281"/>
                  <a:gd name="csX3" fmla="*/ 0 w 2025281"/>
                  <a:gd name="csY3" fmla="*/ 2025282 h 2025281"/>
                  <a:gd name="csX4" fmla="*/ 587702 w 2025281"/>
                  <a:gd name="csY4" fmla="*/ 2025282 h 2025281"/>
                  <a:gd name="csX5" fmla="*/ 2025282 w 2025281"/>
                  <a:gd name="csY5" fmla="*/ 587712 h 2025281"/>
                </a:gdLst>
                <a:ahLst/>
                <a:cxnLst>
                  <a:cxn ang="0">
                    <a:pos x="csX0" y="csY0"/>
                  </a:cxn>
                  <a:cxn ang="0">
                    <a:pos x="csX1" y="csY1"/>
                  </a:cxn>
                  <a:cxn ang="0">
                    <a:pos x="csX2" y="csY2"/>
                  </a:cxn>
                  <a:cxn ang="0">
                    <a:pos x="csX3" y="csY3"/>
                  </a:cxn>
                  <a:cxn ang="0">
                    <a:pos x="csX4" y="csY4"/>
                  </a:cxn>
                  <a:cxn ang="0">
                    <a:pos x="csX5" y="csY5"/>
                  </a:cxn>
                </a:cxnLst>
                <a:rect l="l" t="t" r="r" b="b"/>
                <a:pathLst>
                  <a:path w="2025281" h="2025281">
                    <a:moveTo>
                      <a:pt x="2025282" y="587712"/>
                    </a:moveTo>
                    <a:lnTo>
                      <a:pt x="2025282" y="0"/>
                    </a:lnTo>
                    <a:cubicBezTo>
                      <a:pt x="1498664" y="34023"/>
                      <a:pt x="1008355" y="255308"/>
                      <a:pt x="631831" y="631831"/>
                    </a:cubicBezTo>
                    <a:cubicBezTo>
                      <a:pt x="255308" y="1008355"/>
                      <a:pt x="34023" y="1498664"/>
                      <a:pt x="0" y="2025282"/>
                    </a:cubicBezTo>
                    <a:lnTo>
                      <a:pt x="587702" y="2025282"/>
                    </a:lnTo>
                    <a:cubicBezTo>
                      <a:pt x="655939" y="1264044"/>
                      <a:pt x="1264044" y="655939"/>
                      <a:pt x="2025282" y="587712"/>
                    </a:cubicBezTo>
                    <a:close/>
                  </a:path>
                </a:pathLst>
              </a:custGeom>
              <a:grpFill/>
              <a:ln w="9525" cap="flat">
                <a:noFill/>
                <a:prstDash val="solid"/>
                <a:miter/>
              </a:ln>
            </p:spPr>
            <p:txBody>
              <a:bodyPr/>
              <a:lstStyle/>
              <a:p>
                <a:endParaRPr lang="en-US"/>
              </a:p>
            </p:txBody>
          </p:sp>
          <p:sp>
            <p:nvSpPr>
              <p:cNvPr id="158" name="Freeform: Shape 157">
                <a:extLst>
                  <a:ext uri="{FF2B5EF4-FFF2-40B4-BE49-F238E27FC236}">
                    <a16:creationId xmlns:a16="http://schemas.microsoft.com/office/drawing/2014/main" id="{A7808C65-68F1-D860-1728-EBD4D3F34CCA}"/>
                  </a:ext>
                </a:extLst>
              </p:cNvPr>
              <p:cNvSpPr/>
              <p:nvPr/>
            </p:nvSpPr>
            <p:spPr>
              <a:xfrm>
                <a:off x="3927767" y="3571951"/>
                <a:ext cx="2025281" cy="2025281"/>
              </a:xfrm>
              <a:custGeom>
                <a:avLst/>
                <a:gdLst>
                  <a:gd name="csX0" fmla="*/ 587712 w 2025281"/>
                  <a:gd name="csY0" fmla="*/ 0 h 2025281"/>
                  <a:gd name="csX1" fmla="*/ 0 w 2025281"/>
                  <a:gd name="csY1" fmla="*/ 0 h 2025281"/>
                  <a:gd name="csX2" fmla="*/ 631831 w 2025281"/>
                  <a:gd name="csY2" fmla="*/ 1393450 h 2025281"/>
                  <a:gd name="csX3" fmla="*/ 2025282 w 2025281"/>
                  <a:gd name="csY3" fmla="*/ 2025282 h 2025281"/>
                  <a:gd name="csX4" fmla="*/ 2025282 w 2025281"/>
                  <a:gd name="csY4" fmla="*/ 1437580 h 2025281"/>
                  <a:gd name="csX5" fmla="*/ 587712 w 2025281"/>
                  <a:gd name="csY5" fmla="*/ 0 h 2025281"/>
                </a:gdLst>
                <a:ahLst/>
                <a:cxnLst>
                  <a:cxn ang="0">
                    <a:pos x="csX0" y="csY0"/>
                  </a:cxn>
                  <a:cxn ang="0">
                    <a:pos x="csX1" y="csY1"/>
                  </a:cxn>
                  <a:cxn ang="0">
                    <a:pos x="csX2" y="csY2"/>
                  </a:cxn>
                  <a:cxn ang="0">
                    <a:pos x="csX3" y="csY3"/>
                  </a:cxn>
                  <a:cxn ang="0">
                    <a:pos x="csX4" y="csY4"/>
                  </a:cxn>
                  <a:cxn ang="0">
                    <a:pos x="csX5" y="csY5"/>
                  </a:cxn>
                </a:cxnLst>
                <a:rect l="l" t="t" r="r" b="b"/>
                <a:pathLst>
                  <a:path w="2025281" h="2025281">
                    <a:moveTo>
                      <a:pt x="587712" y="0"/>
                    </a:moveTo>
                    <a:lnTo>
                      <a:pt x="0" y="0"/>
                    </a:lnTo>
                    <a:cubicBezTo>
                      <a:pt x="34023" y="526618"/>
                      <a:pt x="255308" y="1016927"/>
                      <a:pt x="631831" y="1393450"/>
                    </a:cubicBezTo>
                    <a:cubicBezTo>
                      <a:pt x="1008355" y="1769974"/>
                      <a:pt x="1498664" y="1991258"/>
                      <a:pt x="2025282" y="2025282"/>
                    </a:cubicBezTo>
                    <a:lnTo>
                      <a:pt x="2025282" y="1437580"/>
                    </a:lnTo>
                    <a:cubicBezTo>
                      <a:pt x="1264044" y="1369343"/>
                      <a:pt x="655939" y="761238"/>
                      <a:pt x="587712" y="0"/>
                    </a:cubicBezTo>
                    <a:close/>
                  </a:path>
                </a:pathLst>
              </a:custGeom>
              <a:grpFill/>
              <a:ln w="9525" cap="flat">
                <a:noFill/>
                <a:prstDash val="solid"/>
                <a:miter/>
              </a:ln>
            </p:spPr>
            <p:txBody>
              <a:bodyPr/>
              <a:lstStyle/>
              <a:p>
                <a:endParaRPr lang="en-US"/>
              </a:p>
            </p:txBody>
          </p:sp>
          <p:sp>
            <p:nvSpPr>
              <p:cNvPr id="159" name="Freeform: Shape 158">
                <a:extLst>
                  <a:ext uri="{FF2B5EF4-FFF2-40B4-BE49-F238E27FC236}">
                    <a16:creationId xmlns:a16="http://schemas.microsoft.com/office/drawing/2014/main" id="{F5315945-C0A4-1080-804A-5E39E1C62F28}"/>
                  </a:ext>
                </a:extLst>
              </p:cNvPr>
              <p:cNvSpPr/>
              <p:nvPr/>
            </p:nvSpPr>
            <p:spPr>
              <a:xfrm>
                <a:off x="5743298" y="3604917"/>
                <a:ext cx="705402" cy="516712"/>
              </a:xfrm>
              <a:custGeom>
                <a:avLst/>
                <a:gdLst>
                  <a:gd name="csX0" fmla="*/ 0 w 705402"/>
                  <a:gd name="csY0" fmla="*/ 516712 h 516712"/>
                  <a:gd name="csX1" fmla="*/ 705402 w 705402"/>
                  <a:gd name="csY1" fmla="*/ 516712 h 516712"/>
                  <a:gd name="csX2" fmla="*/ 352701 w 705402"/>
                  <a:gd name="csY2" fmla="*/ 0 h 516712"/>
                  <a:gd name="csX3" fmla="*/ 0 w 705402"/>
                  <a:gd name="csY3" fmla="*/ 516712 h 516712"/>
                </a:gdLst>
                <a:ahLst/>
                <a:cxnLst>
                  <a:cxn ang="0">
                    <a:pos x="csX0" y="csY0"/>
                  </a:cxn>
                  <a:cxn ang="0">
                    <a:pos x="csX1" y="csY1"/>
                  </a:cxn>
                  <a:cxn ang="0">
                    <a:pos x="csX2" y="csY2"/>
                  </a:cxn>
                  <a:cxn ang="0">
                    <a:pos x="csX3" y="csY3"/>
                  </a:cxn>
                </a:cxnLst>
                <a:rect l="l" t="t" r="r" b="b"/>
                <a:pathLst>
                  <a:path w="705402" h="516712">
                    <a:moveTo>
                      <a:pt x="0" y="516712"/>
                    </a:moveTo>
                    <a:lnTo>
                      <a:pt x="705402" y="516712"/>
                    </a:lnTo>
                    <a:cubicBezTo>
                      <a:pt x="643747" y="314201"/>
                      <a:pt x="521760" y="133807"/>
                      <a:pt x="352701" y="0"/>
                    </a:cubicBezTo>
                    <a:cubicBezTo>
                      <a:pt x="183642" y="133807"/>
                      <a:pt x="61655" y="314201"/>
                      <a:pt x="0" y="516712"/>
                    </a:cubicBezTo>
                    <a:close/>
                  </a:path>
                </a:pathLst>
              </a:custGeom>
              <a:grpFill/>
              <a:ln w="9525" cap="flat">
                <a:noFill/>
                <a:prstDash val="solid"/>
                <a:miter/>
              </a:ln>
            </p:spPr>
            <p:txBody>
              <a:bodyPr/>
              <a:lstStyle/>
              <a:p>
                <a:endParaRPr lang="en-US"/>
              </a:p>
            </p:txBody>
          </p:sp>
          <p:sp>
            <p:nvSpPr>
              <p:cNvPr id="160" name="Freeform: Shape 159">
                <a:extLst>
                  <a:ext uri="{FF2B5EF4-FFF2-40B4-BE49-F238E27FC236}">
                    <a16:creationId xmlns:a16="http://schemas.microsoft.com/office/drawing/2014/main" id="{207826C5-8073-3D5F-91AD-39EDEBEC100B}"/>
                  </a:ext>
                </a:extLst>
              </p:cNvPr>
              <p:cNvSpPr/>
              <p:nvPr/>
            </p:nvSpPr>
            <p:spPr>
              <a:xfrm>
                <a:off x="5743298" y="2736370"/>
                <a:ext cx="705402" cy="516712"/>
              </a:xfrm>
              <a:custGeom>
                <a:avLst/>
                <a:gdLst>
                  <a:gd name="csX0" fmla="*/ 0 w 705402"/>
                  <a:gd name="csY0" fmla="*/ 0 h 516712"/>
                  <a:gd name="csX1" fmla="*/ 352701 w 705402"/>
                  <a:gd name="csY1" fmla="*/ 516712 h 516712"/>
                  <a:gd name="csX2" fmla="*/ 705402 w 705402"/>
                  <a:gd name="csY2" fmla="*/ 0 h 516712"/>
                </a:gdLst>
                <a:ahLst/>
                <a:cxnLst>
                  <a:cxn ang="0">
                    <a:pos x="csX0" y="csY0"/>
                  </a:cxn>
                  <a:cxn ang="0">
                    <a:pos x="csX1" y="csY1"/>
                  </a:cxn>
                  <a:cxn ang="0">
                    <a:pos x="csX2" y="csY2"/>
                  </a:cxn>
                </a:cxnLst>
                <a:rect l="l" t="t" r="r" b="b"/>
                <a:pathLst>
                  <a:path w="705402" h="516712">
                    <a:moveTo>
                      <a:pt x="0" y="0"/>
                    </a:moveTo>
                    <a:cubicBezTo>
                      <a:pt x="61655" y="202511"/>
                      <a:pt x="183642" y="382905"/>
                      <a:pt x="352701" y="516712"/>
                    </a:cubicBezTo>
                    <a:cubicBezTo>
                      <a:pt x="521760" y="382914"/>
                      <a:pt x="643747" y="202511"/>
                      <a:pt x="705402" y="0"/>
                    </a:cubicBezTo>
                    <a:close/>
                  </a:path>
                </a:pathLst>
              </a:custGeom>
              <a:grpFill/>
              <a:ln w="9525" cap="flat">
                <a:noFill/>
                <a:prstDash val="solid"/>
                <a:miter/>
              </a:ln>
            </p:spPr>
            <p:txBody>
              <a:bodyPr/>
              <a:lstStyle/>
              <a:p>
                <a:endParaRPr lang="en-US"/>
              </a:p>
            </p:txBody>
          </p:sp>
          <p:sp>
            <p:nvSpPr>
              <p:cNvPr id="161" name="Freeform: Shape 160">
                <a:extLst>
                  <a:ext uri="{FF2B5EF4-FFF2-40B4-BE49-F238E27FC236}">
                    <a16:creationId xmlns:a16="http://schemas.microsoft.com/office/drawing/2014/main" id="{2CC3758B-FFD4-E1C3-023B-557F3557BAF6}"/>
                  </a:ext>
                </a:extLst>
              </p:cNvPr>
              <p:cNvSpPr/>
              <p:nvPr/>
            </p:nvSpPr>
            <p:spPr>
              <a:xfrm>
                <a:off x="5697654" y="2127989"/>
                <a:ext cx="796690" cy="322487"/>
              </a:xfrm>
              <a:custGeom>
                <a:avLst/>
                <a:gdLst>
                  <a:gd name="csX0" fmla="*/ 796500 w 796690"/>
                  <a:gd name="csY0" fmla="*/ 322488 h 322487"/>
                  <a:gd name="csX1" fmla="*/ 796690 w 796690"/>
                  <a:gd name="csY1" fmla="*/ 300666 h 322487"/>
                  <a:gd name="csX2" fmla="*/ 796690 w 796690"/>
                  <a:gd name="csY2" fmla="*/ 62322 h 322487"/>
                  <a:gd name="csX3" fmla="*/ 398345 w 796690"/>
                  <a:gd name="csY3" fmla="*/ 0 h 322487"/>
                  <a:gd name="csX4" fmla="*/ 0 w 796690"/>
                  <a:gd name="csY4" fmla="*/ 62322 h 322487"/>
                  <a:gd name="csX5" fmla="*/ 0 w 796690"/>
                  <a:gd name="csY5" fmla="*/ 300666 h 322487"/>
                  <a:gd name="csX6" fmla="*/ 191 w 796690"/>
                  <a:gd name="csY6" fmla="*/ 322488 h 32248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796690" h="322487">
                    <a:moveTo>
                      <a:pt x="796500" y="322488"/>
                    </a:moveTo>
                    <a:cubicBezTo>
                      <a:pt x="796690" y="315249"/>
                      <a:pt x="796690" y="308000"/>
                      <a:pt x="796690" y="300666"/>
                    </a:cubicBezTo>
                    <a:lnTo>
                      <a:pt x="796690" y="62322"/>
                    </a:lnTo>
                    <a:cubicBezTo>
                      <a:pt x="671084" y="21822"/>
                      <a:pt x="537286" y="0"/>
                      <a:pt x="398345" y="0"/>
                    </a:cubicBezTo>
                    <a:cubicBezTo>
                      <a:pt x="259404" y="0"/>
                      <a:pt x="125597" y="21822"/>
                      <a:pt x="0" y="62322"/>
                    </a:cubicBezTo>
                    <a:lnTo>
                      <a:pt x="0" y="300666"/>
                    </a:lnTo>
                    <a:cubicBezTo>
                      <a:pt x="0" y="308000"/>
                      <a:pt x="0" y="315249"/>
                      <a:pt x="191" y="322488"/>
                    </a:cubicBezTo>
                    <a:close/>
                  </a:path>
                </a:pathLst>
              </a:custGeom>
              <a:grpFill/>
              <a:ln w="9525" cap="flat">
                <a:noFill/>
                <a:prstDash val="solid"/>
                <a:miter/>
              </a:ln>
            </p:spPr>
            <p:txBody>
              <a:bodyPr/>
              <a:lstStyle/>
              <a:p>
                <a:endParaRPr lang="en-US"/>
              </a:p>
            </p:txBody>
          </p:sp>
          <p:sp>
            <p:nvSpPr>
              <p:cNvPr id="162" name="Freeform: Shape 161">
                <a:extLst>
                  <a:ext uri="{FF2B5EF4-FFF2-40B4-BE49-F238E27FC236}">
                    <a16:creationId xmlns:a16="http://schemas.microsoft.com/office/drawing/2014/main" id="{54CECF5F-49B1-98D1-8307-EF9CF6D68EEA}"/>
                  </a:ext>
                </a:extLst>
              </p:cNvPr>
              <p:cNvSpPr/>
              <p:nvPr/>
            </p:nvSpPr>
            <p:spPr>
              <a:xfrm>
                <a:off x="5697654" y="4407522"/>
                <a:ext cx="796690" cy="322487"/>
              </a:xfrm>
              <a:custGeom>
                <a:avLst/>
                <a:gdLst>
                  <a:gd name="csX0" fmla="*/ 191 w 796690"/>
                  <a:gd name="csY0" fmla="*/ 0 h 322487"/>
                  <a:gd name="csX1" fmla="*/ 0 w 796690"/>
                  <a:gd name="csY1" fmla="*/ 21822 h 322487"/>
                  <a:gd name="csX2" fmla="*/ 0 w 796690"/>
                  <a:gd name="csY2" fmla="*/ 260166 h 322487"/>
                  <a:gd name="csX3" fmla="*/ 398345 w 796690"/>
                  <a:gd name="csY3" fmla="*/ 322488 h 322487"/>
                  <a:gd name="csX4" fmla="*/ 796690 w 796690"/>
                  <a:gd name="csY4" fmla="*/ 260166 h 322487"/>
                  <a:gd name="csX5" fmla="*/ 796690 w 796690"/>
                  <a:gd name="csY5" fmla="*/ 21822 h 322487"/>
                  <a:gd name="csX6" fmla="*/ 796500 w 796690"/>
                  <a:gd name="csY6" fmla="*/ 0 h 32248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796690" h="322487">
                    <a:moveTo>
                      <a:pt x="191" y="0"/>
                    </a:moveTo>
                    <a:cubicBezTo>
                      <a:pt x="0" y="7239"/>
                      <a:pt x="0" y="14487"/>
                      <a:pt x="0" y="21822"/>
                    </a:cubicBezTo>
                    <a:lnTo>
                      <a:pt x="0" y="260166"/>
                    </a:lnTo>
                    <a:cubicBezTo>
                      <a:pt x="125606" y="300666"/>
                      <a:pt x="259404" y="322488"/>
                      <a:pt x="398345" y="322488"/>
                    </a:cubicBezTo>
                    <a:cubicBezTo>
                      <a:pt x="537286" y="322488"/>
                      <a:pt x="671094" y="300666"/>
                      <a:pt x="796690" y="260166"/>
                    </a:cubicBezTo>
                    <a:lnTo>
                      <a:pt x="796690" y="21822"/>
                    </a:lnTo>
                    <a:cubicBezTo>
                      <a:pt x="796690" y="14487"/>
                      <a:pt x="796690" y="7239"/>
                      <a:pt x="796500" y="0"/>
                    </a:cubicBezTo>
                    <a:close/>
                  </a:path>
                </a:pathLst>
              </a:custGeom>
              <a:grpFill/>
              <a:ln w="9525" cap="flat">
                <a:noFill/>
                <a:prstDash val="solid"/>
                <a:miter/>
              </a:ln>
            </p:spPr>
            <p:txBody>
              <a:bodyPr/>
              <a:lstStyle/>
              <a:p>
                <a:endParaRPr lang="en-US"/>
              </a:p>
            </p:txBody>
          </p:sp>
          <p:sp>
            <p:nvSpPr>
              <p:cNvPr id="163" name="Freeform: Shape 162">
                <a:extLst>
                  <a:ext uri="{FF2B5EF4-FFF2-40B4-BE49-F238E27FC236}">
                    <a16:creationId xmlns:a16="http://schemas.microsoft.com/office/drawing/2014/main" id="{F84CB92A-761B-CF4D-D3C3-BC2EB569E202}"/>
                  </a:ext>
                </a:extLst>
              </p:cNvPr>
              <p:cNvSpPr/>
              <p:nvPr/>
            </p:nvSpPr>
            <p:spPr>
              <a:xfrm>
                <a:off x="6331010" y="2322871"/>
                <a:ext cx="1066009" cy="2212257"/>
              </a:xfrm>
              <a:custGeom>
                <a:avLst/>
                <a:gdLst>
                  <a:gd name="csX0" fmla="*/ 449237 w 1066009"/>
                  <a:gd name="csY0" fmla="*/ 0 h 2212257"/>
                  <a:gd name="csX1" fmla="*/ 449237 w 1066009"/>
                  <a:gd name="csY1" fmla="*/ 105785 h 2212257"/>
                  <a:gd name="csX2" fmla="*/ 0 w 1066009"/>
                  <a:gd name="csY2" fmla="*/ 1106129 h 2212257"/>
                  <a:gd name="csX3" fmla="*/ 449237 w 1066009"/>
                  <a:gd name="csY3" fmla="*/ 2106473 h 2212257"/>
                  <a:gd name="csX4" fmla="*/ 449237 w 1066009"/>
                  <a:gd name="csY4" fmla="*/ 2212258 h 2212257"/>
                  <a:gd name="csX5" fmla="*/ 1066009 w 1066009"/>
                  <a:gd name="csY5" fmla="*/ 1106129 h 2212257"/>
                  <a:gd name="csX6" fmla="*/ 449237 w 1066009"/>
                  <a:gd name="csY6" fmla="*/ 0 h 221225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066009" h="2212257">
                    <a:moveTo>
                      <a:pt x="449237" y="0"/>
                    </a:moveTo>
                    <a:lnTo>
                      <a:pt x="449237" y="105785"/>
                    </a:lnTo>
                    <a:cubicBezTo>
                      <a:pt x="449237" y="492700"/>
                      <a:pt x="284274" y="854259"/>
                      <a:pt x="0" y="1106129"/>
                    </a:cubicBezTo>
                    <a:cubicBezTo>
                      <a:pt x="284274" y="1357998"/>
                      <a:pt x="449237" y="1719567"/>
                      <a:pt x="449237" y="2106473"/>
                    </a:cubicBezTo>
                    <a:lnTo>
                      <a:pt x="449237" y="2212258"/>
                    </a:lnTo>
                    <a:cubicBezTo>
                      <a:pt x="819188" y="1982591"/>
                      <a:pt x="1066009" y="1572616"/>
                      <a:pt x="1066009" y="1106129"/>
                    </a:cubicBezTo>
                    <a:cubicBezTo>
                      <a:pt x="1066009" y="639642"/>
                      <a:pt x="819179" y="229667"/>
                      <a:pt x="449237" y="0"/>
                    </a:cubicBezTo>
                    <a:close/>
                  </a:path>
                </a:pathLst>
              </a:custGeom>
              <a:grpFill/>
              <a:ln w="9525" cap="flat">
                <a:noFill/>
                <a:prstDash val="solid"/>
                <a:miter/>
              </a:ln>
            </p:spPr>
            <p:txBody>
              <a:bodyPr/>
              <a:lstStyle/>
              <a:p>
                <a:endParaRPr lang="en-US"/>
              </a:p>
            </p:txBody>
          </p:sp>
          <p:sp>
            <p:nvSpPr>
              <p:cNvPr id="164" name="Freeform: Shape 163">
                <a:extLst>
                  <a:ext uri="{FF2B5EF4-FFF2-40B4-BE49-F238E27FC236}">
                    <a16:creationId xmlns:a16="http://schemas.microsoft.com/office/drawing/2014/main" id="{07BC7941-16BE-2522-01F7-A327D25BB1E2}"/>
                  </a:ext>
                </a:extLst>
              </p:cNvPr>
              <p:cNvSpPr/>
              <p:nvPr/>
            </p:nvSpPr>
            <p:spPr>
              <a:xfrm>
                <a:off x="6238951" y="3571941"/>
                <a:ext cx="2025281" cy="2025281"/>
              </a:xfrm>
              <a:custGeom>
                <a:avLst/>
                <a:gdLst>
                  <a:gd name="csX0" fmla="*/ 0 w 2025281"/>
                  <a:gd name="csY0" fmla="*/ 1437580 h 2025281"/>
                  <a:gd name="csX1" fmla="*/ 0 w 2025281"/>
                  <a:gd name="csY1" fmla="*/ 2025282 h 2025281"/>
                  <a:gd name="csX2" fmla="*/ 1393450 w 2025281"/>
                  <a:gd name="csY2" fmla="*/ 1393450 h 2025281"/>
                  <a:gd name="csX3" fmla="*/ 2025282 w 2025281"/>
                  <a:gd name="csY3" fmla="*/ 0 h 2025281"/>
                  <a:gd name="csX4" fmla="*/ 1437580 w 2025281"/>
                  <a:gd name="csY4" fmla="*/ 0 h 2025281"/>
                  <a:gd name="csX5" fmla="*/ 0 w 2025281"/>
                  <a:gd name="csY5" fmla="*/ 1437580 h 2025281"/>
                </a:gdLst>
                <a:ahLst/>
                <a:cxnLst>
                  <a:cxn ang="0">
                    <a:pos x="csX0" y="csY0"/>
                  </a:cxn>
                  <a:cxn ang="0">
                    <a:pos x="csX1" y="csY1"/>
                  </a:cxn>
                  <a:cxn ang="0">
                    <a:pos x="csX2" y="csY2"/>
                  </a:cxn>
                  <a:cxn ang="0">
                    <a:pos x="csX3" y="csY3"/>
                  </a:cxn>
                  <a:cxn ang="0">
                    <a:pos x="csX4" y="csY4"/>
                  </a:cxn>
                  <a:cxn ang="0">
                    <a:pos x="csX5" y="csY5"/>
                  </a:cxn>
                </a:cxnLst>
                <a:rect l="l" t="t" r="r" b="b"/>
                <a:pathLst>
                  <a:path w="2025281" h="2025281">
                    <a:moveTo>
                      <a:pt x="0" y="1437580"/>
                    </a:moveTo>
                    <a:lnTo>
                      <a:pt x="0" y="2025282"/>
                    </a:lnTo>
                    <a:cubicBezTo>
                      <a:pt x="526618" y="1991258"/>
                      <a:pt x="1016927" y="1769974"/>
                      <a:pt x="1393450" y="1393450"/>
                    </a:cubicBezTo>
                    <a:cubicBezTo>
                      <a:pt x="1769974" y="1016927"/>
                      <a:pt x="1991258" y="526618"/>
                      <a:pt x="2025282" y="0"/>
                    </a:cubicBezTo>
                    <a:lnTo>
                      <a:pt x="1437580" y="0"/>
                    </a:lnTo>
                    <a:cubicBezTo>
                      <a:pt x="1369343" y="761248"/>
                      <a:pt x="761238" y="1369352"/>
                      <a:pt x="0" y="1437580"/>
                    </a:cubicBezTo>
                    <a:close/>
                  </a:path>
                </a:pathLst>
              </a:custGeom>
              <a:grpFill/>
              <a:ln w="9525" cap="flat">
                <a:noFill/>
                <a:prstDash val="solid"/>
                <a:miter/>
              </a:ln>
            </p:spPr>
            <p:txBody>
              <a:bodyPr/>
              <a:lstStyle/>
              <a:p>
                <a:endParaRPr lang="en-US"/>
              </a:p>
            </p:txBody>
          </p:sp>
          <p:sp>
            <p:nvSpPr>
              <p:cNvPr id="165" name="Freeform: Shape 164">
                <a:extLst>
                  <a:ext uri="{FF2B5EF4-FFF2-40B4-BE49-F238E27FC236}">
                    <a16:creationId xmlns:a16="http://schemas.microsoft.com/office/drawing/2014/main" id="{07BDD61E-4DB0-5BDB-8174-19B15340B0B7}"/>
                  </a:ext>
                </a:extLst>
              </p:cNvPr>
              <p:cNvSpPr/>
              <p:nvPr/>
            </p:nvSpPr>
            <p:spPr>
              <a:xfrm>
                <a:off x="6238941" y="1260767"/>
                <a:ext cx="2025281" cy="2025281"/>
              </a:xfrm>
              <a:custGeom>
                <a:avLst/>
                <a:gdLst>
                  <a:gd name="csX0" fmla="*/ 1437580 w 2025281"/>
                  <a:gd name="csY0" fmla="*/ 2025282 h 2025281"/>
                  <a:gd name="csX1" fmla="*/ 2025282 w 2025281"/>
                  <a:gd name="csY1" fmla="*/ 2025282 h 2025281"/>
                  <a:gd name="csX2" fmla="*/ 1393450 w 2025281"/>
                  <a:gd name="csY2" fmla="*/ 631831 h 2025281"/>
                  <a:gd name="csX3" fmla="*/ 0 w 2025281"/>
                  <a:gd name="csY3" fmla="*/ 0 h 2025281"/>
                  <a:gd name="csX4" fmla="*/ 0 w 2025281"/>
                  <a:gd name="csY4" fmla="*/ 587702 h 2025281"/>
                  <a:gd name="csX5" fmla="*/ 1437580 w 2025281"/>
                  <a:gd name="csY5" fmla="*/ 2025282 h 2025281"/>
                </a:gdLst>
                <a:ahLst/>
                <a:cxnLst>
                  <a:cxn ang="0">
                    <a:pos x="csX0" y="csY0"/>
                  </a:cxn>
                  <a:cxn ang="0">
                    <a:pos x="csX1" y="csY1"/>
                  </a:cxn>
                  <a:cxn ang="0">
                    <a:pos x="csX2" y="csY2"/>
                  </a:cxn>
                  <a:cxn ang="0">
                    <a:pos x="csX3" y="csY3"/>
                  </a:cxn>
                  <a:cxn ang="0">
                    <a:pos x="csX4" y="csY4"/>
                  </a:cxn>
                  <a:cxn ang="0">
                    <a:pos x="csX5" y="csY5"/>
                  </a:cxn>
                </a:cxnLst>
                <a:rect l="l" t="t" r="r" b="b"/>
                <a:pathLst>
                  <a:path w="2025281" h="2025281">
                    <a:moveTo>
                      <a:pt x="1437580" y="2025282"/>
                    </a:moveTo>
                    <a:lnTo>
                      <a:pt x="2025282" y="2025282"/>
                    </a:lnTo>
                    <a:cubicBezTo>
                      <a:pt x="1991258" y="1498664"/>
                      <a:pt x="1769974" y="1008355"/>
                      <a:pt x="1393450" y="631831"/>
                    </a:cubicBezTo>
                    <a:cubicBezTo>
                      <a:pt x="1016927" y="255308"/>
                      <a:pt x="526618" y="34023"/>
                      <a:pt x="0" y="0"/>
                    </a:cubicBezTo>
                    <a:lnTo>
                      <a:pt x="0" y="587702"/>
                    </a:lnTo>
                    <a:cubicBezTo>
                      <a:pt x="761248" y="655939"/>
                      <a:pt x="1369352" y="1264044"/>
                      <a:pt x="1437580" y="2025282"/>
                    </a:cubicBezTo>
                    <a:close/>
                  </a:path>
                </a:pathLst>
              </a:custGeom>
              <a:grpFill/>
              <a:ln w="9525" cap="flat">
                <a:noFill/>
                <a:prstDash val="solid"/>
                <a:miter/>
              </a:ln>
            </p:spPr>
            <p:txBody>
              <a:bodyPr/>
              <a:lstStyle/>
              <a:p>
                <a:endParaRPr lang="en-US"/>
              </a:p>
            </p:txBody>
          </p:sp>
          <p:sp>
            <p:nvSpPr>
              <p:cNvPr id="166" name="Freeform: Shape 165">
                <a:extLst>
                  <a:ext uri="{FF2B5EF4-FFF2-40B4-BE49-F238E27FC236}">
                    <a16:creationId xmlns:a16="http://schemas.microsoft.com/office/drawing/2014/main" id="{B4C34DA6-9D3C-936E-BD6F-F65B792B8A4E}"/>
                  </a:ext>
                </a:extLst>
              </p:cNvPr>
              <p:cNvSpPr/>
              <p:nvPr/>
            </p:nvSpPr>
            <p:spPr>
              <a:xfrm>
                <a:off x="5953058" y="990600"/>
                <a:ext cx="285892" cy="270167"/>
              </a:xfrm>
              <a:custGeom>
                <a:avLst/>
                <a:gdLst>
                  <a:gd name="csX0" fmla="*/ 285893 w 285892"/>
                  <a:gd name="csY0" fmla="*/ 270167 h 270167"/>
                  <a:gd name="csX1" fmla="*/ 285893 w 285892"/>
                  <a:gd name="csY1" fmla="*/ 0 h 270167"/>
                  <a:gd name="csX2" fmla="*/ 0 w 285892"/>
                  <a:gd name="csY2" fmla="*/ 0 h 270167"/>
                  <a:gd name="csX3" fmla="*/ 0 w 285892"/>
                  <a:gd name="csY3" fmla="*/ 270167 h 270167"/>
                  <a:gd name="csX4" fmla="*/ 142951 w 285892"/>
                  <a:gd name="csY4" fmla="*/ 265595 h 270167"/>
                  <a:gd name="csX5" fmla="*/ 285893 w 285892"/>
                  <a:gd name="csY5" fmla="*/ 270167 h 270167"/>
                </a:gdLst>
                <a:ahLst/>
                <a:cxnLst>
                  <a:cxn ang="0">
                    <a:pos x="csX0" y="csY0"/>
                  </a:cxn>
                  <a:cxn ang="0">
                    <a:pos x="csX1" y="csY1"/>
                  </a:cxn>
                  <a:cxn ang="0">
                    <a:pos x="csX2" y="csY2"/>
                  </a:cxn>
                  <a:cxn ang="0">
                    <a:pos x="csX3" y="csY3"/>
                  </a:cxn>
                  <a:cxn ang="0">
                    <a:pos x="csX4" y="csY4"/>
                  </a:cxn>
                  <a:cxn ang="0">
                    <a:pos x="csX5" y="csY5"/>
                  </a:cxn>
                </a:cxnLst>
                <a:rect l="l" t="t" r="r" b="b"/>
                <a:pathLst>
                  <a:path w="285892" h="270167">
                    <a:moveTo>
                      <a:pt x="285893" y="270167"/>
                    </a:moveTo>
                    <a:lnTo>
                      <a:pt x="285893" y="0"/>
                    </a:lnTo>
                    <a:lnTo>
                      <a:pt x="0" y="0"/>
                    </a:lnTo>
                    <a:lnTo>
                      <a:pt x="0" y="270167"/>
                    </a:lnTo>
                    <a:cubicBezTo>
                      <a:pt x="47358" y="267119"/>
                      <a:pt x="95012" y="265595"/>
                      <a:pt x="142951" y="265595"/>
                    </a:cubicBezTo>
                    <a:cubicBezTo>
                      <a:pt x="190881" y="265595"/>
                      <a:pt x="238525" y="267119"/>
                      <a:pt x="285893" y="270167"/>
                    </a:cubicBezTo>
                    <a:close/>
                  </a:path>
                </a:pathLst>
              </a:custGeom>
              <a:grpFill/>
              <a:ln w="9525" cap="flat">
                <a:noFill/>
                <a:prstDash val="solid"/>
                <a:miter/>
              </a:ln>
            </p:spPr>
            <p:txBody>
              <a:bodyPr/>
              <a:lstStyle/>
              <a:p>
                <a:endParaRPr lang="en-US"/>
              </a:p>
            </p:txBody>
          </p:sp>
          <p:sp>
            <p:nvSpPr>
              <p:cNvPr id="167" name="Freeform: Shape 166">
                <a:extLst>
                  <a:ext uri="{FF2B5EF4-FFF2-40B4-BE49-F238E27FC236}">
                    <a16:creationId xmlns:a16="http://schemas.microsoft.com/office/drawing/2014/main" id="{6FEE23DF-2AE5-CF23-42CA-8D907C3A435C}"/>
                  </a:ext>
                </a:extLst>
              </p:cNvPr>
              <p:cNvSpPr/>
              <p:nvPr/>
            </p:nvSpPr>
            <p:spPr>
              <a:xfrm>
                <a:off x="5953048" y="5597232"/>
                <a:ext cx="285892" cy="270167"/>
              </a:xfrm>
              <a:custGeom>
                <a:avLst/>
                <a:gdLst>
                  <a:gd name="csX0" fmla="*/ 0 w 285892"/>
                  <a:gd name="csY0" fmla="*/ 0 h 270167"/>
                  <a:gd name="csX1" fmla="*/ 0 w 285892"/>
                  <a:gd name="csY1" fmla="*/ 270167 h 270167"/>
                  <a:gd name="csX2" fmla="*/ 285893 w 285892"/>
                  <a:gd name="csY2" fmla="*/ 270167 h 270167"/>
                  <a:gd name="csX3" fmla="*/ 285893 w 285892"/>
                  <a:gd name="csY3" fmla="*/ 0 h 270167"/>
                  <a:gd name="csX4" fmla="*/ 142942 w 285892"/>
                  <a:gd name="csY4" fmla="*/ 4572 h 270167"/>
                  <a:gd name="csX5" fmla="*/ 0 w 285892"/>
                  <a:gd name="csY5" fmla="*/ 0 h 270167"/>
                </a:gdLst>
                <a:ahLst/>
                <a:cxnLst>
                  <a:cxn ang="0">
                    <a:pos x="csX0" y="csY0"/>
                  </a:cxn>
                  <a:cxn ang="0">
                    <a:pos x="csX1" y="csY1"/>
                  </a:cxn>
                  <a:cxn ang="0">
                    <a:pos x="csX2" y="csY2"/>
                  </a:cxn>
                  <a:cxn ang="0">
                    <a:pos x="csX3" y="csY3"/>
                  </a:cxn>
                  <a:cxn ang="0">
                    <a:pos x="csX4" y="csY4"/>
                  </a:cxn>
                  <a:cxn ang="0">
                    <a:pos x="csX5" y="csY5"/>
                  </a:cxn>
                </a:cxnLst>
                <a:rect l="l" t="t" r="r" b="b"/>
                <a:pathLst>
                  <a:path w="285892" h="270167">
                    <a:moveTo>
                      <a:pt x="0" y="0"/>
                    </a:moveTo>
                    <a:lnTo>
                      <a:pt x="0" y="270167"/>
                    </a:lnTo>
                    <a:lnTo>
                      <a:pt x="285893" y="270167"/>
                    </a:lnTo>
                    <a:lnTo>
                      <a:pt x="285893" y="0"/>
                    </a:lnTo>
                    <a:cubicBezTo>
                      <a:pt x="238525" y="3048"/>
                      <a:pt x="190881" y="4572"/>
                      <a:pt x="142942" y="4572"/>
                    </a:cubicBezTo>
                    <a:cubicBezTo>
                      <a:pt x="95012" y="4572"/>
                      <a:pt x="47368" y="3048"/>
                      <a:pt x="0" y="0"/>
                    </a:cubicBezTo>
                    <a:close/>
                  </a:path>
                </a:pathLst>
              </a:custGeom>
              <a:grpFill/>
              <a:ln w="9525" cap="flat">
                <a:noFill/>
                <a:prstDash val="solid"/>
                <a:miter/>
              </a:ln>
            </p:spPr>
            <p:txBody>
              <a:bodyPr/>
              <a:lstStyle/>
              <a:p>
                <a:endParaRPr lang="en-US"/>
              </a:p>
            </p:txBody>
          </p:sp>
          <p:sp>
            <p:nvSpPr>
              <p:cNvPr id="168" name="Freeform: Shape 167">
                <a:extLst>
                  <a:ext uri="{FF2B5EF4-FFF2-40B4-BE49-F238E27FC236}">
                    <a16:creationId xmlns:a16="http://schemas.microsoft.com/office/drawing/2014/main" id="{0BE3DE68-AE80-7880-E8FB-4D84282B598D}"/>
                  </a:ext>
                </a:extLst>
              </p:cNvPr>
              <p:cNvSpPr/>
              <p:nvPr/>
            </p:nvSpPr>
            <p:spPr>
              <a:xfrm>
                <a:off x="8264232" y="3286048"/>
                <a:ext cx="270167" cy="285902"/>
              </a:xfrm>
              <a:custGeom>
                <a:avLst/>
                <a:gdLst>
                  <a:gd name="csX0" fmla="*/ 0 w 270167"/>
                  <a:gd name="csY0" fmla="*/ 0 h 285902"/>
                  <a:gd name="csX1" fmla="*/ 4572 w 270167"/>
                  <a:gd name="csY1" fmla="*/ 142951 h 285902"/>
                  <a:gd name="csX2" fmla="*/ 0 w 270167"/>
                  <a:gd name="csY2" fmla="*/ 285902 h 285902"/>
                  <a:gd name="csX3" fmla="*/ 270167 w 270167"/>
                  <a:gd name="csY3" fmla="*/ 285902 h 285902"/>
                  <a:gd name="csX4" fmla="*/ 270167 w 270167"/>
                  <a:gd name="csY4" fmla="*/ 9 h 285902"/>
                  <a:gd name="csX5" fmla="*/ 0 w 270167"/>
                  <a:gd name="csY5" fmla="*/ 9 h 285902"/>
                </a:gdLst>
                <a:ahLst/>
                <a:cxnLst>
                  <a:cxn ang="0">
                    <a:pos x="csX0" y="csY0"/>
                  </a:cxn>
                  <a:cxn ang="0">
                    <a:pos x="csX1" y="csY1"/>
                  </a:cxn>
                  <a:cxn ang="0">
                    <a:pos x="csX2" y="csY2"/>
                  </a:cxn>
                  <a:cxn ang="0">
                    <a:pos x="csX3" y="csY3"/>
                  </a:cxn>
                  <a:cxn ang="0">
                    <a:pos x="csX4" y="csY4"/>
                  </a:cxn>
                  <a:cxn ang="0">
                    <a:pos x="csX5" y="csY5"/>
                  </a:cxn>
                </a:cxnLst>
                <a:rect l="l" t="t" r="r" b="b"/>
                <a:pathLst>
                  <a:path w="270167" h="285902">
                    <a:moveTo>
                      <a:pt x="0" y="0"/>
                    </a:moveTo>
                    <a:cubicBezTo>
                      <a:pt x="3048" y="47358"/>
                      <a:pt x="4572" y="95012"/>
                      <a:pt x="4572" y="142951"/>
                    </a:cubicBezTo>
                    <a:cubicBezTo>
                      <a:pt x="4572" y="190890"/>
                      <a:pt x="3048" y="238535"/>
                      <a:pt x="0" y="285902"/>
                    </a:cubicBezTo>
                    <a:lnTo>
                      <a:pt x="270167" y="285902"/>
                    </a:lnTo>
                    <a:lnTo>
                      <a:pt x="270167" y="9"/>
                    </a:lnTo>
                    <a:lnTo>
                      <a:pt x="0" y="9"/>
                    </a:lnTo>
                    <a:close/>
                  </a:path>
                </a:pathLst>
              </a:custGeom>
              <a:grpFill/>
              <a:ln w="9525" cap="flat">
                <a:noFill/>
                <a:prstDash val="solid"/>
                <a:miter/>
              </a:ln>
            </p:spPr>
            <p:txBody>
              <a:bodyPr/>
              <a:lstStyle/>
              <a:p>
                <a:endParaRPr lang="en-US"/>
              </a:p>
            </p:txBody>
          </p:sp>
          <p:sp>
            <p:nvSpPr>
              <p:cNvPr id="169" name="Freeform: Shape 168">
                <a:extLst>
                  <a:ext uri="{FF2B5EF4-FFF2-40B4-BE49-F238E27FC236}">
                    <a16:creationId xmlns:a16="http://schemas.microsoft.com/office/drawing/2014/main" id="{613235ED-0127-ED9B-5504-A1A7BB5DC60A}"/>
                  </a:ext>
                </a:extLst>
              </p:cNvPr>
              <p:cNvSpPr/>
              <p:nvPr/>
            </p:nvSpPr>
            <p:spPr>
              <a:xfrm>
                <a:off x="3657600" y="3286048"/>
                <a:ext cx="270167" cy="285892"/>
              </a:xfrm>
              <a:custGeom>
                <a:avLst/>
                <a:gdLst>
                  <a:gd name="csX0" fmla="*/ 270167 w 270167"/>
                  <a:gd name="csY0" fmla="*/ 0 h 285892"/>
                  <a:gd name="csX1" fmla="*/ 0 w 270167"/>
                  <a:gd name="csY1" fmla="*/ 0 h 285892"/>
                  <a:gd name="csX2" fmla="*/ 0 w 270167"/>
                  <a:gd name="csY2" fmla="*/ 285893 h 285892"/>
                  <a:gd name="csX3" fmla="*/ 270167 w 270167"/>
                  <a:gd name="csY3" fmla="*/ 285893 h 285892"/>
                  <a:gd name="csX4" fmla="*/ 265595 w 270167"/>
                  <a:gd name="csY4" fmla="*/ 142942 h 285892"/>
                  <a:gd name="csX5" fmla="*/ 270167 w 270167"/>
                  <a:gd name="csY5" fmla="*/ 0 h 285892"/>
                </a:gdLst>
                <a:ahLst/>
                <a:cxnLst>
                  <a:cxn ang="0">
                    <a:pos x="csX0" y="csY0"/>
                  </a:cxn>
                  <a:cxn ang="0">
                    <a:pos x="csX1" y="csY1"/>
                  </a:cxn>
                  <a:cxn ang="0">
                    <a:pos x="csX2" y="csY2"/>
                  </a:cxn>
                  <a:cxn ang="0">
                    <a:pos x="csX3" y="csY3"/>
                  </a:cxn>
                  <a:cxn ang="0">
                    <a:pos x="csX4" y="csY4"/>
                  </a:cxn>
                  <a:cxn ang="0">
                    <a:pos x="csX5" y="csY5"/>
                  </a:cxn>
                </a:cxnLst>
                <a:rect l="l" t="t" r="r" b="b"/>
                <a:pathLst>
                  <a:path w="270167" h="285892">
                    <a:moveTo>
                      <a:pt x="270167" y="0"/>
                    </a:moveTo>
                    <a:lnTo>
                      <a:pt x="0" y="0"/>
                    </a:lnTo>
                    <a:lnTo>
                      <a:pt x="0" y="285893"/>
                    </a:lnTo>
                    <a:lnTo>
                      <a:pt x="270167" y="285893"/>
                    </a:lnTo>
                    <a:cubicBezTo>
                      <a:pt x="267119" y="238525"/>
                      <a:pt x="265595" y="190881"/>
                      <a:pt x="265595" y="142942"/>
                    </a:cubicBezTo>
                    <a:cubicBezTo>
                      <a:pt x="265595" y="95012"/>
                      <a:pt x="267119" y="47368"/>
                      <a:pt x="270167" y="0"/>
                    </a:cubicBezTo>
                    <a:close/>
                  </a:path>
                </a:pathLst>
              </a:custGeom>
              <a:grpFill/>
              <a:ln w="9525" cap="flat">
                <a:noFill/>
                <a:prstDash val="solid"/>
                <a:miter/>
              </a:ln>
            </p:spPr>
            <p:txBody>
              <a:bodyPr/>
              <a:lstStyle/>
              <a:p>
                <a:endParaRPr lang="en-US"/>
              </a:p>
            </p:txBody>
          </p:sp>
        </p:grpSp>
      </p:grpSp>
      <p:grpSp>
        <p:nvGrpSpPr>
          <p:cNvPr id="174" name="Group 173">
            <a:extLst>
              <a:ext uri="{FF2B5EF4-FFF2-40B4-BE49-F238E27FC236}">
                <a16:creationId xmlns:a16="http://schemas.microsoft.com/office/drawing/2014/main" id="{04F631F6-460D-EBA1-D221-82D3CA6E326D}"/>
              </a:ext>
            </a:extLst>
          </p:cNvPr>
          <p:cNvGrpSpPr/>
          <p:nvPr/>
        </p:nvGrpSpPr>
        <p:grpSpPr>
          <a:xfrm>
            <a:off x="6250778" y="4956895"/>
            <a:ext cx="354334" cy="354334"/>
            <a:chOff x="6250778" y="4956895"/>
            <a:chExt cx="354334" cy="354334"/>
          </a:xfrm>
        </p:grpSpPr>
        <p:sp>
          <p:nvSpPr>
            <p:cNvPr id="134" name="Oval 133">
              <a:extLst>
                <a:ext uri="{FF2B5EF4-FFF2-40B4-BE49-F238E27FC236}">
                  <a16:creationId xmlns:a16="http://schemas.microsoft.com/office/drawing/2014/main" id="{42DD9592-3D0B-740E-0241-9C8BD1C29307}"/>
                </a:ext>
              </a:extLst>
            </p:cNvPr>
            <p:cNvSpPr/>
            <p:nvPr/>
          </p:nvSpPr>
          <p:spPr>
            <a:xfrm>
              <a:off x="6250778" y="495689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Graphic 171">
              <a:extLst>
                <a:ext uri="{FF2B5EF4-FFF2-40B4-BE49-F238E27FC236}">
                  <a16:creationId xmlns:a16="http://schemas.microsoft.com/office/drawing/2014/main" id="{CB9951EA-1DC3-F784-8594-829A12A155FB}"/>
                </a:ext>
              </a:extLst>
            </p:cNvPr>
            <p:cNvSpPr/>
            <p:nvPr/>
          </p:nvSpPr>
          <p:spPr>
            <a:xfrm>
              <a:off x="6324347" y="5047022"/>
              <a:ext cx="207197" cy="174081"/>
            </a:xfrm>
            <a:custGeom>
              <a:avLst/>
              <a:gdLst>
                <a:gd name="csX0" fmla="*/ 4861210 w 4861284"/>
                <a:gd name="csY0" fmla="*/ 338104 h 4084326"/>
                <a:gd name="csX1" fmla="*/ 4861210 w 4861284"/>
                <a:gd name="csY1" fmla="*/ 439069 h 4084326"/>
                <a:gd name="csX2" fmla="*/ 4329715 w 4861284"/>
                <a:gd name="csY2" fmla="*/ 439069 h 4084326"/>
                <a:gd name="csX3" fmla="*/ 4452588 w 4861284"/>
                <a:gd name="csY3" fmla="*/ 53307 h 4084326"/>
                <a:gd name="csX4" fmla="*/ 4861210 w 4861284"/>
                <a:gd name="csY4" fmla="*/ 338104 h 4084326"/>
                <a:gd name="csX5" fmla="*/ 3662965 w 4861284"/>
                <a:gd name="csY5" fmla="*/ 3644232 h 4084326"/>
                <a:gd name="csX6" fmla="*/ 1517935 w 4861284"/>
                <a:gd name="csY6" fmla="*/ 3644232 h 4084326"/>
                <a:gd name="csX7" fmla="*/ 1517935 w 4861284"/>
                <a:gd name="csY7" fmla="*/ 4084287 h 4084326"/>
                <a:gd name="csX8" fmla="*/ 3745833 w 4861284"/>
                <a:gd name="csY8" fmla="*/ 4084287 h 4084326"/>
                <a:gd name="csX9" fmla="*/ 3668680 w 4861284"/>
                <a:gd name="csY9" fmla="*/ 3922362 h 4084326"/>
                <a:gd name="csX10" fmla="*/ 3662965 w 4861284"/>
                <a:gd name="csY10" fmla="*/ 3644232 h 4084326"/>
                <a:gd name="csX11" fmla="*/ 4216368 w 4861284"/>
                <a:gd name="csY11" fmla="*/ 496219 h 4084326"/>
                <a:gd name="csX12" fmla="*/ 4216368 w 4861284"/>
                <a:gd name="csY12" fmla="*/ 3870927 h 4084326"/>
                <a:gd name="csX13" fmla="*/ 4205890 w 4861284"/>
                <a:gd name="csY13" fmla="*/ 3929982 h 4084326"/>
                <a:gd name="csX14" fmla="*/ 3995387 w 4861284"/>
                <a:gd name="csY14" fmla="*/ 4084287 h 4084326"/>
                <a:gd name="csX15" fmla="*/ 3775360 w 4861284"/>
                <a:gd name="csY15" fmla="*/ 3864259 h 4084326"/>
                <a:gd name="csX16" fmla="*/ 3775360 w 4861284"/>
                <a:gd name="csY16" fmla="*/ 3588034 h 4084326"/>
                <a:gd name="csX17" fmla="*/ 3719162 w 4861284"/>
                <a:gd name="csY17" fmla="*/ 3531837 h 4084326"/>
                <a:gd name="csX18" fmla="*/ 1517935 w 4861284"/>
                <a:gd name="csY18" fmla="*/ 3531837 h 4084326"/>
                <a:gd name="csX19" fmla="*/ 1563655 w 4861284"/>
                <a:gd name="csY19" fmla="*/ 3345147 h 4084326"/>
                <a:gd name="csX20" fmla="*/ 1855120 w 4861284"/>
                <a:gd name="csY20" fmla="*/ 2536474 h 4084326"/>
                <a:gd name="csX21" fmla="*/ 1855120 w 4861284"/>
                <a:gd name="csY21" fmla="*/ 1778284 h 4084326"/>
                <a:gd name="csX22" fmla="*/ 1451260 w 4861284"/>
                <a:gd name="csY22" fmla="*/ 1583022 h 4084326"/>
                <a:gd name="csX23" fmla="*/ 1258855 w 4861284"/>
                <a:gd name="csY23" fmla="*/ 1427764 h 4084326"/>
                <a:gd name="csX24" fmla="*/ 1258855 w 4861284"/>
                <a:gd name="csY24" fmla="*/ 338104 h 4084326"/>
                <a:gd name="csX25" fmla="*/ 1596992 w 4861284"/>
                <a:gd name="csY25" fmla="*/ 919 h 4084326"/>
                <a:gd name="csX26" fmla="*/ 4342098 w 4861284"/>
                <a:gd name="csY26" fmla="*/ 919 h 4084326"/>
                <a:gd name="csX27" fmla="*/ 4216368 w 4861284"/>
                <a:gd name="csY27" fmla="*/ 496219 h 4084326"/>
                <a:gd name="csX28" fmla="*/ 2728562 w 4861284"/>
                <a:gd name="csY28" fmla="*/ 340962 h 4084326"/>
                <a:gd name="csX29" fmla="*/ 2045620 w 4861284"/>
                <a:gd name="csY29" fmla="*/ 1587784 h 4084326"/>
                <a:gd name="csX30" fmla="*/ 3413410 w 4861284"/>
                <a:gd name="csY30" fmla="*/ 1584927 h 4084326"/>
                <a:gd name="csX31" fmla="*/ 3413410 w 4861284"/>
                <a:gd name="csY31" fmla="*/ 1583974 h 4084326"/>
                <a:gd name="csX32" fmla="*/ 2728562 w 4861284"/>
                <a:gd name="csY32" fmla="*/ 340962 h 4084326"/>
                <a:gd name="csX33" fmla="*/ 1741772 w 4861284"/>
                <a:gd name="csY33" fmla="*/ 2180240 h 4084326"/>
                <a:gd name="csX34" fmla="*/ 1741772 w 4861284"/>
                <a:gd name="csY34" fmla="*/ 1778284 h 4084326"/>
                <a:gd name="csX35" fmla="*/ 1468405 w 4861284"/>
                <a:gd name="csY35" fmla="*/ 1777332 h 4084326"/>
                <a:gd name="csX36" fmla="*/ 1468405 w 4861284"/>
                <a:gd name="csY36" fmla="*/ 2180240 h 4084326"/>
                <a:gd name="csX37" fmla="*/ 1741772 w 4861284"/>
                <a:gd name="csY37" fmla="*/ 2180240 h 4084326"/>
                <a:gd name="csX38" fmla="*/ 1355057 w 4861284"/>
                <a:gd name="csY38" fmla="*/ 2179287 h 4084326"/>
                <a:gd name="csX39" fmla="*/ 1355057 w 4861284"/>
                <a:gd name="csY39" fmla="*/ 1673509 h 4084326"/>
                <a:gd name="csX40" fmla="*/ 1217897 w 4861284"/>
                <a:gd name="csY40" fmla="*/ 1537302 h 4084326"/>
                <a:gd name="csX41" fmla="*/ 1216945 w 4861284"/>
                <a:gd name="csY41" fmla="*/ 1537302 h 4084326"/>
                <a:gd name="csX42" fmla="*/ 1081690 w 4861284"/>
                <a:gd name="csY42" fmla="*/ 1672557 h 4084326"/>
                <a:gd name="csX43" fmla="*/ 1081690 w 4861284"/>
                <a:gd name="csY43" fmla="*/ 2181192 h 4084326"/>
                <a:gd name="csX44" fmla="*/ 1083595 w 4861284"/>
                <a:gd name="csY44" fmla="*/ 2207862 h 4084326"/>
                <a:gd name="csX45" fmla="*/ 1355057 w 4861284"/>
                <a:gd name="csY45" fmla="*/ 2179287 h 4084326"/>
                <a:gd name="csX46" fmla="*/ 582580 w 4861284"/>
                <a:gd name="csY46" fmla="*/ 1923064 h 4084326"/>
                <a:gd name="csX47" fmla="*/ 582580 w 4861284"/>
                <a:gd name="csY47" fmla="*/ 1550637 h 4084326"/>
                <a:gd name="csX48" fmla="*/ 309212 w 4861284"/>
                <a:gd name="csY48" fmla="*/ 1550637 h 4084326"/>
                <a:gd name="csX49" fmla="*/ 309212 w 4861284"/>
                <a:gd name="csY49" fmla="*/ 1961164 h 4084326"/>
                <a:gd name="csX50" fmla="*/ 582580 w 4861284"/>
                <a:gd name="csY50" fmla="*/ 1923064 h 4084326"/>
                <a:gd name="csX51" fmla="*/ 715930 w 4861284"/>
                <a:gd name="csY51" fmla="*/ 2250724 h 4084326"/>
                <a:gd name="csX52" fmla="*/ 969295 w 4861284"/>
                <a:gd name="csY52" fmla="*/ 2179287 h 4084326"/>
                <a:gd name="csX53" fmla="*/ 969295 w 4861284"/>
                <a:gd name="csY53" fmla="*/ 1572544 h 4084326"/>
                <a:gd name="csX54" fmla="*/ 695927 w 4861284"/>
                <a:gd name="csY54" fmla="*/ 1572544 h 4084326"/>
                <a:gd name="csX55" fmla="*/ 695927 w 4861284"/>
                <a:gd name="csY55" fmla="*/ 2032602 h 4084326"/>
                <a:gd name="csX56" fmla="*/ 727360 w 4861284"/>
                <a:gd name="csY56" fmla="*/ 2135472 h 4084326"/>
                <a:gd name="csX57" fmla="*/ 715930 w 4861284"/>
                <a:gd name="csY57" fmla="*/ 2250724 h 4084326"/>
                <a:gd name="csX58" fmla="*/ 1741772 w 4861284"/>
                <a:gd name="csY58" fmla="*/ 2388837 h 4084326"/>
                <a:gd name="csX59" fmla="*/ 1412207 w 4861284"/>
                <a:gd name="csY59" fmla="*/ 2338355 h 4084326"/>
                <a:gd name="csX60" fmla="*/ 1026445 w 4861284"/>
                <a:gd name="csY60" fmla="*/ 2337402 h 4084326"/>
                <a:gd name="csX61" fmla="*/ 724502 w 4861284"/>
                <a:gd name="csY61" fmla="*/ 2404077 h 4084326"/>
                <a:gd name="csX62" fmla="*/ 694022 w 4861284"/>
                <a:gd name="csY62" fmla="*/ 2386932 h 4084326"/>
                <a:gd name="csX63" fmla="*/ 693070 w 4861284"/>
                <a:gd name="csY63" fmla="*/ 2386932 h 4084326"/>
                <a:gd name="csX64" fmla="*/ 654017 w 4861284"/>
                <a:gd name="csY64" fmla="*/ 2352642 h 4084326"/>
                <a:gd name="csX65" fmla="*/ 650207 w 4861284"/>
                <a:gd name="csY65" fmla="*/ 2357405 h 4084326"/>
                <a:gd name="csX66" fmla="*/ 520667 w 4861284"/>
                <a:gd name="csY66" fmla="*/ 2486945 h 4084326"/>
                <a:gd name="csX67" fmla="*/ 885475 w 4861284"/>
                <a:gd name="csY67" fmla="*/ 2840322 h 4084326"/>
                <a:gd name="csX68" fmla="*/ 833087 w 4861284"/>
                <a:gd name="csY68" fmla="*/ 2917474 h 4084326"/>
                <a:gd name="csX69" fmla="*/ 780700 w 4861284"/>
                <a:gd name="csY69" fmla="*/ 2880327 h 4084326"/>
                <a:gd name="csX70" fmla="*/ 401605 w 4861284"/>
                <a:gd name="csY70" fmla="*/ 2573622 h 4084326"/>
                <a:gd name="csX71" fmla="*/ 369220 w 4861284"/>
                <a:gd name="csY71" fmla="*/ 2478372 h 4084326"/>
                <a:gd name="csX72" fmla="*/ 601630 w 4861284"/>
                <a:gd name="csY72" fmla="*/ 2230722 h 4084326"/>
                <a:gd name="csX73" fmla="*/ 571150 w 4861284"/>
                <a:gd name="csY73" fmla="*/ 2053557 h 4084326"/>
                <a:gd name="csX74" fmla="*/ 570197 w 4861284"/>
                <a:gd name="csY74" fmla="*/ 2052605 h 4084326"/>
                <a:gd name="csX75" fmla="*/ 378745 w 4861284"/>
                <a:gd name="csY75" fmla="*/ 2051652 h 4084326"/>
                <a:gd name="csX76" fmla="*/ 292067 w 4861284"/>
                <a:gd name="csY76" fmla="*/ 2137377 h 4084326"/>
                <a:gd name="csX77" fmla="*/ 66325 w 4861284"/>
                <a:gd name="csY77" fmla="*/ 2364072 h 4084326"/>
                <a:gd name="csX78" fmla="*/ 16795 w 4861284"/>
                <a:gd name="csY78" fmla="*/ 2610770 h 4084326"/>
                <a:gd name="csX79" fmla="*/ 409225 w 4861284"/>
                <a:gd name="csY79" fmla="*/ 3254659 h 4084326"/>
                <a:gd name="csX80" fmla="*/ 502570 w 4861284"/>
                <a:gd name="csY80" fmla="*/ 3484212 h 4084326"/>
                <a:gd name="csX81" fmla="*/ 502570 w 4861284"/>
                <a:gd name="csY81" fmla="*/ 4084287 h 4084326"/>
                <a:gd name="csX82" fmla="*/ 1404587 w 4861284"/>
                <a:gd name="csY82" fmla="*/ 4084287 h 4084326"/>
                <a:gd name="csX83" fmla="*/ 1404587 w 4861284"/>
                <a:gd name="csY83" fmla="*/ 3476592 h 4084326"/>
                <a:gd name="csX84" fmla="*/ 1476025 w 4861284"/>
                <a:gd name="csY84" fmla="*/ 3271805 h 4084326"/>
                <a:gd name="csX85" fmla="*/ 1741772 w 4861284"/>
                <a:gd name="csY85" fmla="*/ 2388837 h 4084326"/>
                <a:gd name="csX86" fmla="*/ 2477102 w 4861284"/>
                <a:gd name="csY86" fmla="*/ 500982 h 4084326"/>
                <a:gd name="csX87" fmla="*/ 2210402 w 4861284"/>
                <a:gd name="csY87" fmla="*/ 684814 h 4084326"/>
                <a:gd name="csX88" fmla="*/ 2385663 w 4861284"/>
                <a:gd name="csY88" fmla="*/ 684814 h 4084326"/>
                <a:gd name="csX89" fmla="*/ 2477102 w 4861284"/>
                <a:gd name="csY89" fmla="*/ 500982 h 4084326"/>
                <a:gd name="csX90" fmla="*/ 2353277 w 4861284"/>
                <a:gd name="csY90" fmla="*/ 798162 h 4084326"/>
                <a:gd name="csX91" fmla="*/ 2128488 w 4861284"/>
                <a:gd name="csY91" fmla="*/ 798162 h 4084326"/>
                <a:gd name="csX92" fmla="*/ 2034190 w 4861284"/>
                <a:gd name="csY92" fmla="*/ 1095342 h 4084326"/>
                <a:gd name="csX93" fmla="*/ 2314225 w 4861284"/>
                <a:gd name="csY93" fmla="*/ 1095342 h 4084326"/>
                <a:gd name="csX94" fmla="*/ 2353277 w 4861284"/>
                <a:gd name="csY94" fmla="*/ 798162 h 4084326"/>
                <a:gd name="csX95" fmla="*/ 2313272 w 4861284"/>
                <a:gd name="csY95" fmla="*/ 1207737 h 4084326"/>
                <a:gd name="csX96" fmla="*/ 2033237 w 4861284"/>
                <a:gd name="csY96" fmla="*/ 1207737 h 4084326"/>
                <a:gd name="csX97" fmla="*/ 2127535 w 4861284"/>
                <a:gd name="csY97" fmla="*/ 1504917 h 4084326"/>
                <a:gd name="csX98" fmla="*/ 2352325 w 4861284"/>
                <a:gd name="csY98" fmla="*/ 1504917 h 4084326"/>
                <a:gd name="csX99" fmla="*/ 2313272 w 4861284"/>
                <a:gd name="csY99" fmla="*/ 1207737 h 4084326"/>
                <a:gd name="csX100" fmla="*/ 2211355 w 4861284"/>
                <a:gd name="csY100" fmla="*/ 1618264 h 4084326"/>
                <a:gd name="csX101" fmla="*/ 2478055 w 4861284"/>
                <a:gd name="csY101" fmla="*/ 1802097 h 4084326"/>
                <a:gd name="csX102" fmla="*/ 2386615 w 4861284"/>
                <a:gd name="csY102" fmla="*/ 1618264 h 4084326"/>
                <a:gd name="csX103" fmla="*/ 2949542 w 4861284"/>
                <a:gd name="csY103" fmla="*/ 1618264 h 4084326"/>
                <a:gd name="csX104" fmla="*/ 2507583 w 4861284"/>
                <a:gd name="csY104" fmla="*/ 1618264 h 4084326"/>
                <a:gd name="csX105" fmla="*/ 2949542 w 4861284"/>
                <a:gd name="csY105" fmla="*/ 1618264 h 4084326"/>
                <a:gd name="csX106" fmla="*/ 2469483 w 4861284"/>
                <a:gd name="csY106" fmla="*/ 1504917 h 4084326"/>
                <a:gd name="csX107" fmla="*/ 2987642 w 4861284"/>
                <a:gd name="csY107" fmla="*/ 1504917 h 4084326"/>
                <a:gd name="csX108" fmla="*/ 3030505 w 4861284"/>
                <a:gd name="csY108" fmla="*/ 1207737 h 4084326"/>
                <a:gd name="csX109" fmla="*/ 2426620 w 4861284"/>
                <a:gd name="csY109" fmla="*/ 1207737 h 4084326"/>
                <a:gd name="csX110" fmla="*/ 2469483 w 4861284"/>
                <a:gd name="csY110" fmla="*/ 1504917 h 4084326"/>
                <a:gd name="csX111" fmla="*/ 2979070 w 4861284"/>
                <a:gd name="csY111" fmla="*/ 1802097 h 4084326"/>
                <a:gd name="csX112" fmla="*/ 3245770 w 4861284"/>
                <a:gd name="csY112" fmla="*/ 1618264 h 4084326"/>
                <a:gd name="csX113" fmla="*/ 3070510 w 4861284"/>
                <a:gd name="csY113" fmla="*/ 1618264 h 4084326"/>
                <a:gd name="csX114" fmla="*/ 2979070 w 4861284"/>
                <a:gd name="csY114" fmla="*/ 1802097 h 4084326"/>
                <a:gd name="csX115" fmla="*/ 3103848 w 4861284"/>
                <a:gd name="csY115" fmla="*/ 1504917 h 4084326"/>
                <a:gd name="csX116" fmla="*/ 3328637 w 4861284"/>
                <a:gd name="csY116" fmla="*/ 1504917 h 4084326"/>
                <a:gd name="csX117" fmla="*/ 3422935 w 4861284"/>
                <a:gd name="csY117" fmla="*/ 1207737 h 4084326"/>
                <a:gd name="csX118" fmla="*/ 3142900 w 4861284"/>
                <a:gd name="csY118" fmla="*/ 1207737 h 4084326"/>
                <a:gd name="csX119" fmla="*/ 3103848 w 4861284"/>
                <a:gd name="csY119" fmla="*/ 1504917 h 4084326"/>
                <a:gd name="csX120" fmla="*/ 3142900 w 4861284"/>
                <a:gd name="csY120" fmla="*/ 1094389 h 4084326"/>
                <a:gd name="csX121" fmla="*/ 3422935 w 4861284"/>
                <a:gd name="csY121" fmla="*/ 1094389 h 4084326"/>
                <a:gd name="csX122" fmla="*/ 3328637 w 4861284"/>
                <a:gd name="csY122" fmla="*/ 797209 h 4084326"/>
                <a:gd name="csX123" fmla="*/ 3103848 w 4861284"/>
                <a:gd name="csY123" fmla="*/ 797209 h 4084326"/>
                <a:gd name="csX124" fmla="*/ 3142900 w 4861284"/>
                <a:gd name="csY124" fmla="*/ 1094389 h 4084326"/>
                <a:gd name="csX125" fmla="*/ 3245770 w 4861284"/>
                <a:gd name="csY125" fmla="*/ 684814 h 4084326"/>
                <a:gd name="csX126" fmla="*/ 2979070 w 4861284"/>
                <a:gd name="csY126" fmla="*/ 500982 h 4084326"/>
                <a:gd name="csX127" fmla="*/ 3070510 w 4861284"/>
                <a:gd name="csY127" fmla="*/ 684814 h 4084326"/>
                <a:gd name="csX128" fmla="*/ 2507583 w 4861284"/>
                <a:gd name="csY128" fmla="*/ 684814 h 4084326"/>
                <a:gd name="csX129" fmla="*/ 2949542 w 4861284"/>
                <a:gd name="csY129" fmla="*/ 684814 h 4084326"/>
                <a:gd name="csX130" fmla="*/ 2507583 w 4861284"/>
                <a:gd name="csY130" fmla="*/ 684814 h 4084326"/>
                <a:gd name="csX131" fmla="*/ 2987642 w 4861284"/>
                <a:gd name="csY131" fmla="*/ 798162 h 4084326"/>
                <a:gd name="csX132" fmla="*/ 2469483 w 4861284"/>
                <a:gd name="csY132" fmla="*/ 798162 h 4084326"/>
                <a:gd name="csX133" fmla="*/ 2426620 w 4861284"/>
                <a:gd name="csY133" fmla="*/ 1095342 h 4084326"/>
                <a:gd name="csX134" fmla="*/ 3030505 w 4861284"/>
                <a:gd name="csY134" fmla="*/ 1095342 h 4084326"/>
                <a:gd name="csX135" fmla="*/ 2987642 w 4861284"/>
                <a:gd name="csY135" fmla="*/ 798162 h 408432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Lst>
              <a:rect l="l" t="t" r="r" b="b"/>
              <a:pathLst>
                <a:path w="4861284" h="4084326">
                  <a:moveTo>
                    <a:pt x="4861210" y="338104"/>
                  </a:moveTo>
                  <a:lnTo>
                    <a:pt x="4861210" y="439069"/>
                  </a:lnTo>
                  <a:lnTo>
                    <a:pt x="4329715" y="439069"/>
                  </a:lnTo>
                  <a:cubicBezTo>
                    <a:pt x="4322095" y="301909"/>
                    <a:pt x="4339240" y="142842"/>
                    <a:pt x="4452588" y="53307"/>
                  </a:cubicBezTo>
                  <a:cubicBezTo>
                    <a:pt x="4642135" y="-98141"/>
                    <a:pt x="4865973" y="97122"/>
                    <a:pt x="4861210" y="338104"/>
                  </a:cubicBezTo>
                  <a:close/>
                  <a:moveTo>
                    <a:pt x="3662965" y="3644232"/>
                  </a:moveTo>
                  <a:lnTo>
                    <a:pt x="1517935" y="3644232"/>
                  </a:lnTo>
                  <a:lnTo>
                    <a:pt x="1517935" y="4084287"/>
                  </a:lnTo>
                  <a:lnTo>
                    <a:pt x="3745833" y="4084287"/>
                  </a:lnTo>
                  <a:cubicBezTo>
                    <a:pt x="3707733" y="4037615"/>
                    <a:pt x="3677252" y="3982370"/>
                    <a:pt x="3668680" y="3922362"/>
                  </a:cubicBezTo>
                  <a:cubicBezTo>
                    <a:pt x="3658202" y="3881405"/>
                    <a:pt x="3664870" y="3688999"/>
                    <a:pt x="3662965" y="3644232"/>
                  </a:cubicBezTo>
                  <a:close/>
                  <a:moveTo>
                    <a:pt x="4216368" y="496219"/>
                  </a:moveTo>
                  <a:lnTo>
                    <a:pt x="4216368" y="3870927"/>
                  </a:lnTo>
                  <a:cubicBezTo>
                    <a:pt x="4215415" y="3892834"/>
                    <a:pt x="4212558" y="3909027"/>
                    <a:pt x="4205890" y="3929982"/>
                  </a:cubicBezTo>
                  <a:cubicBezTo>
                    <a:pt x="4178267" y="4019517"/>
                    <a:pt x="4090637" y="4086192"/>
                    <a:pt x="3995387" y="4084287"/>
                  </a:cubicBezTo>
                  <a:cubicBezTo>
                    <a:pt x="3874420" y="4084287"/>
                    <a:pt x="3775360" y="3985227"/>
                    <a:pt x="3775360" y="3864259"/>
                  </a:cubicBezTo>
                  <a:lnTo>
                    <a:pt x="3775360" y="3588034"/>
                  </a:lnTo>
                  <a:cubicBezTo>
                    <a:pt x="3775360" y="3556602"/>
                    <a:pt x="3749642" y="3531837"/>
                    <a:pt x="3719162" y="3531837"/>
                  </a:cubicBezTo>
                  <a:lnTo>
                    <a:pt x="1517935" y="3531837"/>
                  </a:lnTo>
                  <a:cubicBezTo>
                    <a:pt x="1515077" y="3468020"/>
                    <a:pt x="1519840" y="3391820"/>
                    <a:pt x="1563655" y="3345147"/>
                  </a:cubicBezTo>
                  <a:cubicBezTo>
                    <a:pt x="1751297" y="3118452"/>
                    <a:pt x="1855120" y="2831749"/>
                    <a:pt x="1855120" y="2536474"/>
                  </a:cubicBezTo>
                  <a:lnTo>
                    <a:pt x="1855120" y="1778284"/>
                  </a:lnTo>
                  <a:cubicBezTo>
                    <a:pt x="1857977" y="1572544"/>
                    <a:pt x="1610327" y="1453482"/>
                    <a:pt x="1451260" y="1583022"/>
                  </a:cubicBezTo>
                  <a:cubicBezTo>
                    <a:pt x="1419827" y="1502059"/>
                    <a:pt x="1343627" y="1443957"/>
                    <a:pt x="1258855" y="1427764"/>
                  </a:cubicBezTo>
                  <a:lnTo>
                    <a:pt x="1258855" y="338104"/>
                  </a:lnTo>
                  <a:cubicBezTo>
                    <a:pt x="1258855" y="152367"/>
                    <a:pt x="1411255" y="919"/>
                    <a:pt x="1596992" y="919"/>
                  </a:cubicBezTo>
                  <a:lnTo>
                    <a:pt x="4342098" y="919"/>
                  </a:lnTo>
                  <a:cubicBezTo>
                    <a:pt x="4214463" y="129507"/>
                    <a:pt x="4207795" y="323817"/>
                    <a:pt x="4216368" y="496219"/>
                  </a:cubicBezTo>
                  <a:close/>
                  <a:moveTo>
                    <a:pt x="2728562" y="340962"/>
                  </a:moveTo>
                  <a:cubicBezTo>
                    <a:pt x="2091340" y="336199"/>
                    <a:pt x="1701767" y="1064862"/>
                    <a:pt x="2045620" y="1587784"/>
                  </a:cubicBezTo>
                  <a:cubicBezTo>
                    <a:pt x="2356135" y="2085942"/>
                    <a:pt x="3104800" y="2084037"/>
                    <a:pt x="3413410" y="1584927"/>
                  </a:cubicBezTo>
                  <a:cubicBezTo>
                    <a:pt x="3413410" y="1584927"/>
                    <a:pt x="3413410" y="1584927"/>
                    <a:pt x="3413410" y="1583974"/>
                  </a:cubicBezTo>
                  <a:cubicBezTo>
                    <a:pt x="3754405" y="1062005"/>
                    <a:pt x="3362927" y="335247"/>
                    <a:pt x="2728562" y="340962"/>
                  </a:cubicBezTo>
                  <a:close/>
                  <a:moveTo>
                    <a:pt x="1741772" y="2180240"/>
                  </a:moveTo>
                  <a:lnTo>
                    <a:pt x="1741772" y="1778284"/>
                  </a:lnTo>
                  <a:cubicBezTo>
                    <a:pt x="1737010" y="1597309"/>
                    <a:pt x="1475072" y="1598262"/>
                    <a:pt x="1468405" y="1777332"/>
                  </a:cubicBezTo>
                  <a:lnTo>
                    <a:pt x="1468405" y="2180240"/>
                  </a:lnTo>
                  <a:cubicBezTo>
                    <a:pt x="1472215" y="2359309"/>
                    <a:pt x="1737010" y="2361215"/>
                    <a:pt x="1741772" y="2180240"/>
                  </a:cubicBezTo>
                  <a:close/>
                  <a:moveTo>
                    <a:pt x="1355057" y="2179287"/>
                  </a:moveTo>
                  <a:lnTo>
                    <a:pt x="1355057" y="1673509"/>
                  </a:lnTo>
                  <a:cubicBezTo>
                    <a:pt x="1356962" y="1601119"/>
                    <a:pt x="1291240" y="1535397"/>
                    <a:pt x="1217897" y="1537302"/>
                  </a:cubicBezTo>
                  <a:cubicBezTo>
                    <a:pt x="1217897" y="1537302"/>
                    <a:pt x="1216945" y="1536349"/>
                    <a:pt x="1216945" y="1537302"/>
                  </a:cubicBezTo>
                  <a:cubicBezTo>
                    <a:pt x="1142650" y="1538255"/>
                    <a:pt x="1082642" y="1598262"/>
                    <a:pt x="1081690" y="1672557"/>
                  </a:cubicBezTo>
                  <a:lnTo>
                    <a:pt x="1081690" y="2181192"/>
                  </a:lnTo>
                  <a:cubicBezTo>
                    <a:pt x="1081690" y="2189765"/>
                    <a:pt x="1082642" y="2199290"/>
                    <a:pt x="1083595" y="2207862"/>
                  </a:cubicBezTo>
                  <a:cubicBezTo>
                    <a:pt x="1121695" y="2365977"/>
                    <a:pt x="1352200" y="2343117"/>
                    <a:pt x="1355057" y="2179287"/>
                  </a:cubicBezTo>
                  <a:close/>
                  <a:moveTo>
                    <a:pt x="582580" y="1923064"/>
                  </a:moveTo>
                  <a:lnTo>
                    <a:pt x="582580" y="1550637"/>
                  </a:lnTo>
                  <a:cubicBezTo>
                    <a:pt x="577817" y="1370614"/>
                    <a:pt x="313975" y="1370614"/>
                    <a:pt x="309212" y="1550637"/>
                  </a:cubicBezTo>
                  <a:lnTo>
                    <a:pt x="309212" y="1961164"/>
                  </a:lnTo>
                  <a:cubicBezTo>
                    <a:pt x="382555" y="1895442"/>
                    <a:pt x="493045" y="1881155"/>
                    <a:pt x="582580" y="1923064"/>
                  </a:cubicBezTo>
                  <a:close/>
                  <a:moveTo>
                    <a:pt x="715930" y="2250724"/>
                  </a:moveTo>
                  <a:cubicBezTo>
                    <a:pt x="788320" y="2367882"/>
                    <a:pt x="968342" y="2317399"/>
                    <a:pt x="969295" y="2179287"/>
                  </a:cubicBezTo>
                  <a:cubicBezTo>
                    <a:pt x="969295" y="2108802"/>
                    <a:pt x="969295" y="1631599"/>
                    <a:pt x="969295" y="1572544"/>
                  </a:cubicBezTo>
                  <a:cubicBezTo>
                    <a:pt x="964532" y="1391569"/>
                    <a:pt x="699737" y="1392522"/>
                    <a:pt x="695927" y="1572544"/>
                  </a:cubicBezTo>
                  <a:lnTo>
                    <a:pt x="695927" y="2032602"/>
                  </a:lnTo>
                  <a:cubicBezTo>
                    <a:pt x="713072" y="2064034"/>
                    <a:pt x="724502" y="2099277"/>
                    <a:pt x="727360" y="2135472"/>
                  </a:cubicBezTo>
                  <a:cubicBezTo>
                    <a:pt x="733075" y="2173572"/>
                    <a:pt x="726407" y="2213577"/>
                    <a:pt x="715930" y="2250724"/>
                  </a:cubicBezTo>
                  <a:close/>
                  <a:moveTo>
                    <a:pt x="1741772" y="2388837"/>
                  </a:moveTo>
                  <a:cubicBezTo>
                    <a:pt x="1638902" y="2458370"/>
                    <a:pt x="1489360" y="2435509"/>
                    <a:pt x="1412207" y="2338355"/>
                  </a:cubicBezTo>
                  <a:cubicBezTo>
                    <a:pt x="1317910" y="2458370"/>
                    <a:pt x="1120742" y="2458370"/>
                    <a:pt x="1026445" y="2337402"/>
                  </a:cubicBezTo>
                  <a:cubicBezTo>
                    <a:pt x="956912" y="2424080"/>
                    <a:pt x="822610" y="2456465"/>
                    <a:pt x="724502" y="2404077"/>
                  </a:cubicBezTo>
                  <a:cubicBezTo>
                    <a:pt x="714025" y="2399315"/>
                    <a:pt x="703547" y="2393599"/>
                    <a:pt x="694022" y="2386932"/>
                  </a:cubicBezTo>
                  <a:cubicBezTo>
                    <a:pt x="693070" y="2386932"/>
                    <a:pt x="693070" y="2386932"/>
                    <a:pt x="693070" y="2386932"/>
                  </a:cubicBezTo>
                  <a:cubicBezTo>
                    <a:pt x="678782" y="2376455"/>
                    <a:pt x="665447" y="2365977"/>
                    <a:pt x="654017" y="2352642"/>
                  </a:cubicBezTo>
                  <a:cubicBezTo>
                    <a:pt x="653065" y="2354547"/>
                    <a:pt x="652112" y="2356452"/>
                    <a:pt x="650207" y="2357405"/>
                  </a:cubicBezTo>
                  <a:lnTo>
                    <a:pt x="520667" y="2486945"/>
                  </a:lnTo>
                  <a:cubicBezTo>
                    <a:pt x="691165" y="2527902"/>
                    <a:pt x="859757" y="2737452"/>
                    <a:pt x="885475" y="2840322"/>
                  </a:cubicBezTo>
                  <a:cubicBezTo>
                    <a:pt x="900715" y="2876517"/>
                    <a:pt x="871187" y="2917474"/>
                    <a:pt x="833087" y="2917474"/>
                  </a:cubicBezTo>
                  <a:cubicBezTo>
                    <a:pt x="810227" y="2917474"/>
                    <a:pt x="789272" y="2903187"/>
                    <a:pt x="780700" y="2880327"/>
                  </a:cubicBezTo>
                  <a:cubicBezTo>
                    <a:pt x="747362" y="2761265"/>
                    <a:pt x="574007" y="2586957"/>
                    <a:pt x="401605" y="2573622"/>
                  </a:cubicBezTo>
                  <a:cubicBezTo>
                    <a:pt x="355885" y="2568859"/>
                    <a:pt x="336835" y="2508852"/>
                    <a:pt x="369220" y="2478372"/>
                  </a:cubicBezTo>
                  <a:cubicBezTo>
                    <a:pt x="394937" y="2446940"/>
                    <a:pt x="594010" y="2267870"/>
                    <a:pt x="601630" y="2230722"/>
                  </a:cubicBezTo>
                  <a:cubicBezTo>
                    <a:pt x="629252" y="2172620"/>
                    <a:pt x="616870" y="2099277"/>
                    <a:pt x="571150" y="2053557"/>
                  </a:cubicBezTo>
                  <a:cubicBezTo>
                    <a:pt x="571150" y="2053557"/>
                    <a:pt x="570197" y="2053557"/>
                    <a:pt x="570197" y="2052605"/>
                  </a:cubicBezTo>
                  <a:cubicBezTo>
                    <a:pt x="518762" y="2001169"/>
                    <a:pt x="430180" y="2000217"/>
                    <a:pt x="378745" y="2051652"/>
                  </a:cubicBezTo>
                  <a:cubicBezTo>
                    <a:pt x="357790" y="2072607"/>
                    <a:pt x="313022" y="2117374"/>
                    <a:pt x="292067" y="2137377"/>
                  </a:cubicBezTo>
                  <a:lnTo>
                    <a:pt x="66325" y="2364072"/>
                  </a:lnTo>
                  <a:cubicBezTo>
                    <a:pt x="1555" y="2428842"/>
                    <a:pt x="-17495" y="2525997"/>
                    <a:pt x="16795" y="2610770"/>
                  </a:cubicBezTo>
                  <a:cubicBezTo>
                    <a:pt x="105377" y="2848895"/>
                    <a:pt x="230155" y="3074637"/>
                    <a:pt x="409225" y="3254659"/>
                  </a:cubicBezTo>
                  <a:cubicBezTo>
                    <a:pt x="469232" y="3316572"/>
                    <a:pt x="502570" y="3397534"/>
                    <a:pt x="502570" y="3484212"/>
                  </a:cubicBezTo>
                  <a:lnTo>
                    <a:pt x="502570" y="4084287"/>
                  </a:lnTo>
                  <a:lnTo>
                    <a:pt x="1404587" y="4084287"/>
                  </a:lnTo>
                  <a:lnTo>
                    <a:pt x="1404587" y="3476592"/>
                  </a:lnTo>
                  <a:cubicBezTo>
                    <a:pt x="1404587" y="3399440"/>
                    <a:pt x="1430305" y="3326097"/>
                    <a:pt x="1476025" y="3271805"/>
                  </a:cubicBezTo>
                  <a:cubicBezTo>
                    <a:pt x="1685575" y="3027012"/>
                    <a:pt x="1759870" y="2705067"/>
                    <a:pt x="1741772" y="2388837"/>
                  </a:cubicBezTo>
                  <a:close/>
                  <a:moveTo>
                    <a:pt x="2477102" y="500982"/>
                  </a:moveTo>
                  <a:cubicBezTo>
                    <a:pt x="2374233" y="540987"/>
                    <a:pt x="2283745" y="604804"/>
                    <a:pt x="2210402" y="684814"/>
                  </a:cubicBezTo>
                  <a:lnTo>
                    <a:pt x="2385663" y="684814"/>
                  </a:lnTo>
                  <a:cubicBezTo>
                    <a:pt x="2411380" y="614329"/>
                    <a:pt x="2442812" y="552417"/>
                    <a:pt x="2477102" y="500982"/>
                  </a:cubicBezTo>
                  <a:close/>
                  <a:moveTo>
                    <a:pt x="2353277" y="798162"/>
                  </a:moveTo>
                  <a:lnTo>
                    <a:pt x="2128488" y="798162"/>
                  </a:lnTo>
                  <a:cubicBezTo>
                    <a:pt x="2076100" y="886744"/>
                    <a:pt x="2042762" y="987709"/>
                    <a:pt x="2034190" y="1095342"/>
                  </a:cubicBezTo>
                  <a:lnTo>
                    <a:pt x="2314225" y="1095342"/>
                  </a:lnTo>
                  <a:cubicBezTo>
                    <a:pt x="2317083" y="988662"/>
                    <a:pt x="2331370" y="888649"/>
                    <a:pt x="2353277" y="798162"/>
                  </a:cubicBezTo>
                  <a:close/>
                  <a:moveTo>
                    <a:pt x="2313272" y="1207737"/>
                  </a:moveTo>
                  <a:lnTo>
                    <a:pt x="2033237" y="1207737"/>
                  </a:lnTo>
                  <a:cubicBezTo>
                    <a:pt x="2041810" y="1315369"/>
                    <a:pt x="2075147" y="1417287"/>
                    <a:pt x="2127535" y="1504917"/>
                  </a:cubicBezTo>
                  <a:lnTo>
                    <a:pt x="2352325" y="1504917"/>
                  </a:lnTo>
                  <a:cubicBezTo>
                    <a:pt x="2331370" y="1414430"/>
                    <a:pt x="2317083" y="1314417"/>
                    <a:pt x="2313272" y="1207737"/>
                  </a:cubicBezTo>
                  <a:close/>
                  <a:moveTo>
                    <a:pt x="2211355" y="1618264"/>
                  </a:moveTo>
                  <a:cubicBezTo>
                    <a:pt x="2284697" y="1699227"/>
                    <a:pt x="2375185" y="1762092"/>
                    <a:pt x="2478055" y="1802097"/>
                  </a:cubicBezTo>
                  <a:cubicBezTo>
                    <a:pt x="2442812" y="1750662"/>
                    <a:pt x="2412333" y="1688749"/>
                    <a:pt x="2386615" y="1618264"/>
                  </a:cubicBezTo>
                  <a:close/>
                  <a:moveTo>
                    <a:pt x="2949542" y="1618264"/>
                  </a:moveTo>
                  <a:lnTo>
                    <a:pt x="2507583" y="1618264"/>
                  </a:lnTo>
                  <a:cubicBezTo>
                    <a:pt x="2630455" y="1923064"/>
                    <a:pt x="2825717" y="1923064"/>
                    <a:pt x="2949542" y="1618264"/>
                  </a:cubicBezTo>
                  <a:close/>
                  <a:moveTo>
                    <a:pt x="2469483" y="1504917"/>
                  </a:moveTo>
                  <a:lnTo>
                    <a:pt x="2987642" y="1504917"/>
                  </a:lnTo>
                  <a:cubicBezTo>
                    <a:pt x="3011455" y="1418239"/>
                    <a:pt x="3026695" y="1318227"/>
                    <a:pt x="3030505" y="1207737"/>
                  </a:cubicBezTo>
                  <a:lnTo>
                    <a:pt x="2426620" y="1207737"/>
                  </a:lnTo>
                  <a:cubicBezTo>
                    <a:pt x="2430430" y="1318227"/>
                    <a:pt x="2445670" y="1418239"/>
                    <a:pt x="2469483" y="1504917"/>
                  </a:cubicBezTo>
                  <a:close/>
                  <a:moveTo>
                    <a:pt x="2979070" y="1802097"/>
                  </a:moveTo>
                  <a:cubicBezTo>
                    <a:pt x="3080987" y="1762092"/>
                    <a:pt x="3172427" y="1699227"/>
                    <a:pt x="3245770" y="1618264"/>
                  </a:cubicBezTo>
                  <a:lnTo>
                    <a:pt x="3070510" y="1618264"/>
                  </a:lnTo>
                  <a:cubicBezTo>
                    <a:pt x="3045745" y="1688749"/>
                    <a:pt x="3014312" y="1750662"/>
                    <a:pt x="2979070" y="1802097"/>
                  </a:cubicBezTo>
                  <a:close/>
                  <a:moveTo>
                    <a:pt x="3103848" y="1504917"/>
                  </a:moveTo>
                  <a:lnTo>
                    <a:pt x="3328637" y="1504917"/>
                  </a:lnTo>
                  <a:cubicBezTo>
                    <a:pt x="3381025" y="1416334"/>
                    <a:pt x="3414362" y="1315369"/>
                    <a:pt x="3422935" y="1207737"/>
                  </a:cubicBezTo>
                  <a:lnTo>
                    <a:pt x="3142900" y="1207737"/>
                  </a:lnTo>
                  <a:cubicBezTo>
                    <a:pt x="3140042" y="1314417"/>
                    <a:pt x="3125755" y="1414430"/>
                    <a:pt x="3103848" y="1504917"/>
                  </a:cubicBezTo>
                  <a:close/>
                  <a:moveTo>
                    <a:pt x="3142900" y="1094389"/>
                  </a:moveTo>
                  <a:lnTo>
                    <a:pt x="3422935" y="1094389"/>
                  </a:lnTo>
                  <a:cubicBezTo>
                    <a:pt x="3414362" y="986757"/>
                    <a:pt x="3381025" y="885792"/>
                    <a:pt x="3328637" y="797209"/>
                  </a:cubicBezTo>
                  <a:lnTo>
                    <a:pt x="3103848" y="797209"/>
                  </a:lnTo>
                  <a:cubicBezTo>
                    <a:pt x="3126708" y="888649"/>
                    <a:pt x="3140042" y="988662"/>
                    <a:pt x="3142900" y="1094389"/>
                  </a:cubicBezTo>
                  <a:close/>
                  <a:moveTo>
                    <a:pt x="3245770" y="684814"/>
                  </a:moveTo>
                  <a:cubicBezTo>
                    <a:pt x="3172427" y="604804"/>
                    <a:pt x="3081940" y="540987"/>
                    <a:pt x="2979070" y="500982"/>
                  </a:cubicBezTo>
                  <a:cubicBezTo>
                    <a:pt x="3014312" y="552417"/>
                    <a:pt x="3044792" y="614329"/>
                    <a:pt x="3070510" y="684814"/>
                  </a:cubicBezTo>
                  <a:close/>
                  <a:moveTo>
                    <a:pt x="2507583" y="684814"/>
                  </a:moveTo>
                  <a:lnTo>
                    <a:pt x="2949542" y="684814"/>
                  </a:lnTo>
                  <a:cubicBezTo>
                    <a:pt x="2825717" y="380014"/>
                    <a:pt x="2630455" y="380014"/>
                    <a:pt x="2507583" y="684814"/>
                  </a:cubicBezTo>
                  <a:close/>
                  <a:moveTo>
                    <a:pt x="2987642" y="798162"/>
                  </a:moveTo>
                  <a:lnTo>
                    <a:pt x="2469483" y="798162"/>
                  </a:lnTo>
                  <a:cubicBezTo>
                    <a:pt x="2445670" y="884839"/>
                    <a:pt x="2430430" y="984852"/>
                    <a:pt x="2426620" y="1095342"/>
                  </a:cubicBezTo>
                  <a:lnTo>
                    <a:pt x="3030505" y="1095342"/>
                  </a:lnTo>
                  <a:cubicBezTo>
                    <a:pt x="3026695" y="984852"/>
                    <a:pt x="3011455" y="884839"/>
                    <a:pt x="2987642" y="798162"/>
                  </a:cubicBezTo>
                  <a:close/>
                </a:path>
              </a:pathLst>
            </a:custGeom>
            <a:solidFill>
              <a:srgbClr val="2B660F"/>
            </a:solidFill>
            <a:ln w="9525" cap="flat">
              <a:noFill/>
              <a:prstDash val="solid"/>
              <a:miter/>
            </a:ln>
          </p:spPr>
          <p:txBody>
            <a:bodyPr/>
            <a:lstStyle/>
            <a:p>
              <a:endParaRPr lang="en-US"/>
            </a:p>
          </p:txBody>
        </p:sp>
      </p:grpSp>
    </p:spTree>
    <p:extLst>
      <p:ext uri="{BB962C8B-B14F-4D97-AF65-F5344CB8AC3E}">
        <p14:creationId xmlns:p14="http://schemas.microsoft.com/office/powerpoint/2010/main" val="1881417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16D7BD6-F994-2B83-CF83-CDC496166ECB}"/>
              </a:ext>
            </a:extLst>
          </p:cNvPr>
          <p:cNvGraphicFramePr>
            <a:graphicFrameLocks/>
          </p:cNvGraphicFramePr>
          <p:nvPr>
            <p:custDataLst>
              <p:tags r:id="rId1"/>
            </p:custDataLst>
            <p:extLst>
              <p:ext uri="{D42A27DB-BD31-4B8C-83A1-F6EECF244321}">
                <p14:modId xmlns:p14="http://schemas.microsoft.com/office/powerpoint/2010/main" val="103750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11" name="think-cell data - do not delete" hidden="1">
                        <a:extLst>
                          <a:ext uri="{FF2B5EF4-FFF2-40B4-BE49-F238E27FC236}">
                            <a16:creationId xmlns:a16="http://schemas.microsoft.com/office/drawing/2014/main" id="{116D7BD6-F994-2B83-CF83-CDC496166E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166964-5736-194B-90B4-16B96E3AB0C7}"/>
              </a:ext>
            </a:extLst>
          </p:cNvPr>
          <p:cNvSpPr>
            <a:spLocks noGrp="1"/>
          </p:cNvSpPr>
          <p:nvPr>
            <p:ph type="ctrTitle"/>
          </p:nvPr>
        </p:nvSpPr>
        <p:spPr>
          <a:xfrm>
            <a:off x="304796" y="2286596"/>
            <a:ext cx="11582402" cy="2284807"/>
          </a:xfrm>
        </p:spPr>
        <p:txBody>
          <a:bodyPr vert="horz" rIns="0">
            <a:normAutofit/>
          </a:bodyPr>
          <a:lstStyle/>
          <a:p>
            <a:r>
              <a:rPr lang="en-US"/>
              <a:t>Carbon &amp; Energy</a:t>
            </a:r>
          </a:p>
        </p:txBody>
      </p:sp>
      <p:pic>
        <p:nvPicPr>
          <p:cNvPr id="13" name="Picture 12" descr="A green leaves on a black background&#10;&#10;Description automatically generated">
            <a:extLst>
              <a:ext uri="{FF2B5EF4-FFF2-40B4-BE49-F238E27FC236}">
                <a16:creationId xmlns:a16="http://schemas.microsoft.com/office/drawing/2014/main" id="{AAB21E83-F3A5-4746-ABED-AAB443A5F807}"/>
              </a:ext>
            </a:extLst>
          </p:cNvPr>
          <p:cNvPicPr>
            <a:picLocks noChangeAspect="1"/>
          </p:cNvPicPr>
          <p:nvPr/>
        </p:nvPicPr>
        <p:blipFill>
          <a:blip r:embed="rId5">
            <a:alphaModFix amt="8000"/>
            <a:extLst>
              <a:ext uri="{BEBA8EAE-BF5A-486C-A8C5-ECC9F3942E4B}">
                <a14:imgProps xmlns:a14="http://schemas.microsoft.com/office/drawing/2010/main">
                  <a14:imgLayer r:embed="rId6">
                    <a14:imgEffect>
                      <a14:brightnessContrast bright="-100000"/>
                    </a14:imgEffect>
                  </a14:imgLayer>
                </a14:imgProps>
              </a:ext>
            </a:extLst>
          </a:blip>
          <a:srcRect l="143" t="22843" r="1127" b="-347"/>
          <a:stretch>
            <a:fillRect/>
          </a:stretch>
        </p:blipFill>
        <p:spPr>
          <a:xfrm rot="20940000" flipH="1">
            <a:off x="-347445" y="-295347"/>
            <a:ext cx="3909087" cy="3380830"/>
          </a:xfrm>
          <a:custGeom>
            <a:avLst/>
            <a:gdLst>
              <a:gd name="csX0" fmla="*/ 0 w 3387264"/>
              <a:gd name="csY0" fmla="*/ 547729 h 2929524"/>
              <a:gd name="csX1" fmla="*/ 2817822 w 3387264"/>
              <a:gd name="csY1" fmla="*/ 0 h 2929524"/>
              <a:gd name="csX2" fmla="*/ 3387264 w 3387264"/>
              <a:gd name="csY2" fmla="*/ 2929524 h 2929524"/>
              <a:gd name="csX3" fmla="*/ 0 w 3387264"/>
              <a:gd name="csY3" fmla="*/ 2929524 h 2929524"/>
            </a:gdLst>
            <a:ahLst/>
            <a:cxnLst>
              <a:cxn ang="0">
                <a:pos x="csX0" y="csY0"/>
              </a:cxn>
              <a:cxn ang="0">
                <a:pos x="csX1" y="csY1"/>
              </a:cxn>
              <a:cxn ang="0">
                <a:pos x="csX2" y="csY2"/>
              </a:cxn>
              <a:cxn ang="0">
                <a:pos x="csX3" y="csY3"/>
              </a:cxn>
            </a:cxnLst>
            <a:rect l="l" t="t" r="r" b="b"/>
            <a:pathLst>
              <a:path w="3387264" h="2929524">
                <a:moveTo>
                  <a:pt x="0" y="547729"/>
                </a:moveTo>
                <a:lnTo>
                  <a:pt x="2817822" y="0"/>
                </a:lnTo>
                <a:lnTo>
                  <a:pt x="3387264" y="2929524"/>
                </a:lnTo>
                <a:lnTo>
                  <a:pt x="0" y="2929524"/>
                </a:lnTo>
                <a:close/>
              </a:path>
            </a:pathLst>
          </a:custGeom>
        </p:spPr>
      </p:pic>
      <p:pic>
        <p:nvPicPr>
          <p:cNvPr id="14" name="Picture 13" descr="A green leaves on a black background&#10;&#10;Description automatically generated">
            <a:extLst>
              <a:ext uri="{FF2B5EF4-FFF2-40B4-BE49-F238E27FC236}">
                <a16:creationId xmlns:a16="http://schemas.microsoft.com/office/drawing/2014/main" id="{5438FBD4-08E8-8EFF-499D-6C0C20F7DAF4}"/>
              </a:ext>
            </a:extLst>
          </p:cNvPr>
          <p:cNvPicPr>
            <a:picLocks noChangeAspect="1"/>
          </p:cNvPicPr>
          <p:nvPr/>
        </p:nvPicPr>
        <p:blipFill rotWithShape="1">
          <a:blip r:embed="rId7">
            <a:alphaModFix amt="8000"/>
            <a:extLst>
              <a:ext uri="{BEBA8EAE-BF5A-486C-A8C5-ECC9F3942E4B}">
                <a14:imgProps xmlns:a14="http://schemas.microsoft.com/office/drawing/2010/main">
                  <a14:imgLayer r:embed="rId8">
                    <a14:imgEffect>
                      <a14:brightnessContrast bright="-100000"/>
                    </a14:imgEffect>
                  </a14:imgLayer>
                </a14:imgProps>
              </a:ext>
            </a:extLst>
          </a:blip>
          <a:srcRect b="14982"/>
          <a:stretch/>
        </p:blipFill>
        <p:spPr>
          <a:xfrm flipH="1">
            <a:off x="8244114" y="4113638"/>
            <a:ext cx="3947886" cy="2744362"/>
          </a:xfrm>
          <a:prstGeom prst="rect">
            <a:avLst/>
          </a:prstGeom>
        </p:spPr>
      </p:pic>
      <p:pic>
        <p:nvPicPr>
          <p:cNvPr id="22" name="Graphic 21">
            <a:extLst>
              <a:ext uri="{FF2B5EF4-FFF2-40B4-BE49-F238E27FC236}">
                <a16:creationId xmlns:a16="http://schemas.microsoft.com/office/drawing/2014/main" id="{FE0CAD2A-5F7D-8CA1-35D2-285AB6F4BA2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89550" y="820002"/>
            <a:ext cx="1612900" cy="1612900"/>
          </a:xfrm>
          <a:prstGeom prst="rect">
            <a:avLst/>
          </a:prstGeom>
        </p:spPr>
      </p:pic>
    </p:spTree>
    <p:extLst>
      <p:ext uri="{BB962C8B-B14F-4D97-AF65-F5344CB8AC3E}">
        <p14:creationId xmlns:p14="http://schemas.microsoft.com/office/powerpoint/2010/main" val="25689936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5D910A"/>
        </a:solidFill>
        <a:effectLst/>
      </p:bgPr>
    </p:bg>
    <p:spTree>
      <p:nvGrpSpPr>
        <p:cNvPr id="1" name=""/>
        <p:cNvGrpSpPr/>
        <p:nvPr/>
      </p:nvGrpSpPr>
      <p:grpSpPr>
        <a:xfrm>
          <a:off x="0" y="0"/>
          <a:ext cx="0" cy="0"/>
          <a:chOff x="0" y="0"/>
          <a:chExt cx="0" cy="0"/>
        </a:xfrm>
      </p:grpSpPr>
      <p:graphicFrame>
        <p:nvGraphicFramePr>
          <p:cNvPr id="75" name="think-cell data - do not delete" hidden="1">
            <a:extLst>
              <a:ext uri="{FF2B5EF4-FFF2-40B4-BE49-F238E27FC236}">
                <a16:creationId xmlns:a16="http://schemas.microsoft.com/office/drawing/2014/main" id="{DE379393-AB50-E752-44F0-F026709CFD94}"/>
              </a:ext>
            </a:extLst>
          </p:cNvPr>
          <p:cNvGraphicFramePr>
            <a:graphicFrameLocks/>
          </p:cNvGraphicFramePr>
          <p:nvPr>
            <p:custDataLst>
              <p:tags r:id="rId1"/>
            </p:custDataLst>
            <p:extLst>
              <p:ext uri="{D42A27DB-BD31-4B8C-83A1-F6EECF244321}">
                <p14:modId xmlns:p14="http://schemas.microsoft.com/office/powerpoint/2010/main" val="2422696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75" name="think-cell data - do not delete" hidden="1">
                        <a:extLst>
                          <a:ext uri="{FF2B5EF4-FFF2-40B4-BE49-F238E27FC236}">
                            <a16:creationId xmlns:a16="http://schemas.microsoft.com/office/drawing/2014/main" id="{DE379393-AB50-E752-44F0-F026709CFD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9" name="Rectangle: Rounded Corners 208">
            <a:extLst>
              <a:ext uri="{FF2B5EF4-FFF2-40B4-BE49-F238E27FC236}">
                <a16:creationId xmlns:a16="http://schemas.microsoft.com/office/drawing/2014/main" id="{E7C8C8CE-92D1-D603-5F8E-EC616272D369}"/>
              </a:ext>
            </a:extLst>
          </p:cNvPr>
          <p:cNvSpPr/>
          <p:nvPr/>
        </p:nvSpPr>
        <p:spPr>
          <a:xfrm>
            <a:off x="304800" y="1371601"/>
            <a:ext cx="11582400" cy="4762500"/>
          </a:xfrm>
          <a:prstGeom prst="roundRect">
            <a:avLst>
              <a:gd name="adj" fmla="val 4065"/>
            </a:avLst>
          </a:prstGeom>
          <a:solidFill>
            <a:srgbClr val="2B660F"/>
          </a:solidFill>
          <a:ln w="6350">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14151" tIns="214151" rIns="214151" bIns="214151" numCol="1" spcCol="1270" anchor="ctr" anchorCtr="0">
            <a:noAutofit/>
          </a:bodyPr>
          <a:lstStyle/>
          <a:p>
            <a:pPr defTabSz="1911350">
              <a:lnSpc>
                <a:spcPct val="90000"/>
              </a:lnSpc>
              <a:spcBef>
                <a:spcPct val="0"/>
              </a:spcBef>
              <a:spcAft>
                <a:spcPct val="35000"/>
              </a:spcAft>
            </a:pPr>
            <a:endParaRPr lang="en-US" sz="2000">
              <a:solidFill>
                <a:schemeClr val="bg1"/>
              </a:solidFill>
            </a:endParaRPr>
          </a:p>
        </p:txBody>
      </p:sp>
      <p:sp>
        <p:nvSpPr>
          <p:cNvPr id="210" name="Rectangle: Rounded Corners 209">
            <a:extLst>
              <a:ext uri="{FF2B5EF4-FFF2-40B4-BE49-F238E27FC236}">
                <a16:creationId xmlns:a16="http://schemas.microsoft.com/office/drawing/2014/main" id="{99BB6BA9-9908-DAE9-50AC-0EBE00C9F778}"/>
              </a:ext>
            </a:extLst>
          </p:cNvPr>
          <p:cNvSpPr/>
          <p:nvPr/>
        </p:nvSpPr>
        <p:spPr>
          <a:xfrm>
            <a:off x="6073140" y="1421131"/>
            <a:ext cx="45720" cy="4663440"/>
          </a:xfrm>
          <a:prstGeom prst="roundRect">
            <a:avLst>
              <a:gd name="adj" fmla="val 50000"/>
            </a:avLst>
          </a:prstGeom>
          <a:solidFill>
            <a:srgbClr val="5D91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6" name="Graphic 205">
            <a:extLst>
              <a:ext uri="{FF2B5EF4-FFF2-40B4-BE49-F238E27FC236}">
                <a16:creationId xmlns:a16="http://schemas.microsoft.com/office/drawing/2014/main" id="{D43608CE-A7B3-7E50-4179-8252BED3EC57}"/>
              </a:ext>
            </a:extLst>
          </p:cNvPr>
          <p:cNvPicPr/>
          <p:nvPr/>
        </p:nvPicPr>
        <p:blipFill>
          <a:blip r:embed="rId5">
            <a:extLst>
              <a:ext uri="{96DAC541-7B7A-43D3-8B79-37D633B846F1}">
                <asvg:svgBlip xmlns:asvg="http://schemas.microsoft.com/office/drawing/2016/SVG/main" r:embed="rId6"/>
              </a:ext>
            </a:extLst>
          </a:blip>
          <a:srcRect l="8611" t="11392" r="56210" b="6663"/>
          <a:stretch>
            <a:fillRect/>
          </a:stretch>
        </p:blipFill>
        <p:spPr>
          <a:xfrm flipH="1">
            <a:off x="10833100" y="5245492"/>
            <a:ext cx="1357471" cy="1610737"/>
          </a:xfrm>
          <a:prstGeom prst="rect">
            <a:avLst/>
          </a:prstGeom>
        </p:spPr>
      </p:pic>
      <p:pic>
        <p:nvPicPr>
          <p:cNvPr id="86" name="Picture 85">
            <a:extLst>
              <a:ext uri="{FF2B5EF4-FFF2-40B4-BE49-F238E27FC236}">
                <a16:creationId xmlns:a16="http://schemas.microsoft.com/office/drawing/2014/main" id="{06EDAB01-EA8C-7D8F-7883-44000EA3E0E2}"/>
              </a:ext>
            </a:extLst>
          </p:cNvPr>
          <p:cNvPicPr>
            <a:picLocks noChangeAspect="1"/>
          </p:cNvPicPr>
          <p:nvPr/>
        </p:nvPicPr>
        <p:blipFill rotWithShape="1">
          <a:blip r:embed="rId7"/>
          <a:srcRect t="7964" b="74305"/>
          <a:stretch>
            <a:fillRect/>
          </a:stretch>
        </p:blipFill>
        <p:spPr>
          <a:xfrm>
            <a:off x="0" y="0"/>
            <a:ext cx="12192000" cy="1216025"/>
          </a:xfrm>
          <a:prstGeom prst="rect">
            <a:avLst/>
          </a:prstGeom>
        </p:spPr>
      </p:pic>
      <p:sp>
        <p:nvSpPr>
          <p:cNvPr id="87" name="Rectangle 86">
            <a:extLst>
              <a:ext uri="{FF2B5EF4-FFF2-40B4-BE49-F238E27FC236}">
                <a16:creationId xmlns:a16="http://schemas.microsoft.com/office/drawing/2014/main" id="{D55AB82D-0313-8FB9-A18B-97B3BEE4BD91}"/>
              </a:ext>
            </a:extLst>
          </p:cNvPr>
          <p:cNvSpPr/>
          <p:nvPr/>
        </p:nvSpPr>
        <p:spPr>
          <a:xfrm>
            <a:off x="0" y="0"/>
            <a:ext cx="12192000" cy="1219200"/>
          </a:xfrm>
          <a:prstGeom prst="rect">
            <a:avLst/>
          </a:prstGeom>
          <a:solidFill>
            <a:schemeClr val="accent3">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8" name="Graphic 207">
            <a:extLst>
              <a:ext uri="{FF2B5EF4-FFF2-40B4-BE49-F238E27FC236}">
                <a16:creationId xmlns:a16="http://schemas.microsoft.com/office/drawing/2014/main" id="{710DE27C-EFA3-625E-4CE7-3AA11D7B90A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4800" y="140391"/>
            <a:ext cx="618170" cy="618170"/>
          </a:xfrm>
          <a:prstGeom prst="rect">
            <a:avLst/>
          </a:prstGeom>
        </p:spPr>
      </p:pic>
      <p:sp>
        <p:nvSpPr>
          <p:cNvPr id="4" name="Title 3">
            <a:extLst>
              <a:ext uri="{FF2B5EF4-FFF2-40B4-BE49-F238E27FC236}">
                <a16:creationId xmlns:a16="http://schemas.microsoft.com/office/drawing/2014/main" id="{B15D0B8F-4376-9D46-9B62-21EEFCE8C7CD}"/>
              </a:ext>
            </a:extLst>
          </p:cNvPr>
          <p:cNvSpPr>
            <a:spLocks noGrp="1"/>
          </p:cNvSpPr>
          <p:nvPr>
            <p:ph type="title"/>
          </p:nvPr>
        </p:nvSpPr>
        <p:spPr>
          <a:xfrm>
            <a:off x="304798" y="246888"/>
            <a:ext cx="11585448" cy="969264"/>
          </a:xfrm>
        </p:spPr>
        <p:txBody>
          <a:bodyPr vert="horz" lIns="822960" rIns="0"/>
          <a:lstStyle/>
          <a:p>
            <a:r>
              <a:rPr lang="en-US" b="1" cap="none">
                <a:solidFill>
                  <a:srgbClr val="8DBD29"/>
                </a:solidFill>
              </a:rPr>
              <a:t>CARBON &amp; ENERGY</a:t>
            </a:r>
            <a:endParaRPr lang="en-MX" b="1" cap="none">
              <a:solidFill>
                <a:srgbClr val="8DBD29"/>
              </a:solidFill>
            </a:endParaRPr>
          </a:p>
        </p:txBody>
      </p:sp>
      <p:sp>
        <p:nvSpPr>
          <p:cNvPr id="95" name="TextBox 94">
            <a:extLst>
              <a:ext uri="{FF2B5EF4-FFF2-40B4-BE49-F238E27FC236}">
                <a16:creationId xmlns:a16="http://schemas.microsoft.com/office/drawing/2014/main" id="{A58F9BB2-713E-03F7-E923-43E29B32D2EE}"/>
              </a:ext>
            </a:extLst>
          </p:cNvPr>
          <p:cNvSpPr txBox="1"/>
          <p:nvPr/>
        </p:nvSpPr>
        <p:spPr>
          <a:xfrm>
            <a:off x="6610350" y="1463675"/>
            <a:ext cx="5191124" cy="1851789"/>
          </a:xfrm>
          <a:prstGeom prst="rect">
            <a:avLst/>
          </a:prstGeom>
          <a:noFill/>
        </p:spPr>
        <p:txBody>
          <a:bodyPr wrap="square" rtlCol="0">
            <a:noAutofit/>
          </a:bodyPr>
          <a:lstStyle/>
          <a:p>
            <a:pPr>
              <a:spcBef>
                <a:spcPts val="400"/>
              </a:spcBef>
            </a:pPr>
            <a:r>
              <a:rPr lang="en-US" sz="1200" b="1">
                <a:solidFill>
                  <a:schemeClr val="accent4"/>
                </a:solidFill>
                <a:latin typeface="+mj-lt"/>
              </a:rPr>
              <a:t>NET ZERO EMISSIONS</a:t>
            </a:r>
          </a:p>
          <a:p>
            <a:pPr>
              <a:spcBef>
                <a:spcPts val="400"/>
              </a:spcBef>
            </a:pPr>
            <a:r>
              <a:rPr lang="en-US" sz="1100">
                <a:solidFill>
                  <a:schemeClr val="bg1"/>
                </a:solidFill>
                <a:ea typeface="Calibri" panose="020F0502020204030204" pitchFamily="34" charset="0"/>
                <a:cs typeface="Times New Roman" panose="02020603050405020304" pitchFamily="18" charset="0"/>
              </a:rPr>
              <a:t>Achieving a balance between the greenhouse gasses put into the atmosphere and those taken out, or an elimination of emissions altogether. Net-zero emissions will be achieved when all greenhouse gas (GHG) emissions released by humans are counterbalanced by removing GHGs from the atmosphere in a process known as carbon removal. Human-caused emissions (such as those from fossil-</a:t>
            </a:r>
            <a:r>
              <a:rPr lang="en-US" sz="1100" err="1">
                <a:solidFill>
                  <a:schemeClr val="bg1"/>
                </a:solidFill>
                <a:ea typeface="Calibri" panose="020F0502020204030204" pitchFamily="34" charset="0"/>
                <a:cs typeface="Times New Roman" panose="02020603050405020304" pitchFamily="18" charset="0"/>
              </a:rPr>
              <a:t>fuelled</a:t>
            </a:r>
            <a:r>
              <a:rPr lang="en-US" sz="1100">
                <a:solidFill>
                  <a:schemeClr val="bg1"/>
                </a:solidFill>
                <a:ea typeface="Calibri" panose="020F0502020204030204" pitchFamily="34" charset="0"/>
                <a:cs typeface="Times New Roman" panose="02020603050405020304" pitchFamily="18" charset="0"/>
              </a:rPr>
              <a:t> transport and heating homes) should be reduced to as close to zero as possible. Any remaining GHGs should then be balanced with an equivalent amount of carbon removal. Reaching net-zero emissions is akin to achieving “climate neutrality.” </a:t>
            </a:r>
          </a:p>
        </p:txBody>
      </p:sp>
      <p:sp>
        <p:nvSpPr>
          <p:cNvPr id="96" name="TextBox 95">
            <a:extLst>
              <a:ext uri="{FF2B5EF4-FFF2-40B4-BE49-F238E27FC236}">
                <a16:creationId xmlns:a16="http://schemas.microsoft.com/office/drawing/2014/main" id="{73CBAE7F-9D2D-BEBE-C314-40E7781F28B3}"/>
              </a:ext>
            </a:extLst>
          </p:cNvPr>
          <p:cNvSpPr txBox="1"/>
          <p:nvPr/>
        </p:nvSpPr>
        <p:spPr>
          <a:xfrm>
            <a:off x="6610350" y="3412750"/>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ENERGY EFFICIENCY</a:t>
            </a:r>
          </a:p>
          <a:p>
            <a:pPr>
              <a:spcBef>
                <a:spcPts val="400"/>
              </a:spcBef>
            </a:pPr>
            <a:r>
              <a:rPr lang="en-US" sz="1100">
                <a:solidFill>
                  <a:schemeClr val="bg1"/>
                </a:solidFill>
                <a:ea typeface="Calibri" panose="020F0502020204030204" pitchFamily="34" charset="0"/>
                <a:cs typeface="Times New Roman" panose="02020603050405020304" pitchFamily="18" charset="0"/>
              </a:rPr>
              <a:t>Energy efficiency is the use of less energy to perform the same task or produce the same result. </a:t>
            </a:r>
          </a:p>
        </p:txBody>
      </p:sp>
      <p:sp>
        <p:nvSpPr>
          <p:cNvPr id="97" name="TextBox 96">
            <a:extLst>
              <a:ext uri="{FF2B5EF4-FFF2-40B4-BE49-F238E27FC236}">
                <a16:creationId xmlns:a16="http://schemas.microsoft.com/office/drawing/2014/main" id="{5144C743-A2F4-F333-2F06-DCF073B53E8B}"/>
              </a:ext>
            </a:extLst>
          </p:cNvPr>
          <p:cNvSpPr txBox="1"/>
          <p:nvPr/>
        </p:nvSpPr>
        <p:spPr>
          <a:xfrm>
            <a:off x="6610350" y="4176885"/>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RENEWABLE ENERGY VS. GREEN ENERGY VS. CLEAN ENERGY</a:t>
            </a:r>
          </a:p>
          <a:p>
            <a:pPr>
              <a:spcBef>
                <a:spcPts val="400"/>
              </a:spcBef>
            </a:pPr>
            <a:r>
              <a:rPr lang="en-US" sz="1100">
                <a:solidFill>
                  <a:schemeClr val="bg1"/>
                </a:solidFill>
                <a:ea typeface="Calibri" panose="020F0502020204030204" pitchFamily="34" charset="0"/>
                <a:cs typeface="Times New Roman" panose="02020603050405020304" pitchFamily="18" charset="0"/>
              </a:rPr>
              <a:t>Renewable fuels include liquid and gaseous fuels and electricity derived from renewable biomass energy sources biomass energy sources.</a:t>
            </a:r>
          </a:p>
        </p:txBody>
      </p:sp>
      <p:sp>
        <p:nvSpPr>
          <p:cNvPr id="98" name="TextBox 97">
            <a:extLst>
              <a:ext uri="{FF2B5EF4-FFF2-40B4-BE49-F238E27FC236}">
                <a16:creationId xmlns:a16="http://schemas.microsoft.com/office/drawing/2014/main" id="{E17354EF-8566-F46F-4706-F7EB17864A5A}"/>
              </a:ext>
            </a:extLst>
          </p:cNvPr>
          <p:cNvSpPr txBox="1"/>
          <p:nvPr/>
        </p:nvSpPr>
        <p:spPr>
          <a:xfrm>
            <a:off x="6610350" y="4941020"/>
            <a:ext cx="5191124" cy="1174681"/>
          </a:xfrm>
          <a:prstGeom prst="rect">
            <a:avLst/>
          </a:prstGeom>
          <a:noFill/>
        </p:spPr>
        <p:txBody>
          <a:bodyPr wrap="square" rtlCol="0">
            <a:noAutofit/>
          </a:bodyPr>
          <a:lstStyle/>
          <a:p>
            <a:pPr>
              <a:spcBef>
                <a:spcPts val="400"/>
              </a:spcBef>
            </a:pPr>
            <a:r>
              <a:rPr lang="en-US" sz="1200" b="1">
                <a:solidFill>
                  <a:schemeClr val="accent4"/>
                </a:solidFill>
                <a:latin typeface="+mj-lt"/>
              </a:rPr>
              <a:t>RENEWABLE ELECTRICITY</a:t>
            </a:r>
          </a:p>
          <a:p>
            <a:pPr>
              <a:spcBef>
                <a:spcPts val="400"/>
              </a:spcBef>
            </a:pPr>
            <a:r>
              <a:rPr lang="en-US" sz="1100">
                <a:solidFill>
                  <a:schemeClr val="bg1"/>
                </a:solidFill>
                <a:ea typeface="Calibri" panose="020F0502020204030204" pitchFamily="34" charset="0"/>
                <a:cs typeface="Times New Roman" panose="02020603050405020304" pitchFamily="18" charset="0"/>
              </a:rPr>
              <a:t>Renewable energy comes from sources that are constantly and naturally renewed, such as wind power and solar energy. Green energy is often used interchangeably but even though it is sourced from natural resources, it is not always renewable. Clean energy comes from sources that do not pollute the atmosphere (unlike fossil fuels). </a:t>
            </a:r>
          </a:p>
        </p:txBody>
      </p:sp>
      <p:cxnSp>
        <p:nvCxnSpPr>
          <p:cNvPr id="99" name="Straight Connector 98">
            <a:extLst>
              <a:ext uri="{FF2B5EF4-FFF2-40B4-BE49-F238E27FC236}">
                <a16:creationId xmlns:a16="http://schemas.microsoft.com/office/drawing/2014/main" id="{85366BE2-2978-62ED-85E3-FFA013025191}"/>
              </a:ext>
            </a:extLst>
          </p:cNvPr>
          <p:cNvCxnSpPr>
            <a:cxnSpLocks/>
          </p:cNvCxnSpPr>
          <p:nvPr/>
        </p:nvCxnSpPr>
        <p:spPr>
          <a:xfrm>
            <a:off x="6610350" y="3364107"/>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E9889D75-D7C9-F1D6-1EF3-BA6FD204AAAF}"/>
              </a:ext>
            </a:extLst>
          </p:cNvPr>
          <p:cNvCxnSpPr>
            <a:cxnSpLocks/>
          </p:cNvCxnSpPr>
          <p:nvPr/>
        </p:nvCxnSpPr>
        <p:spPr>
          <a:xfrm>
            <a:off x="6610350" y="4128242"/>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D2D63256-43E4-5285-2CD3-D2B8C53D9CFD}"/>
              </a:ext>
            </a:extLst>
          </p:cNvPr>
          <p:cNvCxnSpPr>
            <a:cxnSpLocks/>
          </p:cNvCxnSpPr>
          <p:nvPr/>
        </p:nvCxnSpPr>
        <p:spPr>
          <a:xfrm>
            <a:off x="6610350" y="4892377"/>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DDC96460-E409-FBC6-E867-AE4AD1D7E94B}"/>
              </a:ext>
            </a:extLst>
          </p:cNvPr>
          <p:cNvSpPr txBox="1"/>
          <p:nvPr/>
        </p:nvSpPr>
        <p:spPr>
          <a:xfrm>
            <a:off x="731996" y="1463675"/>
            <a:ext cx="5191124" cy="497572"/>
          </a:xfrm>
          <a:prstGeom prst="rect">
            <a:avLst/>
          </a:prstGeom>
          <a:noFill/>
        </p:spPr>
        <p:txBody>
          <a:bodyPr wrap="square" rtlCol="0">
            <a:noAutofit/>
          </a:bodyPr>
          <a:lstStyle/>
          <a:p>
            <a:pPr>
              <a:spcBef>
                <a:spcPts val="400"/>
              </a:spcBef>
            </a:pPr>
            <a:r>
              <a:rPr lang="en-US" sz="1200" b="1">
                <a:solidFill>
                  <a:schemeClr val="accent4"/>
                </a:solidFill>
                <a:latin typeface="+mj-lt"/>
              </a:rPr>
              <a:t>GREENHOUSE GASES (GHG)</a:t>
            </a:r>
          </a:p>
          <a:p>
            <a:pPr>
              <a:spcBef>
                <a:spcPts val="400"/>
              </a:spcBef>
            </a:pPr>
            <a:r>
              <a:rPr lang="en-US" sz="1100">
                <a:solidFill>
                  <a:schemeClr val="bg1"/>
                </a:solidFill>
                <a:ea typeface="Calibri" panose="020F0502020204030204" pitchFamily="34" charset="0"/>
                <a:cs typeface="Times New Roman" panose="02020603050405020304" pitchFamily="18" charset="0"/>
              </a:rPr>
              <a:t>Gases in the Earth’s atmosphere that trap heat and make the planet warmer.</a:t>
            </a:r>
          </a:p>
        </p:txBody>
      </p:sp>
      <p:sp>
        <p:nvSpPr>
          <p:cNvPr id="112" name="TextBox 111">
            <a:extLst>
              <a:ext uri="{FF2B5EF4-FFF2-40B4-BE49-F238E27FC236}">
                <a16:creationId xmlns:a16="http://schemas.microsoft.com/office/drawing/2014/main" id="{BEA3CCD2-FCE1-AE9C-03DC-AA11C3FDE3D9}"/>
              </a:ext>
            </a:extLst>
          </p:cNvPr>
          <p:cNvSpPr txBox="1"/>
          <p:nvPr/>
        </p:nvSpPr>
        <p:spPr>
          <a:xfrm>
            <a:off x="731996" y="2226599"/>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SCOPE 1</a:t>
            </a:r>
          </a:p>
          <a:p>
            <a:pPr>
              <a:spcBef>
                <a:spcPts val="400"/>
              </a:spcBef>
            </a:pPr>
            <a:r>
              <a:rPr lang="en-US" sz="1100">
                <a:solidFill>
                  <a:schemeClr val="bg1"/>
                </a:solidFill>
                <a:ea typeface="Calibri" panose="020F0502020204030204" pitchFamily="34" charset="0"/>
                <a:cs typeface="Times New Roman" panose="02020603050405020304" pitchFamily="18" charset="0"/>
              </a:rPr>
              <a:t>Emissions generated by direct operations, such as from our company-owned fleet or manufacturing facilities. </a:t>
            </a:r>
          </a:p>
        </p:txBody>
      </p:sp>
      <p:sp>
        <p:nvSpPr>
          <p:cNvPr id="113" name="TextBox 112">
            <a:extLst>
              <a:ext uri="{FF2B5EF4-FFF2-40B4-BE49-F238E27FC236}">
                <a16:creationId xmlns:a16="http://schemas.microsoft.com/office/drawing/2014/main" id="{11142840-39A3-BE7C-6693-8653AEC205CA}"/>
              </a:ext>
            </a:extLst>
          </p:cNvPr>
          <p:cNvSpPr txBox="1"/>
          <p:nvPr/>
        </p:nvSpPr>
        <p:spPr>
          <a:xfrm>
            <a:off x="731996" y="3158800"/>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SCOPE 2</a:t>
            </a:r>
          </a:p>
          <a:p>
            <a:pPr>
              <a:spcBef>
                <a:spcPts val="400"/>
              </a:spcBef>
            </a:pPr>
            <a:r>
              <a:rPr lang="en-US" sz="1100">
                <a:solidFill>
                  <a:schemeClr val="bg1"/>
                </a:solidFill>
                <a:ea typeface="Calibri" panose="020F0502020204030204" pitchFamily="34" charset="0"/>
                <a:cs typeface="Times New Roman" panose="02020603050405020304" pitchFamily="18" charset="0"/>
              </a:rPr>
              <a:t>Emissions generated from the energy purchased for direct operations, such as any non-renewable electricity purchased from a utility company. </a:t>
            </a:r>
          </a:p>
        </p:txBody>
      </p:sp>
      <p:sp>
        <p:nvSpPr>
          <p:cNvPr id="116" name="TextBox 115">
            <a:extLst>
              <a:ext uri="{FF2B5EF4-FFF2-40B4-BE49-F238E27FC236}">
                <a16:creationId xmlns:a16="http://schemas.microsoft.com/office/drawing/2014/main" id="{93011C4C-ABDE-D54F-3683-18F2A4017285}"/>
              </a:ext>
            </a:extLst>
          </p:cNvPr>
          <p:cNvSpPr txBox="1"/>
          <p:nvPr/>
        </p:nvSpPr>
        <p:spPr>
          <a:xfrm>
            <a:off x="731996" y="4091001"/>
            <a:ext cx="5191124" cy="836126"/>
          </a:xfrm>
          <a:prstGeom prst="rect">
            <a:avLst/>
          </a:prstGeom>
          <a:noFill/>
        </p:spPr>
        <p:txBody>
          <a:bodyPr wrap="square" rtlCol="0">
            <a:noAutofit/>
          </a:bodyPr>
          <a:lstStyle/>
          <a:p>
            <a:pPr>
              <a:spcBef>
                <a:spcPts val="400"/>
              </a:spcBef>
            </a:pPr>
            <a:r>
              <a:rPr lang="en-US" sz="1200" b="1">
                <a:solidFill>
                  <a:schemeClr val="accent4"/>
                </a:solidFill>
                <a:latin typeface="+mj-lt"/>
              </a:rPr>
              <a:t>SCOPE 3</a:t>
            </a:r>
          </a:p>
          <a:p>
            <a:pPr>
              <a:spcBef>
                <a:spcPts val="400"/>
              </a:spcBef>
            </a:pPr>
            <a:r>
              <a:rPr lang="en-US" sz="1100">
                <a:solidFill>
                  <a:schemeClr val="bg1"/>
                </a:solidFill>
                <a:ea typeface="Calibri" panose="020F0502020204030204" pitchFamily="34" charset="0"/>
                <a:cs typeface="Times New Roman" panose="02020603050405020304" pitchFamily="18" charset="0"/>
              </a:rPr>
              <a:t>Emissions generated as a result of activities from assets not owned or controlled by the reporting organization, but that the organization indirectly affects in its value chain.</a:t>
            </a:r>
          </a:p>
        </p:txBody>
      </p:sp>
      <p:sp>
        <p:nvSpPr>
          <p:cNvPr id="200" name="TextBox 199">
            <a:extLst>
              <a:ext uri="{FF2B5EF4-FFF2-40B4-BE49-F238E27FC236}">
                <a16:creationId xmlns:a16="http://schemas.microsoft.com/office/drawing/2014/main" id="{99453E9A-8F70-CF15-39E2-2D121BB108B1}"/>
              </a:ext>
            </a:extLst>
          </p:cNvPr>
          <p:cNvSpPr txBox="1"/>
          <p:nvPr/>
        </p:nvSpPr>
        <p:spPr>
          <a:xfrm>
            <a:off x="731996" y="5192480"/>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CARBON FOOTPRINT</a:t>
            </a:r>
          </a:p>
          <a:p>
            <a:pPr>
              <a:spcBef>
                <a:spcPts val="400"/>
              </a:spcBef>
            </a:pPr>
            <a:r>
              <a:rPr lang="en-US" sz="1100">
                <a:solidFill>
                  <a:schemeClr val="bg1"/>
                </a:solidFill>
                <a:ea typeface="Calibri" panose="020F0502020204030204" pitchFamily="34" charset="0"/>
                <a:cs typeface="Times New Roman" panose="02020603050405020304" pitchFamily="18" charset="0"/>
              </a:rPr>
              <a:t>A carbon footprint is the total greenhouse gas (GHG) emissions caused directly and indirectly by an individual, organization, event or product.</a:t>
            </a:r>
          </a:p>
        </p:txBody>
      </p:sp>
      <p:cxnSp>
        <p:nvCxnSpPr>
          <p:cNvPr id="201" name="Straight Connector 200">
            <a:extLst>
              <a:ext uri="{FF2B5EF4-FFF2-40B4-BE49-F238E27FC236}">
                <a16:creationId xmlns:a16="http://schemas.microsoft.com/office/drawing/2014/main" id="{41BFBEF7-DB09-FFAD-FF1E-45247068B375}"/>
              </a:ext>
            </a:extLst>
          </p:cNvPr>
          <p:cNvCxnSpPr>
            <a:cxnSpLocks/>
          </p:cNvCxnSpPr>
          <p:nvPr/>
        </p:nvCxnSpPr>
        <p:spPr>
          <a:xfrm>
            <a:off x="731996" y="2093923"/>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8C6398F4-3743-A3F1-B260-296D19D55658}"/>
              </a:ext>
            </a:extLst>
          </p:cNvPr>
          <p:cNvCxnSpPr>
            <a:cxnSpLocks/>
          </p:cNvCxnSpPr>
          <p:nvPr/>
        </p:nvCxnSpPr>
        <p:spPr>
          <a:xfrm>
            <a:off x="731996" y="3026124"/>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1C5F3805-27C9-81FE-E5C6-248A23B371BB}"/>
              </a:ext>
            </a:extLst>
          </p:cNvPr>
          <p:cNvCxnSpPr>
            <a:cxnSpLocks/>
          </p:cNvCxnSpPr>
          <p:nvPr/>
        </p:nvCxnSpPr>
        <p:spPr>
          <a:xfrm>
            <a:off x="731996" y="3958325"/>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E98D80DC-6B8B-C1C7-28C1-121AD4B2411D}"/>
              </a:ext>
            </a:extLst>
          </p:cNvPr>
          <p:cNvCxnSpPr>
            <a:cxnSpLocks/>
          </p:cNvCxnSpPr>
          <p:nvPr/>
        </p:nvCxnSpPr>
        <p:spPr>
          <a:xfrm>
            <a:off x="731996" y="5059803"/>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15" name="Group 214">
            <a:extLst>
              <a:ext uri="{FF2B5EF4-FFF2-40B4-BE49-F238E27FC236}">
                <a16:creationId xmlns:a16="http://schemas.microsoft.com/office/drawing/2014/main" id="{8B392FE0-8DBD-C114-A4C0-922B5AC42E98}"/>
              </a:ext>
            </a:extLst>
          </p:cNvPr>
          <p:cNvGrpSpPr/>
          <p:nvPr/>
        </p:nvGrpSpPr>
        <p:grpSpPr>
          <a:xfrm>
            <a:off x="372424" y="1440815"/>
            <a:ext cx="354334" cy="354334"/>
            <a:chOff x="372424" y="1440815"/>
            <a:chExt cx="354334" cy="354334"/>
          </a:xfrm>
        </p:grpSpPr>
        <p:sp>
          <p:nvSpPr>
            <p:cNvPr id="196" name="Oval 195">
              <a:extLst>
                <a:ext uri="{FF2B5EF4-FFF2-40B4-BE49-F238E27FC236}">
                  <a16:creationId xmlns:a16="http://schemas.microsoft.com/office/drawing/2014/main" id="{4D41D0DE-BA9D-8B16-B386-17826A8C84A4}"/>
                </a:ext>
              </a:extLst>
            </p:cNvPr>
            <p:cNvSpPr/>
            <p:nvPr/>
          </p:nvSpPr>
          <p:spPr>
            <a:xfrm>
              <a:off x="372424"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Graphic 212">
              <a:extLst>
                <a:ext uri="{FF2B5EF4-FFF2-40B4-BE49-F238E27FC236}">
                  <a16:creationId xmlns:a16="http://schemas.microsoft.com/office/drawing/2014/main" id="{687D6E6B-1387-60CC-F377-A642501E4FDB}"/>
                </a:ext>
              </a:extLst>
            </p:cNvPr>
            <p:cNvSpPr/>
            <p:nvPr/>
          </p:nvSpPr>
          <p:spPr>
            <a:xfrm>
              <a:off x="454341" y="1515243"/>
              <a:ext cx="190500" cy="205478"/>
            </a:xfrm>
            <a:custGeom>
              <a:avLst/>
              <a:gdLst>
                <a:gd name="csX0" fmla="*/ 3828888 w 4238739"/>
                <a:gd name="csY0" fmla="*/ 3706806 h 4572000"/>
                <a:gd name="csX1" fmla="*/ 3828888 w 4238739"/>
                <a:gd name="csY1" fmla="*/ 4442432 h 4572000"/>
                <a:gd name="csX2" fmla="*/ 3920100 w 4238739"/>
                <a:gd name="csY2" fmla="*/ 4572000 h 4572000"/>
                <a:gd name="csX3" fmla="*/ 3560150 w 4238739"/>
                <a:gd name="csY3" fmla="*/ 4572000 h 4572000"/>
                <a:gd name="csX4" fmla="*/ 3651361 w 4238739"/>
                <a:gd name="csY4" fmla="*/ 4442432 h 4572000"/>
                <a:gd name="csX5" fmla="*/ 3651361 w 4238739"/>
                <a:gd name="csY5" fmla="*/ 3706806 h 4572000"/>
                <a:gd name="csX6" fmla="*/ 3740134 w 4238739"/>
                <a:gd name="csY6" fmla="*/ 3687261 h 4572000"/>
                <a:gd name="csX7" fmla="*/ 3828888 w 4238739"/>
                <a:gd name="csY7" fmla="*/ 3706806 h 4572000"/>
                <a:gd name="csX8" fmla="*/ 3162291 w 4238739"/>
                <a:gd name="csY8" fmla="*/ 3416199 h 4572000"/>
                <a:gd name="csX9" fmla="*/ 3162291 w 4238739"/>
                <a:gd name="csY9" fmla="*/ 4404732 h 4572000"/>
                <a:gd name="csX10" fmla="*/ 3280048 w 4238739"/>
                <a:gd name="csY10" fmla="*/ 4572000 h 4572000"/>
                <a:gd name="csX11" fmla="*/ 2815352 w 4238739"/>
                <a:gd name="csY11" fmla="*/ 4572000 h 4572000"/>
                <a:gd name="csX12" fmla="*/ 2933110 w 4238739"/>
                <a:gd name="csY12" fmla="*/ 4404732 h 4572000"/>
                <a:gd name="csX13" fmla="*/ 2933110 w 4238739"/>
                <a:gd name="csY13" fmla="*/ 3416199 h 4572000"/>
                <a:gd name="csX14" fmla="*/ 3047705 w 4238739"/>
                <a:gd name="csY14" fmla="*/ 3387271 h 4572000"/>
                <a:gd name="csX15" fmla="*/ 3162291 w 4238739"/>
                <a:gd name="csY15" fmla="*/ 3416199 h 4572000"/>
                <a:gd name="csX16" fmla="*/ 2208876 w 4238739"/>
                <a:gd name="csY16" fmla="*/ 3863807 h 4572000"/>
                <a:gd name="csX17" fmla="*/ 2208876 w 4238739"/>
                <a:gd name="csY17" fmla="*/ 4462796 h 4572000"/>
                <a:gd name="csX18" fmla="*/ 2300850 w 4238739"/>
                <a:gd name="csY18" fmla="*/ 4572000 h 4572000"/>
                <a:gd name="csX19" fmla="*/ 1937890 w 4238739"/>
                <a:gd name="csY19" fmla="*/ 4572000 h 4572000"/>
                <a:gd name="csX20" fmla="*/ 2029863 w 4238739"/>
                <a:gd name="csY20" fmla="*/ 4462796 h 4572000"/>
                <a:gd name="csX21" fmla="*/ 2029863 w 4238739"/>
                <a:gd name="csY21" fmla="*/ 3863807 h 4572000"/>
                <a:gd name="csX22" fmla="*/ 2035778 w 4238739"/>
                <a:gd name="csY22" fmla="*/ 3863874 h 4572000"/>
                <a:gd name="csX23" fmla="*/ 2119379 w 4238739"/>
                <a:gd name="csY23" fmla="*/ 3848815 h 4572000"/>
                <a:gd name="csX24" fmla="*/ 2202961 w 4238739"/>
                <a:gd name="csY24" fmla="*/ 3863874 h 4572000"/>
                <a:gd name="csX25" fmla="*/ 2208876 w 4238739"/>
                <a:gd name="csY25" fmla="*/ 3863807 h 4572000"/>
                <a:gd name="csX26" fmla="*/ 3823430 w 4238739"/>
                <a:gd name="csY26" fmla="*/ 2781252 h 4572000"/>
                <a:gd name="csX27" fmla="*/ 3910051 w 4238739"/>
                <a:gd name="csY27" fmla="*/ 2899877 h 4572000"/>
                <a:gd name="csX28" fmla="*/ 3967953 w 4238739"/>
                <a:gd name="csY28" fmla="*/ 2887618 h 4572000"/>
                <a:gd name="csX29" fmla="*/ 4110552 w 4238739"/>
                <a:gd name="csY29" fmla="*/ 3030207 h 4572000"/>
                <a:gd name="csX30" fmla="*/ 4110476 w 4238739"/>
                <a:gd name="csY30" fmla="*/ 3034789 h 4572000"/>
                <a:gd name="csX31" fmla="*/ 4110552 w 4238739"/>
                <a:gd name="csY31" fmla="*/ 3034789 h 4572000"/>
                <a:gd name="csX32" fmla="*/ 4238740 w 4238739"/>
                <a:gd name="csY32" fmla="*/ 3162967 h 4572000"/>
                <a:gd name="csX33" fmla="*/ 4110552 w 4238739"/>
                <a:gd name="csY33" fmla="*/ 3291154 h 4572000"/>
                <a:gd name="csX34" fmla="*/ 4109761 w 4238739"/>
                <a:gd name="csY34" fmla="*/ 3291154 h 4572000"/>
                <a:gd name="csX35" fmla="*/ 4110552 w 4238739"/>
                <a:gd name="csY35" fmla="*/ 3306232 h 4572000"/>
                <a:gd name="csX36" fmla="*/ 3967953 w 4238739"/>
                <a:gd name="csY36" fmla="*/ 3448831 h 4572000"/>
                <a:gd name="csX37" fmla="*/ 3964134 w 4238739"/>
                <a:gd name="csY37" fmla="*/ 3448774 h 4572000"/>
                <a:gd name="csX38" fmla="*/ 3964134 w 4238739"/>
                <a:gd name="csY38" fmla="*/ 3448831 h 4572000"/>
                <a:gd name="csX39" fmla="*/ 3839299 w 4238739"/>
                <a:gd name="csY39" fmla="*/ 3573666 h 4572000"/>
                <a:gd name="csX40" fmla="*/ 3740125 w 4238739"/>
                <a:gd name="csY40" fmla="*/ 3524612 h 4572000"/>
                <a:gd name="csX41" fmla="*/ 3640950 w 4238739"/>
                <a:gd name="csY41" fmla="*/ 3573666 h 4572000"/>
                <a:gd name="csX42" fmla="*/ 3516116 w 4238739"/>
                <a:gd name="csY42" fmla="*/ 3448831 h 4572000"/>
                <a:gd name="csX43" fmla="*/ 3516116 w 4238739"/>
                <a:gd name="csY43" fmla="*/ 3448774 h 4572000"/>
                <a:gd name="csX44" fmla="*/ 3512296 w 4238739"/>
                <a:gd name="csY44" fmla="*/ 3448831 h 4572000"/>
                <a:gd name="csX45" fmla="*/ 3373717 w 4238739"/>
                <a:gd name="csY45" fmla="*/ 3339951 h 4572000"/>
                <a:gd name="csX46" fmla="*/ 3446659 w 4238739"/>
                <a:gd name="csY46" fmla="*/ 3237595 h 4572000"/>
                <a:gd name="csX47" fmla="*/ 3646770 w 4238739"/>
                <a:gd name="csY47" fmla="*/ 3026312 h 4572000"/>
                <a:gd name="csX48" fmla="*/ 3823430 w 4238739"/>
                <a:gd name="csY48" fmla="*/ 2781252 h 4572000"/>
                <a:gd name="csX49" fmla="*/ 2758507 w 4238739"/>
                <a:gd name="csY49" fmla="*/ 3121924 h 4572000"/>
                <a:gd name="csX50" fmla="*/ 2753573 w 4238739"/>
                <a:gd name="csY50" fmla="*/ 3121990 h 4572000"/>
                <a:gd name="csX51" fmla="*/ 2569483 w 4238739"/>
                <a:gd name="csY51" fmla="*/ 2937910 h 4572000"/>
                <a:gd name="csX52" fmla="*/ 2570502 w 4238739"/>
                <a:gd name="csY52" fmla="*/ 2918441 h 4572000"/>
                <a:gd name="csX53" fmla="*/ 2569483 w 4238739"/>
                <a:gd name="csY53" fmla="*/ 2918441 h 4572000"/>
                <a:gd name="csX54" fmla="*/ 2403996 w 4238739"/>
                <a:gd name="csY54" fmla="*/ 2752954 h 4572000"/>
                <a:gd name="csX55" fmla="*/ 2569483 w 4238739"/>
                <a:gd name="csY55" fmla="*/ 2587466 h 4572000"/>
                <a:gd name="csX56" fmla="*/ 2569578 w 4238739"/>
                <a:gd name="csY56" fmla="*/ 2587466 h 4572000"/>
                <a:gd name="csX57" fmla="*/ 2569483 w 4238739"/>
                <a:gd name="csY57" fmla="*/ 2581561 h 4572000"/>
                <a:gd name="csX58" fmla="*/ 2753573 w 4238739"/>
                <a:gd name="csY58" fmla="*/ 2397471 h 4572000"/>
                <a:gd name="csX59" fmla="*/ 2828325 w 4238739"/>
                <a:gd name="csY59" fmla="*/ 2413302 h 4572000"/>
                <a:gd name="csX60" fmla="*/ 3047695 w 4238739"/>
                <a:gd name="csY60" fmla="*/ 2225212 h 4572000"/>
                <a:gd name="csX61" fmla="*/ 3267075 w 4238739"/>
                <a:gd name="csY61" fmla="*/ 2413302 h 4572000"/>
                <a:gd name="csX62" fmla="*/ 3341827 w 4238739"/>
                <a:gd name="csY62" fmla="*/ 2397471 h 4572000"/>
                <a:gd name="csX63" fmla="*/ 3525917 w 4238739"/>
                <a:gd name="csY63" fmla="*/ 2581561 h 4572000"/>
                <a:gd name="csX64" fmla="*/ 3525822 w 4238739"/>
                <a:gd name="csY64" fmla="*/ 2587466 h 4572000"/>
                <a:gd name="csX65" fmla="*/ 3525917 w 4238739"/>
                <a:gd name="csY65" fmla="*/ 2587466 h 4572000"/>
                <a:gd name="csX66" fmla="*/ 3691404 w 4238739"/>
                <a:gd name="csY66" fmla="*/ 2752954 h 4572000"/>
                <a:gd name="csX67" fmla="*/ 3525917 w 4238739"/>
                <a:gd name="csY67" fmla="*/ 2918441 h 4572000"/>
                <a:gd name="csX68" fmla="*/ 3524898 w 4238739"/>
                <a:gd name="csY68" fmla="*/ 2918441 h 4572000"/>
                <a:gd name="csX69" fmla="*/ 3525917 w 4238739"/>
                <a:gd name="csY69" fmla="*/ 2937910 h 4572000"/>
                <a:gd name="csX70" fmla="*/ 3341827 w 4238739"/>
                <a:gd name="csY70" fmla="*/ 3121990 h 4572000"/>
                <a:gd name="csX71" fmla="*/ 3336893 w 4238739"/>
                <a:gd name="csY71" fmla="*/ 3121924 h 4572000"/>
                <a:gd name="csX72" fmla="*/ 3336893 w 4238739"/>
                <a:gd name="csY72" fmla="*/ 3121990 h 4572000"/>
                <a:gd name="csX73" fmla="*/ 3175740 w 4238739"/>
                <a:gd name="csY73" fmla="*/ 3283153 h 4572000"/>
                <a:gd name="csX74" fmla="*/ 3047695 w 4238739"/>
                <a:gd name="csY74" fmla="*/ 3219831 h 4572000"/>
                <a:gd name="csX75" fmla="*/ 2919660 w 4238739"/>
                <a:gd name="csY75" fmla="*/ 3283153 h 4572000"/>
                <a:gd name="csX76" fmla="*/ 2758507 w 4238739"/>
                <a:gd name="csY76" fmla="*/ 3121990 h 4572000"/>
                <a:gd name="csX77" fmla="*/ 1930556 w 4238739"/>
                <a:gd name="csY77" fmla="*/ 3625263 h 4572000"/>
                <a:gd name="csX78" fmla="*/ 1927336 w 4238739"/>
                <a:gd name="csY78" fmla="*/ 3625310 h 4572000"/>
                <a:gd name="csX79" fmla="*/ 1807150 w 4238739"/>
                <a:gd name="csY79" fmla="*/ 3505114 h 4572000"/>
                <a:gd name="csX80" fmla="*/ 1807816 w 4238739"/>
                <a:gd name="csY80" fmla="*/ 3492408 h 4572000"/>
                <a:gd name="csX81" fmla="*/ 1807150 w 4238739"/>
                <a:gd name="csY81" fmla="*/ 3492408 h 4572000"/>
                <a:gd name="csX82" fmla="*/ 1699108 w 4238739"/>
                <a:gd name="csY82" fmla="*/ 3384366 h 4572000"/>
                <a:gd name="csX83" fmla="*/ 1807150 w 4238739"/>
                <a:gd name="csY83" fmla="*/ 3276324 h 4572000"/>
                <a:gd name="csX84" fmla="*/ 1807207 w 4238739"/>
                <a:gd name="csY84" fmla="*/ 3276324 h 4572000"/>
                <a:gd name="csX85" fmla="*/ 1807150 w 4238739"/>
                <a:gd name="csY85" fmla="*/ 3272466 h 4572000"/>
                <a:gd name="csX86" fmla="*/ 1927336 w 4238739"/>
                <a:gd name="csY86" fmla="*/ 3152270 h 4572000"/>
                <a:gd name="csX87" fmla="*/ 1976142 w 4238739"/>
                <a:gd name="csY87" fmla="*/ 3162614 h 4572000"/>
                <a:gd name="csX88" fmla="*/ 2119370 w 4238739"/>
                <a:gd name="csY88" fmla="*/ 3039809 h 4572000"/>
                <a:gd name="csX89" fmla="*/ 2262597 w 4238739"/>
                <a:gd name="csY89" fmla="*/ 3162614 h 4572000"/>
                <a:gd name="csX90" fmla="*/ 2311403 w 4238739"/>
                <a:gd name="csY90" fmla="*/ 3152270 h 4572000"/>
                <a:gd name="csX91" fmla="*/ 2431590 w 4238739"/>
                <a:gd name="csY91" fmla="*/ 3272466 h 4572000"/>
                <a:gd name="csX92" fmla="*/ 2431533 w 4238739"/>
                <a:gd name="csY92" fmla="*/ 3276324 h 4572000"/>
                <a:gd name="csX93" fmla="*/ 2431590 w 4238739"/>
                <a:gd name="csY93" fmla="*/ 3276324 h 4572000"/>
                <a:gd name="csX94" fmla="*/ 2539632 w 4238739"/>
                <a:gd name="csY94" fmla="*/ 3384366 h 4572000"/>
                <a:gd name="csX95" fmla="*/ 2431590 w 4238739"/>
                <a:gd name="csY95" fmla="*/ 3492408 h 4572000"/>
                <a:gd name="csX96" fmla="*/ 2430923 w 4238739"/>
                <a:gd name="csY96" fmla="*/ 3492408 h 4572000"/>
                <a:gd name="csX97" fmla="*/ 2431590 w 4238739"/>
                <a:gd name="csY97" fmla="*/ 3505114 h 4572000"/>
                <a:gd name="csX98" fmla="*/ 2311403 w 4238739"/>
                <a:gd name="csY98" fmla="*/ 3625310 h 4572000"/>
                <a:gd name="csX99" fmla="*/ 2308184 w 4238739"/>
                <a:gd name="csY99" fmla="*/ 3625263 h 4572000"/>
                <a:gd name="csX100" fmla="*/ 2308184 w 4238739"/>
                <a:gd name="csY100" fmla="*/ 3625310 h 4572000"/>
                <a:gd name="csX101" fmla="*/ 2202961 w 4238739"/>
                <a:gd name="csY101" fmla="*/ 3730524 h 4572000"/>
                <a:gd name="csX102" fmla="*/ 2119370 w 4238739"/>
                <a:gd name="csY102" fmla="*/ 3689185 h 4572000"/>
                <a:gd name="csX103" fmla="*/ 2035778 w 4238739"/>
                <a:gd name="csY103" fmla="*/ 3730524 h 4572000"/>
                <a:gd name="csX104" fmla="*/ 1930556 w 4238739"/>
                <a:gd name="csY104" fmla="*/ 3625310 h 4572000"/>
                <a:gd name="csX105" fmla="*/ 163430 w 4238739"/>
                <a:gd name="csY105" fmla="*/ 3803533 h 4572000"/>
                <a:gd name="csX106" fmla="*/ 317811 w 4238739"/>
                <a:gd name="csY106" fmla="*/ 2498884 h 4572000"/>
                <a:gd name="csX107" fmla="*/ 354168 w 4238739"/>
                <a:gd name="csY107" fmla="*/ 2501589 h 4572000"/>
                <a:gd name="csX108" fmla="*/ 890340 w 4238739"/>
                <a:gd name="csY108" fmla="*/ 2501589 h 4572000"/>
                <a:gd name="csX109" fmla="*/ 926687 w 4238739"/>
                <a:gd name="csY109" fmla="*/ 2498884 h 4572000"/>
                <a:gd name="csX110" fmla="*/ 1081078 w 4238739"/>
                <a:gd name="csY110" fmla="*/ 3803533 h 4572000"/>
                <a:gd name="csX111" fmla="*/ 890340 w 4238739"/>
                <a:gd name="csY111" fmla="*/ 1981667 h 4572000"/>
                <a:gd name="csX112" fmla="*/ 968578 w 4238739"/>
                <a:gd name="csY112" fmla="*/ 2013337 h 4572000"/>
                <a:gd name="csX113" fmla="*/ 1000992 w 4238739"/>
                <a:gd name="csY113" fmla="*/ 2089795 h 4572000"/>
                <a:gd name="csX114" fmla="*/ 1000992 w 4238739"/>
                <a:gd name="csY114" fmla="*/ 2260102 h 4572000"/>
                <a:gd name="csX115" fmla="*/ 968578 w 4238739"/>
                <a:gd name="csY115" fmla="*/ 2336568 h 4572000"/>
                <a:gd name="csX116" fmla="*/ 890340 w 4238739"/>
                <a:gd name="csY116" fmla="*/ 2368239 h 4572000"/>
                <a:gd name="csX117" fmla="*/ 354168 w 4238739"/>
                <a:gd name="csY117" fmla="*/ 2368239 h 4572000"/>
                <a:gd name="csX118" fmla="*/ 275920 w 4238739"/>
                <a:gd name="csY118" fmla="*/ 2336568 h 4572000"/>
                <a:gd name="csX119" fmla="*/ 243516 w 4238739"/>
                <a:gd name="csY119" fmla="*/ 2260102 h 4572000"/>
                <a:gd name="csX120" fmla="*/ 243516 w 4238739"/>
                <a:gd name="csY120" fmla="*/ 2089795 h 4572000"/>
                <a:gd name="csX121" fmla="*/ 275920 w 4238739"/>
                <a:gd name="csY121" fmla="*/ 2013337 h 4572000"/>
                <a:gd name="csX122" fmla="*/ 354168 w 4238739"/>
                <a:gd name="csY122" fmla="*/ 1981667 h 4572000"/>
                <a:gd name="csX123" fmla="*/ 1098928 w 4238739"/>
                <a:gd name="csY123" fmla="*/ 3936883 h 4572000"/>
                <a:gd name="csX124" fmla="*/ 1201865 w 4238739"/>
                <a:gd name="csY124" fmla="*/ 3978545 h 4572000"/>
                <a:gd name="csX125" fmla="*/ 1244498 w 4238739"/>
                <a:gd name="csY125" fmla="*/ 4079139 h 4572000"/>
                <a:gd name="csX126" fmla="*/ 1244498 w 4238739"/>
                <a:gd name="csY126" fmla="*/ 4572000 h 4572000"/>
                <a:gd name="csX127" fmla="*/ 0 w 4238739"/>
                <a:gd name="csY127" fmla="*/ 4572000 h 4572000"/>
                <a:gd name="csX128" fmla="*/ 0 w 4238739"/>
                <a:gd name="csY128" fmla="*/ 4079139 h 4572000"/>
                <a:gd name="csX129" fmla="*/ 42643 w 4238739"/>
                <a:gd name="csY129" fmla="*/ 3978545 h 4572000"/>
                <a:gd name="csX130" fmla="*/ 145571 w 4238739"/>
                <a:gd name="csY130" fmla="*/ 3936883 h 4572000"/>
                <a:gd name="csX131" fmla="*/ 546573 w 4238739"/>
                <a:gd name="csY131" fmla="*/ 1695450 h 4572000"/>
                <a:gd name="csX132" fmla="*/ 357607 w 4238739"/>
                <a:gd name="csY132" fmla="*/ 1450181 h 4572000"/>
                <a:gd name="csX133" fmla="*/ 519017 w 4238739"/>
                <a:gd name="csY133" fmla="*/ 1215523 h 4572000"/>
                <a:gd name="csX134" fmla="*/ 501396 w 4238739"/>
                <a:gd name="csY134" fmla="*/ 1102976 h 4572000"/>
                <a:gd name="csX135" fmla="*/ 993734 w 4238739"/>
                <a:gd name="csY135" fmla="*/ 583825 h 4572000"/>
                <a:gd name="csX136" fmla="*/ 2025453 w 4238739"/>
                <a:gd name="csY136" fmla="*/ 0 h 4572000"/>
                <a:gd name="csX137" fmla="*/ 3025121 w 4238739"/>
                <a:gd name="csY137" fmla="*/ 456124 h 4572000"/>
                <a:gd name="csX138" fmla="*/ 3523145 w 4238739"/>
                <a:gd name="csY138" fmla="*/ 1015222 h 4572000"/>
                <a:gd name="csX139" fmla="*/ 3466776 w 4238739"/>
                <a:gd name="csY139" fmla="*/ 1236631 h 4572000"/>
                <a:gd name="csX140" fmla="*/ 3802475 w 4238739"/>
                <a:gd name="csY140" fmla="*/ 1551775 h 4572000"/>
                <a:gd name="csX141" fmla="*/ 3303870 w 4238739"/>
                <a:gd name="csY141" fmla="*/ 1885150 h 4572000"/>
                <a:gd name="csX142" fmla="*/ 2987964 w 4238739"/>
                <a:gd name="csY142" fmla="*/ 1809636 h 4572000"/>
                <a:gd name="csX143" fmla="*/ 2320785 w 4238739"/>
                <a:gd name="csY143" fmla="*/ 2059381 h 4572000"/>
                <a:gd name="csX144" fmla="*/ 1598162 w 4238739"/>
                <a:gd name="csY144" fmla="*/ 1711014 h 4572000"/>
                <a:gd name="csX145" fmla="*/ 1534001 w 4238739"/>
                <a:gd name="csY145" fmla="*/ 1712176 h 4572000"/>
                <a:gd name="csX146" fmla="*/ 892026 w 4238739"/>
                <a:gd name="csY146" fmla="*/ 1580017 h 4572000"/>
                <a:gd name="csX147" fmla="*/ 717756 w 4238739"/>
                <a:gd name="csY147" fmla="*/ 1702108 h 4572000"/>
                <a:gd name="csX148" fmla="*/ 553765 w 4238739"/>
                <a:gd name="csY148" fmla="*/ 1810922 h 4572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Lst>
              <a:rect l="l" t="t" r="r" b="b"/>
              <a:pathLst>
                <a:path w="4238739" h="4572000">
                  <a:moveTo>
                    <a:pt x="3828888" y="3706806"/>
                  </a:moveTo>
                  <a:lnTo>
                    <a:pt x="3828888" y="4442432"/>
                  </a:lnTo>
                  <a:cubicBezTo>
                    <a:pt x="3827155" y="4511374"/>
                    <a:pt x="3868074" y="4555188"/>
                    <a:pt x="3920100" y="4572000"/>
                  </a:cubicBezTo>
                  <a:lnTo>
                    <a:pt x="3560150" y="4572000"/>
                  </a:lnTo>
                  <a:cubicBezTo>
                    <a:pt x="3612175" y="4555188"/>
                    <a:pt x="3653095" y="4511374"/>
                    <a:pt x="3651361" y="4442432"/>
                  </a:cubicBezTo>
                  <a:lnTo>
                    <a:pt x="3651361" y="3706806"/>
                  </a:lnTo>
                  <a:cubicBezTo>
                    <a:pt x="3682708" y="3705559"/>
                    <a:pt x="3712616" y="3698719"/>
                    <a:pt x="3740134" y="3687261"/>
                  </a:cubicBezTo>
                  <a:cubicBezTo>
                    <a:pt x="3767633" y="3698719"/>
                    <a:pt x="3797551" y="3705559"/>
                    <a:pt x="3828888" y="3706806"/>
                  </a:cubicBezTo>
                  <a:close/>
                  <a:moveTo>
                    <a:pt x="3162291" y="3416199"/>
                  </a:moveTo>
                  <a:lnTo>
                    <a:pt x="3162291" y="4404732"/>
                  </a:lnTo>
                  <a:cubicBezTo>
                    <a:pt x="3160052" y="4493733"/>
                    <a:pt x="3212878" y="4550302"/>
                    <a:pt x="3280048" y="4572000"/>
                  </a:cubicBezTo>
                  <a:lnTo>
                    <a:pt x="2815352" y="4572000"/>
                  </a:lnTo>
                  <a:cubicBezTo>
                    <a:pt x="2882522" y="4550302"/>
                    <a:pt x="2935348" y="4493733"/>
                    <a:pt x="2933110" y="4404732"/>
                  </a:cubicBezTo>
                  <a:lnTo>
                    <a:pt x="2933110" y="3416199"/>
                  </a:lnTo>
                  <a:cubicBezTo>
                    <a:pt x="2974029" y="3414360"/>
                    <a:pt x="3012786" y="3404159"/>
                    <a:pt x="3047705" y="3387271"/>
                  </a:cubicBezTo>
                  <a:cubicBezTo>
                    <a:pt x="3082614" y="3404159"/>
                    <a:pt x="3121371" y="3414360"/>
                    <a:pt x="3162291" y="3416199"/>
                  </a:cubicBezTo>
                  <a:close/>
                  <a:moveTo>
                    <a:pt x="2208876" y="3863807"/>
                  </a:moveTo>
                  <a:lnTo>
                    <a:pt x="2208876" y="4462796"/>
                  </a:lnTo>
                  <a:cubicBezTo>
                    <a:pt x="2207124" y="4520899"/>
                    <a:pt x="2248386" y="4557827"/>
                    <a:pt x="2300850" y="4572000"/>
                  </a:cubicBezTo>
                  <a:lnTo>
                    <a:pt x="1937890" y="4572000"/>
                  </a:lnTo>
                  <a:cubicBezTo>
                    <a:pt x="1990354" y="4557827"/>
                    <a:pt x="2031616" y="4520899"/>
                    <a:pt x="2029863" y="4462796"/>
                  </a:cubicBezTo>
                  <a:lnTo>
                    <a:pt x="2029863" y="3863807"/>
                  </a:lnTo>
                  <a:cubicBezTo>
                    <a:pt x="2031835" y="3863854"/>
                    <a:pt x="2033797" y="3863874"/>
                    <a:pt x="2035778" y="3863874"/>
                  </a:cubicBezTo>
                  <a:cubicBezTo>
                    <a:pt x="2065182" y="3863874"/>
                    <a:pt x="2093357" y="3858549"/>
                    <a:pt x="2119379" y="3848815"/>
                  </a:cubicBezTo>
                  <a:cubicBezTo>
                    <a:pt x="2145382" y="3858549"/>
                    <a:pt x="2173557" y="3863874"/>
                    <a:pt x="2202961" y="3863874"/>
                  </a:cubicBezTo>
                  <a:cubicBezTo>
                    <a:pt x="2204942" y="3863874"/>
                    <a:pt x="2206905" y="3863854"/>
                    <a:pt x="2208876" y="3863807"/>
                  </a:cubicBezTo>
                  <a:close/>
                  <a:moveTo>
                    <a:pt x="3823430" y="2781252"/>
                  </a:moveTo>
                  <a:cubicBezTo>
                    <a:pt x="3860330" y="2806646"/>
                    <a:pt x="3890734" y="2848375"/>
                    <a:pt x="3910051" y="2899877"/>
                  </a:cubicBezTo>
                  <a:cubicBezTo>
                    <a:pt x="3927748" y="2892000"/>
                    <a:pt x="3947341" y="2887618"/>
                    <a:pt x="3967953" y="2887618"/>
                  </a:cubicBezTo>
                  <a:cubicBezTo>
                    <a:pt x="4046658" y="2887618"/>
                    <a:pt x="4110552" y="2951512"/>
                    <a:pt x="4110552" y="3030207"/>
                  </a:cubicBezTo>
                  <a:cubicBezTo>
                    <a:pt x="4110552" y="3031741"/>
                    <a:pt x="4110524" y="3033265"/>
                    <a:pt x="4110476" y="3034789"/>
                  </a:cubicBezTo>
                  <a:lnTo>
                    <a:pt x="4110552" y="3034789"/>
                  </a:lnTo>
                  <a:cubicBezTo>
                    <a:pt x="4181294" y="3034789"/>
                    <a:pt x="4238740" y="3092225"/>
                    <a:pt x="4238740" y="3162967"/>
                  </a:cubicBezTo>
                  <a:cubicBezTo>
                    <a:pt x="4238740" y="3233718"/>
                    <a:pt x="4181294" y="3291154"/>
                    <a:pt x="4110552" y="3291154"/>
                  </a:cubicBezTo>
                  <a:cubicBezTo>
                    <a:pt x="4110285" y="3291154"/>
                    <a:pt x="4110019" y="3291154"/>
                    <a:pt x="4109761" y="3291154"/>
                  </a:cubicBezTo>
                  <a:cubicBezTo>
                    <a:pt x="4110285" y="3296107"/>
                    <a:pt x="4110552" y="3301146"/>
                    <a:pt x="4110552" y="3306232"/>
                  </a:cubicBezTo>
                  <a:cubicBezTo>
                    <a:pt x="4110552" y="3384937"/>
                    <a:pt x="4046658" y="3448831"/>
                    <a:pt x="3967953" y="3448831"/>
                  </a:cubicBezTo>
                  <a:cubicBezTo>
                    <a:pt x="3966677" y="3448831"/>
                    <a:pt x="3965410" y="3448812"/>
                    <a:pt x="3964134" y="3448774"/>
                  </a:cubicBezTo>
                  <a:lnTo>
                    <a:pt x="3964134" y="3448831"/>
                  </a:lnTo>
                  <a:cubicBezTo>
                    <a:pt x="3964134" y="3517726"/>
                    <a:pt x="3908203" y="3573666"/>
                    <a:pt x="3839299" y="3573666"/>
                  </a:cubicBezTo>
                  <a:cubicBezTo>
                    <a:pt x="3798894" y="3573666"/>
                    <a:pt x="3762946" y="3554425"/>
                    <a:pt x="3740125" y="3524612"/>
                  </a:cubicBezTo>
                  <a:cubicBezTo>
                    <a:pt x="3717303" y="3554425"/>
                    <a:pt x="3681356" y="3573666"/>
                    <a:pt x="3640950" y="3573666"/>
                  </a:cubicBezTo>
                  <a:cubicBezTo>
                    <a:pt x="3572047" y="3573666"/>
                    <a:pt x="3516116" y="3517726"/>
                    <a:pt x="3516116" y="3448831"/>
                  </a:cubicBezTo>
                  <a:lnTo>
                    <a:pt x="3516116" y="3448774"/>
                  </a:lnTo>
                  <a:cubicBezTo>
                    <a:pt x="3514849" y="3448812"/>
                    <a:pt x="3513572" y="3448831"/>
                    <a:pt x="3512296" y="3448831"/>
                  </a:cubicBezTo>
                  <a:cubicBezTo>
                    <a:pt x="3445212" y="3448831"/>
                    <a:pt x="3388881" y="3402397"/>
                    <a:pt x="3373717" y="3339951"/>
                  </a:cubicBezTo>
                  <a:cubicBezTo>
                    <a:pt x="3404835" y="3311671"/>
                    <a:pt x="3429886" y="3276819"/>
                    <a:pt x="3446659" y="3237595"/>
                  </a:cubicBezTo>
                  <a:cubicBezTo>
                    <a:pt x="3542995" y="3203858"/>
                    <a:pt x="3618186" y="3124943"/>
                    <a:pt x="3646770" y="3026312"/>
                  </a:cubicBezTo>
                  <a:cubicBezTo>
                    <a:pt x="3743363" y="2983497"/>
                    <a:pt x="3813105" y="2890961"/>
                    <a:pt x="3823430" y="2781252"/>
                  </a:cubicBezTo>
                  <a:close/>
                  <a:moveTo>
                    <a:pt x="2758507" y="3121924"/>
                  </a:moveTo>
                  <a:cubicBezTo>
                    <a:pt x="2756868" y="3121971"/>
                    <a:pt x="2755221" y="3121990"/>
                    <a:pt x="2753573" y="3121990"/>
                  </a:cubicBezTo>
                  <a:cubicBezTo>
                    <a:pt x="2651970" y="3121990"/>
                    <a:pt x="2569483" y="3039504"/>
                    <a:pt x="2569483" y="2937910"/>
                  </a:cubicBezTo>
                  <a:cubicBezTo>
                    <a:pt x="2569483" y="2931328"/>
                    <a:pt x="2569826" y="2924832"/>
                    <a:pt x="2570502" y="2918441"/>
                  </a:cubicBezTo>
                  <a:cubicBezTo>
                    <a:pt x="2570169" y="2918441"/>
                    <a:pt x="2569826" y="2918441"/>
                    <a:pt x="2569483" y="2918441"/>
                  </a:cubicBezTo>
                  <a:cubicBezTo>
                    <a:pt x="2478148" y="2918441"/>
                    <a:pt x="2403996" y="2844289"/>
                    <a:pt x="2403996" y="2752954"/>
                  </a:cubicBezTo>
                  <a:cubicBezTo>
                    <a:pt x="2403996" y="2661618"/>
                    <a:pt x="2478148" y="2587466"/>
                    <a:pt x="2569483" y="2587466"/>
                  </a:cubicBezTo>
                  <a:lnTo>
                    <a:pt x="2569578" y="2587466"/>
                  </a:lnTo>
                  <a:cubicBezTo>
                    <a:pt x="2569512" y="2585504"/>
                    <a:pt x="2569483" y="2583533"/>
                    <a:pt x="2569483" y="2581561"/>
                  </a:cubicBezTo>
                  <a:cubicBezTo>
                    <a:pt x="2569483" y="2479958"/>
                    <a:pt x="2651970" y="2397471"/>
                    <a:pt x="2753573" y="2397471"/>
                  </a:cubicBezTo>
                  <a:cubicBezTo>
                    <a:pt x="2780176" y="2397471"/>
                    <a:pt x="2805475" y="2403129"/>
                    <a:pt x="2828325" y="2413302"/>
                  </a:cubicBezTo>
                  <a:cubicBezTo>
                    <a:pt x="2870311" y="2301383"/>
                    <a:pt x="2952845" y="2225212"/>
                    <a:pt x="3047695" y="2225212"/>
                  </a:cubicBezTo>
                  <a:cubicBezTo>
                    <a:pt x="3142555" y="2225212"/>
                    <a:pt x="3225089" y="2301383"/>
                    <a:pt x="3267075" y="2413302"/>
                  </a:cubicBezTo>
                  <a:cubicBezTo>
                    <a:pt x="3289916" y="2403129"/>
                    <a:pt x="3315215" y="2397471"/>
                    <a:pt x="3341827" y="2397471"/>
                  </a:cubicBezTo>
                  <a:cubicBezTo>
                    <a:pt x="3443431" y="2397471"/>
                    <a:pt x="3525917" y="2479958"/>
                    <a:pt x="3525917" y="2581561"/>
                  </a:cubicBezTo>
                  <a:cubicBezTo>
                    <a:pt x="3525917" y="2583533"/>
                    <a:pt x="3525879" y="2585504"/>
                    <a:pt x="3525822" y="2587466"/>
                  </a:cubicBezTo>
                  <a:lnTo>
                    <a:pt x="3525917" y="2587466"/>
                  </a:lnTo>
                  <a:cubicBezTo>
                    <a:pt x="3617252" y="2587466"/>
                    <a:pt x="3691404" y="2661618"/>
                    <a:pt x="3691404" y="2752954"/>
                  </a:cubicBezTo>
                  <a:cubicBezTo>
                    <a:pt x="3691404" y="2844289"/>
                    <a:pt x="3617252" y="2918441"/>
                    <a:pt x="3525917" y="2918441"/>
                  </a:cubicBezTo>
                  <a:cubicBezTo>
                    <a:pt x="3525574" y="2918441"/>
                    <a:pt x="3525231" y="2918441"/>
                    <a:pt x="3524898" y="2918441"/>
                  </a:cubicBezTo>
                  <a:cubicBezTo>
                    <a:pt x="3525564" y="2924832"/>
                    <a:pt x="3525917" y="2931328"/>
                    <a:pt x="3525917" y="2937910"/>
                  </a:cubicBezTo>
                  <a:cubicBezTo>
                    <a:pt x="3525917" y="3039504"/>
                    <a:pt x="3443431" y="3121990"/>
                    <a:pt x="3341827" y="3121990"/>
                  </a:cubicBezTo>
                  <a:cubicBezTo>
                    <a:pt x="3340180" y="3121990"/>
                    <a:pt x="3338532" y="3121971"/>
                    <a:pt x="3336893" y="3121924"/>
                  </a:cubicBezTo>
                  <a:lnTo>
                    <a:pt x="3336893" y="3121990"/>
                  </a:lnTo>
                  <a:cubicBezTo>
                    <a:pt x="3336893" y="3210935"/>
                    <a:pt x="3264684" y="3283153"/>
                    <a:pt x="3175740" y="3283153"/>
                  </a:cubicBezTo>
                  <a:cubicBezTo>
                    <a:pt x="3123572" y="3283153"/>
                    <a:pt x="3077166" y="3258312"/>
                    <a:pt x="3047695" y="3219831"/>
                  </a:cubicBezTo>
                  <a:cubicBezTo>
                    <a:pt x="3018234" y="3258312"/>
                    <a:pt x="2971829" y="3283153"/>
                    <a:pt x="2919660" y="3283153"/>
                  </a:cubicBezTo>
                  <a:cubicBezTo>
                    <a:pt x="2830716" y="3283153"/>
                    <a:pt x="2758507" y="3210935"/>
                    <a:pt x="2758507" y="3121990"/>
                  </a:cubicBezTo>
                  <a:close/>
                  <a:moveTo>
                    <a:pt x="1930556" y="3625263"/>
                  </a:moveTo>
                  <a:cubicBezTo>
                    <a:pt x="1929489" y="3625291"/>
                    <a:pt x="1928412" y="3625310"/>
                    <a:pt x="1927336" y="3625310"/>
                  </a:cubicBezTo>
                  <a:cubicBezTo>
                    <a:pt x="1861004" y="3625310"/>
                    <a:pt x="1807150" y="3571456"/>
                    <a:pt x="1807150" y="3505114"/>
                  </a:cubicBezTo>
                  <a:cubicBezTo>
                    <a:pt x="1807150" y="3500828"/>
                    <a:pt x="1807378" y="3496590"/>
                    <a:pt x="1807816" y="3492408"/>
                  </a:cubicBezTo>
                  <a:cubicBezTo>
                    <a:pt x="1807588" y="3492408"/>
                    <a:pt x="1807369" y="3492408"/>
                    <a:pt x="1807150" y="3492408"/>
                  </a:cubicBezTo>
                  <a:cubicBezTo>
                    <a:pt x="1747514" y="3492408"/>
                    <a:pt x="1699108" y="3444002"/>
                    <a:pt x="1699108" y="3384366"/>
                  </a:cubicBezTo>
                  <a:cubicBezTo>
                    <a:pt x="1699108" y="3324730"/>
                    <a:pt x="1747514" y="3276324"/>
                    <a:pt x="1807150" y="3276324"/>
                  </a:cubicBezTo>
                  <a:lnTo>
                    <a:pt x="1807207" y="3276324"/>
                  </a:lnTo>
                  <a:cubicBezTo>
                    <a:pt x="1807169" y="3275038"/>
                    <a:pt x="1807150" y="3273752"/>
                    <a:pt x="1807150" y="3272466"/>
                  </a:cubicBezTo>
                  <a:cubicBezTo>
                    <a:pt x="1807150" y="3206125"/>
                    <a:pt x="1861004" y="3152270"/>
                    <a:pt x="1927336" y="3152270"/>
                  </a:cubicBezTo>
                  <a:cubicBezTo>
                    <a:pt x="1944710" y="3152270"/>
                    <a:pt x="1961226" y="3155966"/>
                    <a:pt x="1976142" y="3162614"/>
                  </a:cubicBezTo>
                  <a:cubicBezTo>
                    <a:pt x="2003555" y="3089539"/>
                    <a:pt x="2057438" y="3039809"/>
                    <a:pt x="2119370" y="3039809"/>
                  </a:cubicBezTo>
                  <a:cubicBezTo>
                    <a:pt x="2181301" y="3039809"/>
                    <a:pt x="2235184" y="3089539"/>
                    <a:pt x="2262597" y="3162614"/>
                  </a:cubicBezTo>
                  <a:cubicBezTo>
                    <a:pt x="2277513" y="3155966"/>
                    <a:pt x="2294030" y="3152270"/>
                    <a:pt x="2311403" y="3152270"/>
                  </a:cubicBezTo>
                  <a:cubicBezTo>
                    <a:pt x="2377735" y="3152270"/>
                    <a:pt x="2431590" y="3206125"/>
                    <a:pt x="2431590" y="3272466"/>
                  </a:cubicBezTo>
                  <a:cubicBezTo>
                    <a:pt x="2431590" y="3273752"/>
                    <a:pt x="2431571" y="3275038"/>
                    <a:pt x="2431533" y="3276324"/>
                  </a:cubicBezTo>
                  <a:lnTo>
                    <a:pt x="2431590" y="3276324"/>
                  </a:lnTo>
                  <a:cubicBezTo>
                    <a:pt x="2491226" y="3276324"/>
                    <a:pt x="2539632" y="3324730"/>
                    <a:pt x="2539632" y="3384366"/>
                  </a:cubicBezTo>
                  <a:cubicBezTo>
                    <a:pt x="2539632" y="3444002"/>
                    <a:pt x="2491226" y="3492408"/>
                    <a:pt x="2431590" y="3492408"/>
                  </a:cubicBezTo>
                  <a:cubicBezTo>
                    <a:pt x="2431371" y="3492408"/>
                    <a:pt x="2431152" y="3492408"/>
                    <a:pt x="2430923" y="3492408"/>
                  </a:cubicBezTo>
                  <a:cubicBezTo>
                    <a:pt x="2431361" y="3496590"/>
                    <a:pt x="2431590" y="3500828"/>
                    <a:pt x="2431590" y="3505114"/>
                  </a:cubicBezTo>
                  <a:cubicBezTo>
                    <a:pt x="2431590" y="3571456"/>
                    <a:pt x="2377735" y="3625310"/>
                    <a:pt x="2311403" y="3625310"/>
                  </a:cubicBezTo>
                  <a:cubicBezTo>
                    <a:pt x="2310327" y="3625310"/>
                    <a:pt x="2309251" y="3625291"/>
                    <a:pt x="2308184" y="3625263"/>
                  </a:cubicBezTo>
                  <a:lnTo>
                    <a:pt x="2308184" y="3625310"/>
                  </a:lnTo>
                  <a:cubicBezTo>
                    <a:pt x="2308184" y="3683375"/>
                    <a:pt x="2261035" y="3730524"/>
                    <a:pt x="2202961" y="3730524"/>
                  </a:cubicBezTo>
                  <a:cubicBezTo>
                    <a:pt x="2168909" y="3730524"/>
                    <a:pt x="2138610" y="3714312"/>
                    <a:pt x="2119370" y="3689185"/>
                  </a:cubicBezTo>
                  <a:cubicBezTo>
                    <a:pt x="2100129" y="3714312"/>
                    <a:pt x="2069830" y="3730524"/>
                    <a:pt x="2035778" y="3730524"/>
                  </a:cubicBezTo>
                  <a:cubicBezTo>
                    <a:pt x="1977704" y="3730524"/>
                    <a:pt x="1930556" y="3683375"/>
                    <a:pt x="1930556" y="3625310"/>
                  </a:cubicBezTo>
                  <a:close/>
                  <a:moveTo>
                    <a:pt x="163430" y="3803533"/>
                  </a:moveTo>
                  <a:lnTo>
                    <a:pt x="317811" y="2498884"/>
                  </a:lnTo>
                  <a:cubicBezTo>
                    <a:pt x="329775" y="2500675"/>
                    <a:pt x="341919" y="2501589"/>
                    <a:pt x="354168" y="2501589"/>
                  </a:cubicBezTo>
                  <a:lnTo>
                    <a:pt x="890340" y="2501589"/>
                  </a:lnTo>
                  <a:cubicBezTo>
                    <a:pt x="902589" y="2501589"/>
                    <a:pt x="914733" y="2500675"/>
                    <a:pt x="926687" y="2498884"/>
                  </a:cubicBezTo>
                  <a:lnTo>
                    <a:pt x="1081078" y="3803533"/>
                  </a:lnTo>
                  <a:close/>
                  <a:moveTo>
                    <a:pt x="890340" y="1981667"/>
                  </a:moveTo>
                  <a:cubicBezTo>
                    <a:pt x="919686" y="1981667"/>
                    <a:pt x="947833" y="1993059"/>
                    <a:pt x="968578" y="2013337"/>
                  </a:cubicBezTo>
                  <a:cubicBezTo>
                    <a:pt x="989333" y="2033616"/>
                    <a:pt x="1000992" y="2061115"/>
                    <a:pt x="1000992" y="2089795"/>
                  </a:cubicBezTo>
                  <a:lnTo>
                    <a:pt x="1000992" y="2260102"/>
                  </a:lnTo>
                  <a:cubicBezTo>
                    <a:pt x="1000992" y="2288781"/>
                    <a:pt x="989333" y="2316290"/>
                    <a:pt x="968578" y="2336568"/>
                  </a:cubicBezTo>
                  <a:cubicBezTo>
                    <a:pt x="947833" y="2356847"/>
                    <a:pt x="919686" y="2368239"/>
                    <a:pt x="890340" y="2368239"/>
                  </a:cubicBezTo>
                  <a:lnTo>
                    <a:pt x="354168" y="2368239"/>
                  </a:lnTo>
                  <a:cubicBezTo>
                    <a:pt x="324822" y="2368239"/>
                    <a:pt x="296675" y="2356847"/>
                    <a:pt x="275920" y="2336568"/>
                  </a:cubicBezTo>
                  <a:cubicBezTo>
                    <a:pt x="255175" y="2316290"/>
                    <a:pt x="243516" y="2288781"/>
                    <a:pt x="243516" y="2260102"/>
                  </a:cubicBezTo>
                  <a:lnTo>
                    <a:pt x="243516" y="2089795"/>
                  </a:lnTo>
                  <a:cubicBezTo>
                    <a:pt x="243516" y="2061115"/>
                    <a:pt x="255175" y="2033616"/>
                    <a:pt x="275920" y="2013337"/>
                  </a:cubicBezTo>
                  <a:cubicBezTo>
                    <a:pt x="296675" y="1993059"/>
                    <a:pt x="324822" y="1981667"/>
                    <a:pt x="354168" y="1981667"/>
                  </a:cubicBezTo>
                  <a:close/>
                  <a:moveTo>
                    <a:pt x="1098928" y="3936883"/>
                  </a:moveTo>
                  <a:cubicBezTo>
                    <a:pt x="1137533" y="3936883"/>
                    <a:pt x="1174566" y="3951866"/>
                    <a:pt x="1201865" y="3978545"/>
                  </a:cubicBezTo>
                  <a:cubicBezTo>
                    <a:pt x="1229163" y="4005225"/>
                    <a:pt x="1244498" y="4041410"/>
                    <a:pt x="1244498" y="4079139"/>
                  </a:cubicBezTo>
                  <a:lnTo>
                    <a:pt x="1244498" y="4572000"/>
                  </a:lnTo>
                  <a:lnTo>
                    <a:pt x="0" y="4572000"/>
                  </a:lnTo>
                  <a:lnTo>
                    <a:pt x="0" y="4079139"/>
                  </a:lnTo>
                  <a:cubicBezTo>
                    <a:pt x="0" y="4041410"/>
                    <a:pt x="15345" y="4005225"/>
                    <a:pt x="42643" y="3978545"/>
                  </a:cubicBezTo>
                  <a:cubicBezTo>
                    <a:pt x="69942" y="3951866"/>
                    <a:pt x="106966" y="3936883"/>
                    <a:pt x="145571" y="3936883"/>
                  </a:cubicBezTo>
                  <a:close/>
                  <a:moveTo>
                    <a:pt x="546573" y="1695450"/>
                  </a:moveTo>
                  <a:cubicBezTo>
                    <a:pt x="436416" y="1659150"/>
                    <a:pt x="357607" y="1562986"/>
                    <a:pt x="357607" y="1450181"/>
                  </a:cubicBezTo>
                  <a:cubicBezTo>
                    <a:pt x="357607" y="1347035"/>
                    <a:pt x="423510" y="1257795"/>
                    <a:pt x="519017" y="1215523"/>
                  </a:cubicBezTo>
                  <a:cubicBezTo>
                    <a:pt x="507444" y="1179043"/>
                    <a:pt x="501396" y="1141419"/>
                    <a:pt x="501396" y="1102976"/>
                  </a:cubicBezTo>
                  <a:cubicBezTo>
                    <a:pt x="501396" y="883558"/>
                    <a:pt x="698440" y="691086"/>
                    <a:pt x="993734" y="583825"/>
                  </a:cubicBezTo>
                  <a:cubicBezTo>
                    <a:pt x="1016318" y="259347"/>
                    <a:pt x="1469955" y="0"/>
                    <a:pt x="2025453" y="0"/>
                  </a:cubicBezTo>
                  <a:cubicBezTo>
                    <a:pt x="2505761" y="0"/>
                    <a:pt x="2909916" y="193881"/>
                    <a:pt x="3025121" y="456124"/>
                  </a:cubicBezTo>
                  <a:cubicBezTo>
                    <a:pt x="3318053" y="549850"/>
                    <a:pt x="3523145" y="765019"/>
                    <a:pt x="3523145" y="1015222"/>
                  </a:cubicBezTo>
                  <a:cubicBezTo>
                    <a:pt x="3523145" y="1093308"/>
                    <a:pt x="3503171" y="1167994"/>
                    <a:pt x="3466776" y="1236631"/>
                  </a:cubicBezTo>
                  <a:cubicBezTo>
                    <a:pt x="3662077" y="1281808"/>
                    <a:pt x="3802475" y="1405919"/>
                    <a:pt x="3802475" y="1551775"/>
                  </a:cubicBezTo>
                  <a:cubicBezTo>
                    <a:pt x="3802475" y="1735769"/>
                    <a:pt x="3579057" y="1885150"/>
                    <a:pt x="3303870" y="1885150"/>
                  </a:cubicBezTo>
                  <a:cubicBezTo>
                    <a:pt x="3184027" y="1885150"/>
                    <a:pt x="3073994" y="1856813"/>
                    <a:pt x="2987964" y="1809636"/>
                  </a:cubicBezTo>
                  <a:cubicBezTo>
                    <a:pt x="2869968" y="1957178"/>
                    <a:pt x="2615451" y="2059381"/>
                    <a:pt x="2320785" y="2059381"/>
                  </a:cubicBezTo>
                  <a:cubicBezTo>
                    <a:pt x="1964131" y="2059381"/>
                    <a:pt x="1666285" y="1909658"/>
                    <a:pt x="1598162" y="1711014"/>
                  </a:cubicBezTo>
                  <a:cubicBezTo>
                    <a:pt x="1576940" y="1711785"/>
                    <a:pt x="1555547" y="1712176"/>
                    <a:pt x="1534001" y="1712176"/>
                  </a:cubicBezTo>
                  <a:cubicBezTo>
                    <a:pt x="1291457" y="1712176"/>
                    <a:pt x="1068334" y="1662732"/>
                    <a:pt x="892026" y="1580017"/>
                  </a:cubicBezTo>
                  <a:cubicBezTo>
                    <a:pt x="854507" y="1639367"/>
                    <a:pt x="792061" y="1684030"/>
                    <a:pt x="717756" y="1702108"/>
                  </a:cubicBezTo>
                  <a:lnTo>
                    <a:pt x="553765" y="1810922"/>
                  </a:lnTo>
                  <a:close/>
                </a:path>
              </a:pathLst>
            </a:custGeom>
            <a:solidFill>
              <a:srgbClr val="2B660F"/>
            </a:solidFill>
            <a:ln w="9525" cap="flat">
              <a:noFill/>
              <a:prstDash val="solid"/>
              <a:round/>
            </a:ln>
          </p:spPr>
          <p:txBody>
            <a:bodyPr/>
            <a:lstStyle/>
            <a:p>
              <a:endParaRPr lang="en-US"/>
            </a:p>
          </p:txBody>
        </p:sp>
      </p:grpSp>
      <p:grpSp>
        <p:nvGrpSpPr>
          <p:cNvPr id="226" name="Group 225">
            <a:extLst>
              <a:ext uri="{FF2B5EF4-FFF2-40B4-BE49-F238E27FC236}">
                <a16:creationId xmlns:a16="http://schemas.microsoft.com/office/drawing/2014/main" id="{4853A38A-E072-D60A-0500-C7DB4DA0A0AA}"/>
              </a:ext>
            </a:extLst>
          </p:cNvPr>
          <p:cNvGrpSpPr/>
          <p:nvPr/>
        </p:nvGrpSpPr>
        <p:grpSpPr>
          <a:xfrm>
            <a:off x="372424" y="2189234"/>
            <a:ext cx="354334" cy="354334"/>
            <a:chOff x="372424" y="2189234"/>
            <a:chExt cx="354334" cy="354334"/>
          </a:xfrm>
        </p:grpSpPr>
        <p:sp>
          <p:nvSpPr>
            <p:cNvPr id="197" name="Oval 196">
              <a:extLst>
                <a:ext uri="{FF2B5EF4-FFF2-40B4-BE49-F238E27FC236}">
                  <a16:creationId xmlns:a16="http://schemas.microsoft.com/office/drawing/2014/main" id="{3B8D3252-5BE1-2923-FE39-C2271AD829EC}"/>
                </a:ext>
              </a:extLst>
            </p:cNvPr>
            <p:cNvSpPr/>
            <p:nvPr/>
          </p:nvSpPr>
          <p:spPr>
            <a:xfrm>
              <a:off x="372424" y="2189234"/>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8" name="Graphic 216">
              <a:extLst>
                <a:ext uri="{FF2B5EF4-FFF2-40B4-BE49-F238E27FC236}">
                  <a16:creationId xmlns:a16="http://schemas.microsoft.com/office/drawing/2014/main" id="{FF1D89BD-0EAC-D3C1-2BFF-B44B8F963004}"/>
                </a:ext>
              </a:extLst>
            </p:cNvPr>
            <p:cNvGrpSpPr/>
            <p:nvPr/>
          </p:nvGrpSpPr>
          <p:grpSpPr>
            <a:xfrm>
              <a:off x="442519" y="2259329"/>
              <a:ext cx="214144" cy="214144"/>
              <a:chOff x="3657597" y="990597"/>
              <a:chExt cx="4876805" cy="4876802"/>
            </a:xfrm>
            <a:solidFill>
              <a:srgbClr val="2B660F"/>
            </a:solidFill>
          </p:grpSpPr>
          <p:sp>
            <p:nvSpPr>
              <p:cNvPr id="219" name="Oval 218">
                <a:extLst>
                  <a:ext uri="{FF2B5EF4-FFF2-40B4-BE49-F238E27FC236}">
                    <a16:creationId xmlns:a16="http://schemas.microsoft.com/office/drawing/2014/main" id="{BB6FC591-AB86-C9C6-090C-4BF78B829644}"/>
                  </a:ext>
                </a:extLst>
              </p:cNvPr>
              <p:cNvSpPr/>
              <p:nvPr/>
            </p:nvSpPr>
            <p:spPr>
              <a:xfrm>
                <a:off x="6858000" y="3333750"/>
                <a:ext cx="914400" cy="914400"/>
              </a:xfrm>
              <a:prstGeom prst="ellipse">
                <a:avLst/>
              </a:prstGeom>
              <a:grpFill/>
              <a:ln w="38100" cap="flat">
                <a:noFill/>
                <a:prstDash val="solid"/>
                <a:miter/>
              </a:ln>
            </p:spPr>
            <p:txBody>
              <a:bodyPr/>
              <a:lstStyle/>
              <a:p>
                <a:endParaRPr lang="en-US"/>
              </a:p>
            </p:txBody>
          </p:sp>
          <p:sp>
            <p:nvSpPr>
              <p:cNvPr id="220" name="Oval 219">
                <a:extLst>
                  <a:ext uri="{FF2B5EF4-FFF2-40B4-BE49-F238E27FC236}">
                    <a16:creationId xmlns:a16="http://schemas.microsoft.com/office/drawing/2014/main" id="{04077E99-C893-43C8-3003-EE22E0A2A3E2}"/>
                  </a:ext>
                </a:extLst>
              </p:cNvPr>
              <p:cNvSpPr/>
              <p:nvPr/>
            </p:nvSpPr>
            <p:spPr>
              <a:xfrm>
                <a:off x="4419600" y="3333750"/>
                <a:ext cx="914400" cy="914400"/>
              </a:xfrm>
              <a:prstGeom prst="ellipse">
                <a:avLst/>
              </a:prstGeom>
              <a:grpFill/>
              <a:ln w="38100" cap="flat">
                <a:noFill/>
                <a:prstDash val="solid"/>
                <a:miter/>
              </a:ln>
            </p:spPr>
            <p:txBody>
              <a:bodyPr/>
              <a:lstStyle/>
              <a:p>
                <a:endParaRPr lang="en-US"/>
              </a:p>
            </p:txBody>
          </p:sp>
          <p:sp>
            <p:nvSpPr>
              <p:cNvPr id="221" name="Freeform: Shape 220">
                <a:extLst>
                  <a:ext uri="{FF2B5EF4-FFF2-40B4-BE49-F238E27FC236}">
                    <a16:creationId xmlns:a16="http://schemas.microsoft.com/office/drawing/2014/main" id="{65195B9E-5E5C-1995-10B9-26FB1BC3B000}"/>
                  </a:ext>
                </a:extLst>
              </p:cNvPr>
              <p:cNvSpPr/>
              <p:nvPr/>
            </p:nvSpPr>
            <p:spPr>
              <a:xfrm>
                <a:off x="3657597" y="990597"/>
                <a:ext cx="4876805" cy="3309922"/>
              </a:xfrm>
              <a:custGeom>
                <a:avLst/>
                <a:gdLst>
                  <a:gd name="csX0" fmla="*/ 4600921 w 4876805"/>
                  <a:gd name="csY0" fmla="*/ 1922071 h 3309922"/>
                  <a:gd name="csX1" fmla="*/ 4483116 w 4876805"/>
                  <a:gd name="csY1" fmla="*/ 1917994 h 3309922"/>
                  <a:gd name="csX2" fmla="*/ 4252458 w 4876805"/>
                  <a:gd name="csY2" fmla="*/ 1360172 h 3309922"/>
                  <a:gd name="csX3" fmla="*/ 4332468 w 4876805"/>
                  <a:gd name="csY3" fmla="*/ 1274257 h 3309922"/>
                  <a:gd name="csX4" fmla="*/ 4325648 w 4876805"/>
                  <a:gd name="csY4" fmla="*/ 877255 h 3309922"/>
                  <a:gd name="csX5" fmla="*/ 3999284 w 4876805"/>
                  <a:gd name="csY5" fmla="*/ 550890 h 3309922"/>
                  <a:gd name="csX6" fmla="*/ 3602244 w 4876805"/>
                  <a:gd name="csY6" fmla="*/ 544032 h 3309922"/>
                  <a:gd name="csX7" fmla="*/ 3516062 w 4876805"/>
                  <a:gd name="csY7" fmla="*/ 624842 h 3309922"/>
                  <a:gd name="csX8" fmla="*/ 2958811 w 4876805"/>
                  <a:gd name="csY8" fmla="*/ 393575 h 3309922"/>
                  <a:gd name="csX9" fmla="*/ 2954734 w 4876805"/>
                  <a:gd name="csY9" fmla="*/ 275884 h 3309922"/>
                  <a:gd name="csX10" fmla="*/ 2669175 w 4876805"/>
                  <a:gd name="csY10" fmla="*/ 2 h 3309922"/>
                  <a:gd name="csX11" fmla="*/ 2207631 w 4876805"/>
                  <a:gd name="csY11" fmla="*/ 2 h 3309922"/>
                  <a:gd name="csX12" fmla="*/ 1922072 w 4876805"/>
                  <a:gd name="csY12" fmla="*/ 275884 h 3309922"/>
                  <a:gd name="csX13" fmla="*/ 1917995 w 4876805"/>
                  <a:gd name="csY13" fmla="*/ 393651 h 3309922"/>
                  <a:gd name="csX14" fmla="*/ 1360173 w 4876805"/>
                  <a:gd name="csY14" fmla="*/ 624347 h 3309922"/>
                  <a:gd name="csX15" fmla="*/ 1274295 w 4876805"/>
                  <a:gd name="csY15" fmla="*/ 544146 h 3309922"/>
                  <a:gd name="csX16" fmla="*/ 877255 w 4876805"/>
                  <a:gd name="csY16" fmla="*/ 551042 h 3309922"/>
                  <a:gd name="csX17" fmla="*/ 550891 w 4876805"/>
                  <a:gd name="csY17" fmla="*/ 877369 h 3309922"/>
                  <a:gd name="csX18" fmla="*/ 544071 w 4876805"/>
                  <a:gd name="csY18" fmla="*/ 1274371 h 3309922"/>
                  <a:gd name="csX19" fmla="*/ 624843 w 4876805"/>
                  <a:gd name="csY19" fmla="*/ 1360744 h 3309922"/>
                  <a:gd name="csX20" fmla="*/ 393690 w 4876805"/>
                  <a:gd name="csY20" fmla="*/ 1917994 h 3309922"/>
                  <a:gd name="csX21" fmla="*/ 275961 w 4876805"/>
                  <a:gd name="csY21" fmla="*/ 1922071 h 3309922"/>
                  <a:gd name="csX22" fmla="*/ 3 w 4876805"/>
                  <a:gd name="csY22" fmla="*/ 2207631 h 3309922"/>
                  <a:gd name="csX23" fmla="*/ 3 w 4876805"/>
                  <a:gd name="csY23" fmla="*/ 2669174 h 3309922"/>
                  <a:gd name="csX24" fmla="*/ 275923 w 4876805"/>
                  <a:gd name="csY24" fmla="*/ 2954924 h 3309922"/>
                  <a:gd name="csX25" fmla="*/ 393690 w 4876805"/>
                  <a:gd name="csY25" fmla="*/ 2959001 h 3309922"/>
                  <a:gd name="csX26" fmla="*/ 501704 w 4876805"/>
                  <a:gd name="csY26" fmla="*/ 3275688 h 3309922"/>
                  <a:gd name="csX27" fmla="*/ 577611 w 4876805"/>
                  <a:gd name="csY27" fmla="*/ 3304974 h 3309922"/>
                  <a:gd name="csX28" fmla="*/ 594515 w 4876805"/>
                  <a:gd name="csY28" fmla="*/ 3293519 h 3309922"/>
                  <a:gd name="csX29" fmla="*/ 723065 w 4876805"/>
                  <a:gd name="csY29" fmla="*/ 3186382 h 3309922"/>
                  <a:gd name="csX30" fmla="*/ 738609 w 4876805"/>
                  <a:gd name="csY30" fmla="*/ 3108467 h 3309922"/>
                  <a:gd name="csX31" fmla="*/ 908409 w 4876805"/>
                  <a:gd name="csY31" fmla="*/ 2320872 h 3309922"/>
                  <a:gd name="csX32" fmla="*/ 990984 w 4876805"/>
                  <a:gd name="csY32" fmla="*/ 2276744 h 3309922"/>
                  <a:gd name="csX33" fmla="*/ 1024626 w 4876805"/>
                  <a:gd name="csY33" fmla="*/ 2232548 h 3309922"/>
                  <a:gd name="csX34" fmla="*/ 2644709 w 4876805"/>
                  <a:gd name="csY34" fmla="*/ 1025077 h 3309922"/>
                  <a:gd name="csX35" fmla="*/ 3852180 w 4876805"/>
                  <a:gd name="csY35" fmla="*/ 2232548 h 3309922"/>
                  <a:gd name="csX36" fmla="*/ 3885822 w 4876805"/>
                  <a:gd name="csY36" fmla="*/ 2276744 h 3309922"/>
                  <a:gd name="csX37" fmla="*/ 4182187 w 4876805"/>
                  <a:gd name="csY37" fmla="*/ 3025947 h 3309922"/>
                  <a:gd name="csX38" fmla="*/ 4138197 w 4876805"/>
                  <a:gd name="csY38" fmla="*/ 3108277 h 3309922"/>
                  <a:gd name="csX39" fmla="*/ 4153741 w 4876805"/>
                  <a:gd name="csY39" fmla="*/ 3186191 h 3309922"/>
                  <a:gd name="csX40" fmla="*/ 4282024 w 4876805"/>
                  <a:gd name="csY40" fmla="*/ 3293252 h 3309922"/>
                  <a:gd name="csX41" fmla="*/ 4363379 w 4876805"/>
                  <a:gd name="csY41" fmla="*/ 3292220 h 3309922"/>
                  <a:gd name="csX42" fmla="*/ 4374759 w 4876805"/>
                  <a:gd name="csY42" fmla="*/ 3275421 h 3309922"/>
                  <a:gd name="csX43" fmla="*/ 4483154 w 4876805"/>
                  <a:gd name="csY43" fmla="*/ 2958810 h 3309922"/>
                  <a:gd name="csX44" fmla="*/ 4600921 w 4876805"/>
                  <a:gd name="csY44" fmla="*/ 2954734 h 3309922"/>
                  <a:gd name="csX45" fmla="*/ 4876803 w 4876805"/>
                  <a:gd name="csY45" fmla="*/ 2668984 h 3309922"/>
                  <a:gd name="csX46" fmla="*/ 4876803 w 4876805"/>
                  <a:gd name="csY46" fmla="*/ 2207631 h 3309922"/>
                  <a:gd name="csX47" fmla="*/ 4600921 w 4876805"/>
                  <a:gd name="csY47" fmla="*/ 1922071 h 330992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Lst>
                <a:rect l="l" t="t" r="r" b="b"/>
                <a:pathLst>
                  <a:path w="4876805" h="3309922">
                    <a:moveTo>
                      <a:pt x="4600921" y="1922071"/>
                    </a:moveTo>
                    <a:lnTo>
                      <a:pt x="4483116" y="1917994"/>
                    </a:lnTo>
                    <a:cubicBezTo>
                      <a:pt x="4433616" y="1721876"/>
                      <a:pt x="4355920" y="1533978"/>
                      <a:pt x="4252458" y="1360172"/>
                    </a:cubicBezTo>
                    <a:lnTo>
                      <a:pt x="4332468" y="1274257"/>
                    </a:lnTo>
                    <a:cubicBezTo>
                      <a:pt x="4438126" y="1161929"/>
                      <a:pt x="4435101" y="985887"/>
                      <a:pt x="4325648" y="877255"/>
                    </a:cubicBezTo>
                    <a:lnTo>
                      <a:pt x="3999284" y="550890"/>
                    </a:lnTo>
                    <a:cubicBezTo>
                      <a:pt x="3890649" y="441421"/>
                      <a:pt x="3714594" y="438380"/>
                      <a:pt x="3602244" y="544032"/>
                    </a:cubicBezTo>
                    <a:lnTo>
                      <a:pt x="3516062" y="624842"/>
                    </a:lnTo>
                    <a:cubicBezTo>
                      <a:pt x="3342440" y="521276"/>
                      <a:pt x="3154744" y="443380"/>
                      <a:pt x="2958811" y="393575"/>
                    </a:cubicBezTo>
                    <a:lnTo>
                      <a:pt x="2954734" y="275884"/>
                    </a:lnTo>
                    <a:cubicBezTo>
                      <a:pt x="2950008" y="121747"/>
                      <a:pt x="2823383" y="-586"/>
                      <a:pt x="2669175" y="2"/>
                    </a:cubicBezTo>
                    <a:lnTo>
                      <a:pt x="2207631" y="2"/>
                    </a:lnTo>
                    <a:cubicBezTo>
                      <a:pt x="2053423" y="-586"/>
                      <a:pt x="1926798" y="121747"/>
                      <a:pt x="1922072" y="275884"/>
                    </a:cubicBezTo>
                    <a:lnTo>
                      <a:pt x="1917995" y="393651"/>
                    </a:lnTo>
                    <a:cubicBezTo>
                      <a:pt x="1721880" y="443181"/>
                      <a:pt x="1533984" y="520888"/>
                      <a:pt x="1360173" y="624347"/>
                    </a:cubicBezTo>
                    <a:lnTo>
                      <a:pt x="1274295" y="544146"/>
                    </a:lnTo>
                    <a:cubicBezTo>
                      <a:pt x="1161935" y="438505"/>
                      <a:pt x="985880" y="441563"/>
                      <a:pt x="877255" y="551042"/>
                    </a:cubicBezTo>
                    <a:lnTo>
                      <a:pt x="550891" y="877369"/>
                    </a:lnTo>
                    <a:cubicBezTo>
                      <a:pt x="441437" y="986001"/>
                      <a:pt x="438413" y="1162043"/>
                      <a:pt x="544071" y="1274371"/>
                    </a:cubicBezTo>
                    <a:lnTo>
                      <a:pt x="624843" y="1360744"/>
                    </a:lnTo>
                    <a:cubicBezTo>
                      <a:pt x="521287" y="1534357"/>
                      <a:pt x="443427" y="1722057"/>
                      <a:pt x="393690" y="1917994"/>
                    </a:cubicBezTo>
                    <a:lnTo>
                      <a:pt x="275961" y="1922071"/>
                    </a:lnTo>
                    <a:cubicBezTo>
                      <a:pt x="121803" y="1926777"/>
                      <a:pt x="-565" y="2053402"/>
                      <a:pt x="3" y="2207631"/>
                    </a:cubicBezTo>
                    <a:lnTo>
                      <a:pt x="3" y="2669174"/>
                    </a:lnTo>
                    <a:cubicBezTo>
                      <a:pt x="-669" y="2823462"/>
                      <a:pt x="121705" y="2950196"/>
                      <a:pt x="275923" y="2954924"/>
                    </a:cubicBezTo>
                    <a:lnTo>
                      <a:pt x="393690" y="2959001"/>
                    </a:lnTo>
                    <a:cubicBezTo>
                      <a:pt x="421308" y="3067240"/>
                      <a:pt x="457424" y="3173131"/>
                      <a:pt x="501704" y="3275688"/>
                    </a:cubicBezTo>
                    <a:cubicBezTo>
                      <a:pt x="514578" y="3304736"/>
                      <a:pt x="548562" y="3317848"/>
                      <a:pt x="577611" y="3304974"/>
                    </a:cubicBezTo>
                    <a:cubicBezTo>
                      <a:pt x="583884" y="3302194"/>
                      <a:pt x="589609" y="3298315"/>
                      <a:pt x="594515" y="3293519"/>
                    </a:cubicBezTo>
                    <a:cubicBezTo>
                      <a:pt x="634119" y="3254082"/>
                      <a:pt x="677137" y="3218230"/>
                      <a:pt x="723065" y="3186382"/>
                    </a:cubicBezTo>
                    <a:cubicBezTo>
                      <a:pt x="748404" y="3168848"/>
                      <a:pt x="755280" y="3134382"/>
                      <a:pt x="738609" y="3108467"/>
                    </a:cubicBezTo>
                    <a:cubicBezTo>
                      <a:pt x="568010" y="2844090"/>
                      <a:pt x="644032" y="2491472"/>
                      <a:pt x="908409" y="2320872"/>
                    </a:cubicBezTo>
                    <a:cubicBezTo>
                      <a:pt x="934677" y="2303922"/>
                      <a:pt x="962295" y="2289163"/>
                      <a:pt x="990984" y="2276744"/>
                    </a:cubicBezTo>
                    <a:cubicBezTo>
                      <a:pt x="1009084" y="2268819"/>
                      <a:pt x="1021806" y="2252105"/>
                      <a:pt x="1024626" y="2232548"/>
                    </a:cubicBezTo>
                    <a:cubicBezTo>
                      <a:pt x="1138566" y="1451741"/>
                      <a:pt x="1863901" y="911138"/>
                      <a:pt x="2644709" y="1025077"/>
                    </a:cubicBezTo>
                    <a:cubicBezTo>
                      <a:pt x="3269908" y="1116309"/>
                      <a:pt x="3760947" y="1607349"/>
                      <a:pt x="3852180" y="2232548"/>
                    </a:cubicBezTo>
                    <a:cubicBezTo>
                      <a:pt x="3854999" y="2252105"/>
                      <a:pt x="3867721" y="2268819"/>
                      <a:pt x="3885822" y="2276744"/>
                    </a:cubicBezTo>
                    <a:cubicBezTo>
                      <a:pt x="4174548" y="2401792"/>
                      <a:pt x="4307235" y="2737222"/>
                      <a:pt x="4182187" y="3025947"/>
                    </a:cubicBezTo>
                    <a:cubicBezTo>
                      <a:pt x="4169800" y="3054547"/>
                      <a:pt x="4155087" y="3082083"/>
                      <a:pt x="4138197" y="3108277"/>
                    </a:cubicBezTo>
                    <a:cubicBezTo>
                      <a:pt x="4121526" y="3134192"/>
                      <a:pt x="4128402" y="3168657"/>
                      <a:pt x="4153741" y="3186191"/>
                    </a:cubicBezTo>
                    <a:cubicBezTo>
                      <a:pt x="4199598" y="3217997"/>
                      <a:pt x="4242528" y="3253825"/>
                      <a:pt x="4282024" y="3293252"/>
                    </a:cubicBezTo>
                    <a:cubicBezTo>
                      <a:pt x="4304774" y="3315433"/>
                      <a:pt x="4341198" y="3314971"/>
                      <a:pt x="4363379" y="3292220"/>
                    </a:cubicBezTo>
                    <a:cubicBezTo>
                      <a:pt x="4368138" y="3287339"/>
                      <a:pt x="4371991" y="3281651"/>
                      <a:pt x="4374759" y="3275421"/>
                    </a:cubicBezTo>
                    <a:cubicBezTo>
                      <a:pt x="4419238" y="3172929"/>
                      <a:pt x="4455484" y="3067057"/>
                      <a:pt x="4483154" y="2958810"/>
                    </a:cubicBezTo>
                    <a:lnTo>
                      <a:pt x="4600921" y="2954734"/>
                    </a:lnTo>
                    <a:cubicBezTo>
                      <a:pt x="4755124" y="2949986"/>
                      <a:pt x="4877475" y="2823258"/>
                      <a:pt x="4876803" y="2668984"/>
                    </a:cubicBezTo>
                    <a:lnTo>
                      <a:pt x="4876803" y="2207631"/>
                    </a:lnTo>
                    <a:cubicBezTo>
                      <a:pt x="4877372" y="2053430"/>
                      <a:pt x="4755049" y="1926817"/>
                      <a:pt x="4600921" y="1922071"/>
                    </a:cubicBezTo>
                    <a:close/>
                  </a:path>
                </a:pathLst>
              </a:custGeom>
              <a:grpFill/>
              <a:ln w="38100" cap="flat">
                <a:noFill/>
                <a:prstDash val="solid"/>
                <a:miter/>
              </a:ln>
            </p:spPr>
            <p:txBody>
              <a:bodyPr/>
              <a:lstStyle/>
              <a:p>
                <a:endParaRPr lang="en-US"/>
              </a:p>
            </p:txBody>
          </p:sp>
          <p:sp>
            <p:nvSpPr>
              <p:cNvPr id="222" name="Oval 221">
                <a:extLst>
                  <a:ext uri="{FF2B5EF4-FFF2-40B4-BE49-F238E27FC236}">
                    <a16:creationId xmlns:a16="http://schemas.microsoft.com/office/drawing/2014/main" id="{7883F0A2-64B9-4687-AA6A-613324319008}"/>
                  </a:ext>
                </a:extLst>
              </p:cNvPr>
              <p:cNvSpPr/>
              <p:nvPr/>
            </p:nvSpPr>
            <p:spPr>
              <a:xfrm>
                <a:off x="5562600" y="2895600"/>
                <a:ext cx="1066800" cy="1066800"/>
              </a:xfrm>
              <a:prstGeom prst="ellipse">
                <a:avLst/>
              </a:prstGeom>
              <a:grpFill/>
              <a:ln w="38100" cap="flat">
                <a:noFill/>
                <a:prstDash val="solid"/>
                <a:miter/>
              </a:ln>
            </p:spPr>
            <p:txBody>
              <a:bodyPr/>
              <a:lstStyle/>
              <a:p>
                <a:endParaRPr lang="en-US"/>
              </a:p>
            </p:txBody>
          </p:sp>
          <p:sp>
            <p:nvSpPr>
              <p:cNvPr id="223" name="Freeform: Shape 222">
                <a:extLst>
                  <a:ext uri="{FF2B5EF4-FFF2-40B4-BE49-F238E27FC236}">
                    <a16:creationId xmlns:a16="http://schemas.microsoft.com/office/drawing/2014/main" id="{2A15BEF8-84DD-B91D-CAC2-A4896F524BD2}"/>
                  </a:ext>
                </a:extLst>
              </p:cNvPr>
              <p:cNvSpPr/>
              <p:nvPr/>
            </p:nvSpPr>
            <p:spPr>
              <a:xfrm>
                <a:off x="4076651" y="4241151"/>
                <a:ext cx="1040085" cy="1626248"/>
              </a:xfrm>
              <a:custGeom>
                <a:avLst/>
                <a:gdLst>
                  <a:gd name="csX0" fmla="*/ 966531 w 1040085"/>
                  <a:gd name="csY0" fmla="*/ 96457 h 1626248"/>
                  <a:gd name="csX1" fmla="*/ 464183 w 1040085"/>
                  <a:gd name="csY1" fmla="*/ 10999 h 1626248"/>
                  <a:gd name="csX2" fmla="*/ 400327 w 1040085"/>
                  <a:gd name="csY2" fmla="*/ 8599 h 1626248"/>
                  <a:gd name="csX3" fmla="*/ 49 w 1040085"/>
                  <a:gd name="csY3" fmla="*/ 730898 h 1626248"/>
                  <a:gd name="csX4" fmla="*/ 49 w 1040085"/>
                  <a:gd name="csY4" fmla="*/ 1340499 h 1626248"/>
                  <a:gd name="csX5" fmla="*/ 274673 w 1040085"/>
                  <a:gd name="csY5" fmla="*/ 1626249 h 1626248"/>
                  <a:gd name="csX6" fmla="*/ 955978 w 1040085"/>
                  <a:gd name="csY6" fmla="*/ 1626249 h 1626248"/>
                  <a:gd name="csX7" fmla="*/ 1012669 w 1040085"/>
                  <a:gd name="csY7" fmla="*/ 1567815 h 1626248"/>
                  <a:gd name="csX8" fmla="*/ 1005508 w 1040085"/>
                  <a:gd name="csY8" fmla="*/ 1540867 h 1626248"/>
                  <a:gd name="csX9" fmla="*/ 952549 w 1040085"/>
                  <a:gd name="csY9" fmla="*/ 1340499 h 1626248"/>
                  <a:gd name="csX10" fmla="*/ 952549 w 1040085"/>
                  <a:gd name="csY10" fmla="*/ 574689 h 1626248"/>
                  <a:gd name="csX11" fmla="*/ 1036064 w 1040085"/>
                  <a:gd name="csY11" fmla="*/ 172810 h 1626248"/>
                  <a:gd name="csX12" fmla="*/ 1003633 w 1040085"/>
                  <a:gd name="csY12" fmla="*/ 98192 h 1626248"/>
                  <a:gd name="csX13" fmla="*/ 966531 w 1040085"/>
                  <a:gd name="csY13" fmla="*/ 96457 h 162624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1040085" h="1626248">
                    <a:moveTo>
                      <a:pt x="966531" y="96457"/>
                    </a:moveTo>
                    <a:cubicBezTo>
                      <a:pt x="794985" y="148945"/>
                      <a:pt x="608723" y="117259"/>
                      <a:pt x="464183" y="10999"/>
                    </a:cubicBezTo>
                    <a:cubicBezTo>
                      <a:pt x="445375" y="-2738"/>
                      <a:pt x="420113" y="-3687"/>
                      <a:pt x="400327" y="8599"/>
                    </a:cubicBezTo>
                    <a:cubicBezTo>
                      <a:pt x="154194" y="166984"/>
                      <a:pt x="3875" y="438233"/>
                      <a:pt x="49" y="730898"/>
                    </a:cubicBezTo>
                    <a:lnTo>
                      <a:pt x="49" y="1340499"/>
                    </a:lnTo>
                    <a:cubicBezTo>
                      <a:pt x="-2800" y="1495154"/>
                      <a:pt x="120026" y="1622957"/>
                      <a:pt x="274673" y="1626249"/>
                    </a:cubicBezTo>
                    <a:lnTo>
                      <a:pt x="955978" y="1626249"/>
                    </a:lnTo>
                    <a:cubicBezTo>
                      <a:pt x="987769" y="1625767"/>
                      <a:pt x="1013150" y="1599606"/>
                      <a:pt x="1012669" y="1567815"/>
                    </a:cubicBezTo>
                    <a:cubicBezTo>
                      <a:pt x="1012526" y="1558381"/>
                      <a:pt x="1010067" y="1549127"/>
                      <a:pt x="1005508" y="1540867"/>
                    </a:cubicBezTo>
                    <a:cubicBezTo>
                      <a:pt x="970816" y="1479784"/>
                      <a:pt x="952569" y="1410745"/>
                      <a:pt x="952549" y="1340499"/>
                    </a:cubicBezTo>
                    <a:lnTo>
                      <a:pt x="952549" y="574689"/>
                    </a:lnTo>
                    <a:cubicBezTo>
                      <a:pt x="955292" y="436717"/>
                      <a:pt x="983610" y="300451"/>
                      <a:pt x="1036064" y="172810"/>
                    </a:cubicBezTo>
                    <a:cubicBezTo>
                      <a:pt x="1047713" y="143249"/>
                      <a:pt x="1033193" y="109841"/>
                      <a:pt x="1003633" y="98192"/>
                    </a:cubicBezTo>
                    <a:cubicBezTo>
                      <a:pt x="991797" y="93528"/>
                      <a:pt x="978750" y="92918"/>
                      <a:pt x="966531" y="96457"/>
                    </a:cubicBezTo>
                    <a:close/>
                  </a:path>
                </a:pathLst>
              </a:custGeom>
              <a:grpFill/>
              <a:ln w="38100" cap="flat">
                <a:noFill/>
                <a:prstDash val="solid"/>
                <a:miter/>
              </a:ln>
            </p:spPr>
            <p:txBody>
              <a:bodyPr/>
              <a:lstStyle/>
              <a:p>
                <a:endParaRPr lang="en-US"/>
              </a:p>
            </p:txBody>
          </p:sp>
          <p:sp>
            <p:nvSpPr>
              <p:cNvPr id="224" name="Freeform: Shape 223">
                <a:extLst>
                  <a:ext uri="{FF2B5EF4-FFF2-40B4-BE49-F238E27FC236}">
                    <a16:creationId xmlns:a16="http://schemas.microsoft.com/office/drawing/2014/main" id="{FFBF87BB-8E42-5483-C543-3681A276CC2F}"/>
                  </a:ext>
                </a:extLst>
              </p:cNvPr>
              <p:cNvSpPr/>
              <p:nvPr/>
            </p:nvSpPr>
            <p:spPr>
              <a:xfrm>
                <a:off x="7075303" y="4241151"/>
                <a:ext cx="1040045" cy="1626248"/>
              </a:xfrm>
              <a:custGeom>
                <a:avLst/>
                <a:gdLst>
                  <a:gd name="csX0" fmla="*/ 639718 w 1040045"/>
                  <a:gd name="csY0" fmla="*/ 8599 h 1626248"/>
                  <a:gd name="csX1" fmla="*/ 575863 w 1040045"/>
                  <a:gd name="csY1" fmla="*/ 10999 h 1626248"/>
                  <a:gd name="csX2" fmla="*/ 73514 w 1040045"/>
                  <a:gd name="csY2" fmla="*/ 96457 h 1626248"/>
                  <a:gd name="csX3" fmla="*/ 2265 w 1040045"/>
                  <a:gd name="csY3" fmla="*/ 135740 h 1626248"/>
                  <a:gd name="csX4" fmla="*/ 3944 w 1040045"/>
                  <a:gd name="csY4" fmla="*/ 172657 h 1626248"/>
                  <a:gd name="csX5" fmla="*/ 87497 w 1040045"/>
                  <a:gd name="csY5" fmla="*/ 574117 h 1626248"/>
                  <a:gd name="csX6" fmla="*/ 87497 w 1040045"/>
                  <a:gd name="csY6" fmla="*/ 1340499 h 1626248"/>
                  <a:gd name="csX7" fmla="*/ 34348 w 1040045"/>
                  <a:gd name="csY7" fmla="*/ 1540867 h 1626248"/>
                  <a:gd name="csX8" fmla="*/ 56933 w 1040045"/>
                  <a:gd name="csY8" fmla="*/ 1619086 h 1626248"/>
                  <a:gd name="csX9" fmla="*/ 84068 w 1040045"/>
                  <a:gd name="csY9" fmla="*/ 1626249 h 1626248"/>
                  <a:gd name="csX10" fmla="*/ 765410 w 1040045"/>
                  <a:gd name="csY10" fmla="*/ 1626249 h 1626248"/>
                  <a:gd name="csX11" fmla="*/ 1039997 w 1040045"/>
                  <a:gd name="csY11" fmla="*/ 1340499 h 1626248"/>
                  <a:gd name="csX12" fmla="*/ 1039997 w 1040045"/>
                  <a:gd name="csY12" fmla="*/ 729832 h 1626248"/>
                  <a:gd name="csX13" fmla="*/ 639718 w 1040045"/>
                  <a:gd name="csY13" fmla="*/ 8599 h 162624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1040045" h="1626248">
                    <a:moveTo>
                      <a:pt x="639718" y="8599"/>
                    </a:moveTo>
                    <a:cubicBezTo>
                      <a:pt x="619932" y="-3687"/>
                      <a:pt x="594671" y="-2738"/>
                      <a:pt x="575863" y="10999"/>
                    </a:cubicBezTo>
                    <a:cubicBezTo>
                      <a:pt x="431322" y="117259"/>
                      <a:pt x="245061" y="148946"/>
                      <a:pt x="73514" y="96457"/>
                    </a:cubicBezTo>
                    <a:cubicBezTo>
                      <a:pt x="42992" y="87630"/>
                      <a:pt x="11092" y="105218"/>
                      <a:pt x="2265" y="135740"/>
                    </a:cubicBezTo>
                    <a:cubicBezTo>
                      <a:pt x="-1251" y="147896"/>
                      <a:pt x="-661" y="160871"/>
                      <a:pt x="3944" y="172657"/>
                    </a:cubicBezTo>
                    <a:cubicBezTo>
                      <a:pt x="56391" y="300156"/>
                      <a:pt x="84721" y="436281"/>
                      <a:pt x="87497" y="574117"/>
                    </a:cubicBezTo>
                    <a:lnTo>
                      <a:pt x="87497" y="1340499"/>
                    </a:lnTo>
                    <a:cubicBezTo>
                      <a:pt x="87419" y="1410762"/>
                      <a:pt x="69105" y="1479802"/>
                      <a:pt x="34348" y="1540867"/>
                    </a:cubicBezTo>
                    <a:cubicBezTo>
                      <a:pt x="18984" y="1568703"/>
                      <a:pt x="29096" y="1603723"/>
                      <a:pt x="56933" y="1619086"/>
                    </a:cubicBezTo>
                    <a:cubicBezTo>
                      <a:pt x="65249" y="1623676"/>
                      <a:pt x="74571" y="1626137"/>
                      <a:pt x="84068" y="1626249"/>
                    </a:cubicBezTo>
                    <a:lnTo>
                      <a:pt x="765410" y="1626249"/>
                    </a:lnTo>
                    <a:cubicBezTo>
                      <a:pt x="920042" y="1622936"/>
                      <a:pt x="1042846" y="1495140"/>
                      <a:pt x="1039997" y="1340499"/>
                    </a:cubicBezTo>
                    <a:lnTo>
                      <a:pt x="1039997" y="729832"/>
                    </a:lnTo>
                    <a:cubicBezTo>
                      <a:pt x="1035897" y="437525"/>
                      <a:pt x="885601" y="166719"/>
                      <a:pt x="639718" y="8599"/>
                    </a:cubicBezTo>
                    <a:close/>
                  </a:path>
                </a:pathLst>
              </a:custGeom>
              <a:grpFill/>
              <a:ln w="38100" cap="flat">
                <a:noFill/>
                <a:prstDash val="solid"/>
                <a:miter/>
              </a:ln>
            </p:spPr>
            <p:txBody>
              <a:bodyPr/>
              <a:lstStyle/>
              <a:p>
                <a:endParaRPr lang="en-US"/>
              </a:p>
            </p:txBody>
          </p:sp>
          <p:sp>
            <p:nvSpPr>
              <p:cNvPr id="225" name="Freeform: Shape 224">
                <a:extLst>
                  <a:ext uri="{FF2B5EF4-FFF2-40B4-BE49-F238E27FC236}">
                    <a16:creationId xmlns:a16="http://schemas.microsoft.com/office/drawing/2014/main" id="{6B2854CC-5801-C874-E4DE-22F5F2D97876}"/>
                  </a:ext>
                </a:extLst>
              </p:cNvPr>
              <p:cNvSpPr/>
              <p:nvPr/>
            </p:nvSpPr>
            <p:spPr>
              <a:xfrm>
                <a:off x="5143466" y="3948597"/>
                <a:ext cx="1905067" cy="1918802"/>
              </a:xfrm>
              <a:custGeom>
                <a:avLst/>
                <a:gdLst>
                  <a:gd name="csX0" fmla="*/ 1383064 w 1905067"/>
                  <a:gd name="csY0" fmla="*/ 6601 h 1918802"/>
                  <a:gd name="csX1" fmla="*/ 1323513 w 1905067"/>
                  <a:gd name="csY1" fmla="*/ 10411 h 1918802"/>
                  <a:gd name="csX2" fmla="*/ 581325 w 1905067"/>
                  <a:gd name="csY2" fmla="*/ 10411 h 1918802"/>
                  <a:gd name="csX3" fmla="*/ 521775 w 1905067"/>
                  <a:gd name="csY3" fmla="*/ 6601 h 1918802"/>
                  <a:gd name="csX4" fmla="*/ 34 w 1905067"/>
                  <a:gd name="csY4" fmla="*/ 871052 h 1918802"/>
                  <a:gd name="csX5" fmla="*/ 34 w 1905067"/>
                  <a:gd name="csY5" fmla="*/ 1633052 h 1918802"/>
                  <a:gd name="csX6" fmla="*/ 276449 w 1905067"/>
                  <a:gd name="csY6" fmla="*/ 1918802 h 1918802"/>
                  <a:gd name="csX7" fmla="*/ 1628618 w 1905067"/>
                  <a:gd name="csY7" fmla="*/ 1918802 h 1918802"/>
                  <a:gd name="csX8" fmla="*/ 1905034 w 1905067"/>
                  <a:gd name="csY8" fmla="*/ 1633052 h 1918802"/>
                  <a:gd name="csX9" fmla="*/ 1905034 w 1905067"/>
                  <a:gd name="csY9" fmla="*/ 869947 h 1918802"/>
                  <a:gd name="csX10" fmla="*/ 1383064 w 1905067"/>
                  <a:gd name="csY10" fmla="*/ 6601 h 191880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905067" h="1918802">
                    <a:moveTo>
                      <a:pt x="1383064" y="6601"/>
                    </a:moveTo>
                    <a:cubicBezTo>
                      <a:pt x="1364074" y="-3415"/>
                      <a:pt x="1341072" y="-1944"/>
                      <a:pt x="1323513" y="10411"/>
                    </a:cubicBezTo>
                    <a:cubicBezTo>
                      <a:pt x="1101034" y="167437"/>
                      <a:pt x="803805" y="167437"/>
                      <a:pt x="581325" y="10411"/>
                    </a:cubicBezTo>
                    <a:cubicBezTo>
                      <a:pt x="563767" y="-1944"/>
                      <a:pt x="540765" y="-3415"/>
                      <a:pt x="521775" y="6601"/>
                    </a:cubicBezTo>
                    <a:cubicBezTo>
                      <a:pt x="203544" y="178373"/>
                      <a:pt x="3727" y="509440"/>
                      <a:pt x="34" y="871052"/>
                    </a:cubicBezTo>
                    <a:lnTo>
                      <a:pt x="34" y="1633052"/>
                    </a:lnTo>
                    <a:cubicBezTo>
                      <a:pt x="-2344" y="1788211"/>
                      <a:pt x="121297" y="1916027"/>
                      <a:pt x="276449" y="1918802"/>
                    </a:cubicBezTo>
                    <a:lnTo>
                      <a:pt x="1628618" y="1918802"/>
                    </a:lnTo>
                    <a:cubicBezTo>
                      <a:pt x="1783770" y="1916027"/>
                      <a:pt x="1907411" y="1788211"/>
                      <a:pt x="1905034" y="1633052"/>
                    </a:cubicBezTo>
                    <a:lnTo>
                      <a:pt x="1905034" y="869947"/>
                    </a:lnTo>
                    <a:cubicBezTo>
                      <a:pt x="1900976" y="508661"/>
                      <a:pt x="1701098" y="178060"/>
                      <a:pt x="1383064" y="6601"/>
                    </a:cubicBezTo>
                    <a:close/>
                  </a:path>
                </a:pathLst>
              </a:custGeom>
              <a:grpFill/>
              <a:ln w="38100" cap="flat">
                <a:noFill/>
                <a:prstDash val="solid"/>
                <a:miter/>
              </a:ln>
            </p:spPr>
            <p:txBody>
              <a:bodyPr/>
              <a:lstStyle/>
              <a:p>
                <a:endParaRPr lang="en-US"/>
              </a:p>
            </p:txBody>
          </p:sp>
        </p:grpSp>
      </p:grpSp>
      <p:grpSp>
        <p:nvGrpSpPr>
          <p:cNvPr id="240" name="Group 239">
            <a:extLst>
              <a:ext uri="{FF2B5EF4-FFF2-40B4-BE49-F238E27FC236}">
                <a16:creationId xmlns:a16="http://schemas.microsoft.com/office/drawing/2014/main" id="{9DFE91A2-3ADA-7506-69D8-769BCCF0BDE3}"/>
              </a:ext>
            </a:extLst>
          </p:cNvPr>
          <p:cNvGrpSpPr/>
          <p:nvPr/>
        </p:nvGrpSpPr>
        <p:grpSpPr>
          <a:xfrm>
            <a:off x="372424" y="3125607"/>
            <a:ext cx="354334" cy="354334"/>
            <a:chOff x="372424" y="3125607"/>
            <a:chExt cx="354334" cy="354334"/>
          </a:xfrm>
        </p:grpSpPr>
        <p:sp>
          <p:nvSpPr>
            <p:cNvPr id="198" name="Oval 197">
              <a:extLst>
                <a:ext uri="{FF2B5EF4-FFF2-40B4-BE49-F238E27FC236}">
                  <a16:creationId xmlns:a16="http://schemas.microsoft.com/office/drawing/2014/main" id="{8151CBA5-D4EB-276F-2C24-22756E30CFFB}"/>
                </a:ext>
              </a:extLst>
            </p:cNvPr>
            <p:cNvSpPr/>
            <p:nvPr/>
          </p:nvSpPr>
          <p:spPr>
            <a:xfrm>
              <a:off x="372424" y="3125607"/>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9" name="Group 238">
              <a:extLst>
                <a:ext uri="{FF2B5EF4-FFF2-40B4-BE49-F238E27FC236}">
                  <a16:creationId xmlns:a16="http://schemas.microsoft.com/office/drawing/2014/main" id="{92E4AC52-1683-6237-44A0-BCE8D5C7601E}"/>
                </a:ext>
              </a:extLst>
            </p:cNvPr>
            <p:cNvGrpSpPr/>
            <p:nvPr/>
          </p:nvGrpSpPr>
          <p:grpSpPr>
            <a:xfrm>
              <a:off x="432433" y="3197227"/>
              <a:ext cx="234318" cy="211096"/>
              <a:chOff x="5527490" y="2916830"/>
              <a:chExt cx="1137018" cy="1024339"/>
            </a:xfrm>
            <a:solidFill>
              <a:srgbClr val="2B660F"/>
            </a:solidFill>
          </p:grpSpPr>
          <p:sp>
            <p:nvSpPr>
              <p:cNvPr id="230" name="Freeform: Shape 229">
                <a:extLst>
                  <a:ext uri="{FF2B5EF4-FFF2-40B4-BE49-F238E27FC236}">
                    <a16:creationId xmlns:a16="http://schemas.microsoft.com/office/drawing/2014/main" id="{3F871182-97D7-AF92-5959-A723188976E8}"/>
                  </a:ext>
                </a:extLst>
              </p:cNvPr>
              <p:cNvSpPr/>
              <p:nvPr/>
            </p:nvSpPr>
            <p:spPr>
              <a:xfrm>
                <a:off x="5813589" y="2916830"/>
                <a:ext cx="564875" cy="626529"/>
              </a:xfrm>
              <a:custGeom>
                <a:avLst/>
                <a:gdLst>
                  <a:gd name="csX0" fmla="*/ 54572 w 564875"/>
                  <a:gd name="csY0" fmla="*/ 480982 h 626529"/>
                  <a:gd name="csX1" fmla="*/ 137764 w 564875"/>
                  <a:gd name="csY1" fmla="*/ 613804 h 626529"/>
                  <a:gd name="csX2" fmla="*/ 157648 w 564875"/>
                  <a:gd name="csY2" fmla="*/ 626530 h 626529"/>
                  <a:gd name="csX3" fmla="*/ 407225 w 564875"/>
                  <a:gd name="csY3" fmla="*/ 626530 h 626529"/>
                  <a:gd name="csX4" fmla="*/ 426950 w 564875"/>
                  <a:gd name="csY4" fmla="*/ 613804 h 626529"/>
                  <a:gd name="csX5" fmla="*/ 510461 w 564875"/>
                  <a:gd name="csY5" fmla="*/ 480982 h 626529"/>
                  <a:gd name="csX6" fmla="*/ 558499 w 564875"/>
                  <a:gd name="csY6" fmla="*/ 362159 h 626529"/>
                  <a:gd name="csX7" fmla="*/ 477693 w 564875"/>
                  <a:gd name="csY7" fmla="*/ 82676 h 626529"/>
                  <a:gd name="csX8" fmla="*/ 87340 w 564875"/>
                  <a:gd name="csY8" fmla="*/ 82676 h 626529"/>
                  <a:gd name="csX9" fmla="*/ 6375 w 564875"/>
                  <a:gd name="csY9" fmla="*/ 362159 h 626529"/>
                  <a:gd name="csX10" fmla="*/ 54572 w 564875"/>
                  <a:gd name="csY10" fmla="*/ 480982 h 626529"/>
                  <a:gd name="csX11" fmla="*/ 154173 w 564875"/>
                  <a:gd name="csY11" fmla="*/ 327645 h 626529"/>
                  <a:gd name="csX12" fmla="*/ 192695 w 564875"/>
                  <a:gd name="csY12" fmla="*/ 132723 h 626529"/>
                  <a:gd name="csX13" fmla="*/ 212481 w 564875"/>
                  <a:gd name="csY13" fmla="*/ 115583 h 626529"/>
                  <a:gd name="csX14" fmla="*/ 213699 w 564875"/>
                  <a:gd name="csY14" fmla="*/ 115711 h 626529"/>
                  <a:gd name="csX15" fmla="*/ 316207 w 564875"/>
                  <a:gd name="csY15" fmla="*/ 115451 h 626529"/>
                  <a:gd name="csX16" fmla="*/ 338580 w 564875"/>
                  <a:gd name="csY16" fmla="*/ 132805 h 626529"/>
                  <a:gd name="csX17" fmla="*/ 336473 w 564875"/>
                  <a:gd name="csY17" fmla="*/ 144565 h 626529"/>
                  <a:gd name="csX18" fmla="*/ 309930 w 564875"/>
                  <a:gd name="csY18" fmla="*/ 224700 h 626529"/>
                  <a:gd name="csX19" fmla="*/ 389860 w 564875"/>
                  <a:gd name="csY19" fmla="*/ 225139 h 626529"/>
                  <a:gd name="csX20" fmla="*/ 409169 w 564875"/>
                  <a:gd name="csY20" fmla="*/ 253364 h 626529"/>
                  <a:gd name="csX21" fmla="*/ 304993 w 564875"/>
                  <a:gd name="csY21" fmla="*/ 525577 h 626529"/>
                  <a:gd name="csX22" fmla="*/ 284153 w 564875"/>
                  <a:gd name="csY22" fmla="*/ 539129 h 626529"/>
                  <a:gd name="csX23" fmla="*/ 269042 w 564875"/>
                  <a:gd name="csY23" fmla="*/ 520230 h 626529"/>
                  <a:gd name="csX24" fmla="*/ 265952 w 564875"/>
                  <a:gd name="csY24" fmla="*/ 349553 h 626529"/>
                  <a:gd name="csX25" fmla="*/ 173277 w 564875"/>
                  <a:gd name="csY25" fmla="*/ 351044 h 626529"/>
                  <a:gd name="csX26" fmla="*/ 153399 w 564875"/>
                  <a:gd name="csY26" fmla="*/ 335304 h 626529"/>
                  <a:gd name="csX27" fmla="*/ 154173 w 564875"/>
                  <a:gd name="csY27" fmla="*/ 327645 h 62652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Lst>
                <a:rect l="l" t="t" r="r" b="b"/>
                <a:pathLst>
                  <a:path w="564875" h="626529">
                    <a:moveTo>
                      <a:pt x="54572" y="480982"/>
                    </a:moveTo>
                    <a:cubicBezTo>
                      <a:pt x="79227" y="525045"/>
                      <a:pt x="115017" y="567675"/>
                      <a:pt x="137764" y="613804"/>
                    </a:cubicBezTo>
                    <a:cubicBezTo>
                      <a:pt x="141456" y="621461"/>
                      <a:pt x="149148" y="626384"/>
                      <a:pt x="157648" y="626530"/>
                    </a:cubicBezTo>
                    <a:lnTo>
                      <a:pt x="407225" y="626530"/>
                    </a:lnTo>
                    <a:cubicBezTo>
                      <a:pt x="415697" y="626422"/>
                      <a:pt x="423360" y="621478"/>
                      <a:pt x="426950" y="613804"/>
                    </a:cubicBezTo>
                    <a:cubicBezTo>
                      <a:pt x="449856" y="567675"/>
                      <a:pt x="485646" y="525044"/>
                      <a:pt x="510461" y="480982"/>
                    </a:cubicBezTo>
                    <a:cubicBezTo>
                      <a:pt x="533043" y="444358"/>
                      <a:pt x="549284" y="404186"/>
                      <a:pt x="558499" y="362159"/>
                    </a:cubicBezTo>
                    <a:cubicBezTo>
                      <a:pt x="578860" y="253197"/>
                      <a:pt x="550069" y="159983"/>
                      <a:pt x="477693" y="82676"/>
                    </a:cubicBezTo>
                    <a:cubicBezTo>
                      <a:pt x="374140" y="-27400"/>
                      <a:pt x="191211" y="-27717"/>
                      <a:pt x="87340" y="82676"/>
                    </a:cubicBezTo>
                    <a:cubicBezTo>
                      <a:pt x="14805" y="159983"/>
                      <a:pt x="-13986" y="253197"/>
                      <a:pt x="6375" y="362159"/>
                    </a:cubicBezTo>
                    <a:cubicBezTo>
                      <a:pt x="15786" y="404151"/>
                      <a:pt x="32071" y="444299"/>
                      <a:pt x="54572" y="480982"/>
                    </a:cubicBezTo>
                    <a:close/>
                    <a:moveTo>
                      <a:pt x="154173" y="327645"/>
                    </a:moveTo>
                    <a:cubicBezTo>
                      <a:pt x="165276" y="270922"/>
                      <a:pt x="190917" y="140955"/>
                      <a:pt x="192695" y="132723"/>
                    </a:cubicBezTo>
                    <a:cubicBezTo>
                      <a:pt x="193426" y="122526"/>
                      <a:pt x="202285" y="114853"/>
                      <a:pt x="212481" y="115583"/>
                    </a:cubicBezTo>
                    <a:cubicBezTo>
                      <a:pt x="212888" y="115613"/>
                      <a:pt x="213294" y="115655"/>
                      <a:pt x="213699" y="115711"/>
                    </a:cubicBezTo>
                    <a:cubicBezTo>
                      <a:pt x="247873" y="115671"/>
                      <a:pt x="282046" y="116231"/>
                      <a:pt x="316207" y="115451"/>
                    </a:cubicBezTo>
                    <a:cubicBezTo>
                      <a:pt x="327177" y="114065"/>
                      <a:pt x="337194" y="121834"/>
                      <a:pt x="338580" y="132805"/>
                    </a:cubicBezTo>
                    <a:cubicBezTo>
                      <a:pt x="339091" y="136848"/>
                      <a:pt x="338356" y="140951"/>
                      <a:pt x="336473" y="144565"/>
                    </a:cubicBezTo>
                    <a:cubicBezTo>
                      <a:pt x="327256" y="169276"/>
                      <a:pt x="310600" y="222198"/>
                      <a:pt x="309930" y="224700"/>
                    </a:cubicBezTo>
                    <a:cubicBezTo>
                      <a:pt x="313472" y="224851"/>
                      <a:pt x="366175" y="224988"/>
                      <a:pt x="389860" y="225139"/>
                    </a:cubicBezTo>
                    <a:cubicBezTo>
                      <a:pt x="407638" y="225234"/>
                      <a:pt x="415501" y="236803"/>
                      <a:pt x="409169" y="253364"/>
                    </a:cubicBezTo>
                    <a:cubicBezTo>
                      <a:pt x="374476" y="344111"/>
                      <a:pt x="339750" y="434848"/>
                      <a:pt x="304993" y="525577"/>
                    </a:cubicBezTo>
                    <a:cubicBezTo>
                      <a:pt x="302705" y="534882"/>
                      <a:pt x="293586" y="540812"/>
                      <a:pt x="284153" y="539129"/>
                    </a:cubicBezTo>
                    <a:cubicBezTo>
                      <a:pt x="274822" y="537974"/>
                      <a:pt x="268116" y="529587"/>
                      <a:pt x="269042" y="520230"/>
                    </a:cubicBezTo>
                    <a:cubicBezTo>
                      <a:pt x="268290" y="488600"/>
                      <a:pt x="266404" y="374851"/>
                      <a:pt x="265952" y="349553"/>
                    </a:cubicBezTo>
                    <a:cubicBezTo>
                      <a:pt x="253001" y="349553"/>
                      <a:pt x="191711" y="351030"/>
                      <a:pt x="173277" y="351044"/>
                    </a:cubicBezTo>
                    <a:cubicBezTo>
                      <a:pt x="163441" y="352186"/>
                      <a:pt x="154542" y="345140"/>
                      <a:pt x="153399" y="335304"/>
                    </a:cubicBezTo>
                    <a:cubicBezTo>
                      <a:pt x="153099" y="332725"/>
                      <a:pt x="153363" y="330112"/>
                      <a:pt x="154173" y="327645"/>
                    </a:cubicBezTo>
                    <a:close/>
                  </a:path>
                </a:pathLst>
              </a:custGeom>
              <a:grpFill/>
              <a:ln w="9525" cap="flat">
                <a:noFill/>
                <a:prstDash val="solid"/>
                <a:miter/>
              </a:ln>
            </p:spPr>
            <p:txBody>
              <a:bodyPr/>
              <a:lstStyle/>
              <a:p>
                <a:endParaRPr lang="en-US"/>
              </a:p>
            </p:txBody>
          </p:sp>
          <p:sp>
            <p:nvSpPr>
              <p:cNvPr id="231" name="Freeform: Shape 230">
                <a:extLst>
                  <a:ext uri="{FF2B5EF4-FFF2-40B4-BE49-F238E27FC236}">
                    <a16:creationId xmlns:a16="http://schemas.microsoft.com/office/drawing/2014/main" id="{CC0278D1-59BA-806F-FCFF-0EB527C04A22}"/>
                  </a:ext>
                </a:extLst>
              </p:cNvPr>
              <p:cNvSpPr/>
              <p:nvPr/>
            </p:nvSpPr>
            <p:spPr>
              <a:xfrm>
                <a:off x="6216077" y="3622814"/>
                <a:ext cx="357303" cy="318355"/>
              </a:xfrm>
              <a:custGeom>
                <a:avLst/>
                <a:gdLst>
                  <a:gd name="csX0" fmla="*/ 81281 w 357303"/>
                  <a:gd name="csY0" fmla="*/ 27351 h 318355"/>
                  <a:gd name="csX1" fmla="*/ 53932 w 357303"/>
                  <a:gd name="csY1" fmla="*/ 0 h 318355"/>
                  <a:gd name="csX2" fmla="*/ 27351 w 357303"/>
                  <a:gd name="csY2" fmla="*/ 0 h 318355"/>
                  <a:gd name="csX3" fmla="*/ 0 w 357303"/>
                  <a:gd name="csY3" fmla="*/ 27351 h 318355"/>
                  <a:gd name="csX4" fmla="*/ 0 w 357303"/>
                  <a:gd name="csY4" fmla="*/ 291005 h 318355"/>
                  <a:gd name="csX5" fmla="*/ 27350 w 357303"/>
                  <a:gd name="csY5" fmla="*/ 318356 h 318355"/>
                  <a:gd name="csX6" fmla="*/ 27351 w 357303"/>
                  <a:gd name="csY6" fmla="*/ 318356 h 318355"/>
                  <a:gd name="csX7" fmla="*/ 53932 w 357303"/>
                  <a:gd name="csY7" fmla="*/ 318356 h 318355"/>
                  <a:gd name="csX8" fmla="*/ 81281 w 357303"/>
                  <a:gd name="csY8" fmla="*/ 291005 h 318355"/>
                  <a:gd name="csX9" fmla="*/ 81281 w 357303"/>
                  <a:gd name="csY9" fmla="*/ 291005 h 318355"/>
                  <a:gd name="csX10" fmla="*/ 201806 w 357303"/>
                  <a:gd name="csY10" fmla="*/ 199821 h 318355"/>
                  <a:gd name="csX11" fmla="*/ 357304 w 357303"/>
                  <a:gd name="csY11" fmla="*/ 199821 h 318355"/>
                  <a:gd name="csX12" fmla="*/ 357304 w 357303"/>
                  <a:gd name="csY12" fmla="*/ 118539 h 318355"/>
                  <a:gd name="csX13" fmla="*/ 201808 w 357303"/>
                  <a:gd name="csY13" fmla="*/ 118539 h 318355"/>
                  <a:gd name="csX14" fmla="*/ 81281 w 357303"/>
                  <a:gd name="csY14" fmla="*/ 27351 h 3183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357303" h="318355">
                    <a:moveTo>
                      <a:pt x="81281" y="27351"/>
                    </a:moveTo>
                    <a:cubicBezTo>
                      <a:pt x="81282" y="12246"/>
                      <a:pt x="69037" y="0"/>
                      <a:pt x="53932" y="0"/>
                    </a:cubicBezTo>
                    <a:lnTo>
                      <a:pt x="27351" y="0"/>
                    </a:lnTo>
                    <a:cubicBezTo>
                      <a:pt x="12245" y="0"/>
                      <a:pt x="0" y="12245"/>
                      <a:pt x="0" y="27351"/>
                    </a:cubicBezTo>
                    <a:lnTo>
                      <a:pt x="0" y="291005"/>
                    </a:lnTo>
                    <a:cubicBezTo>
                      <a:pt x="0" y="306110"/>
                      <a:pt x="12245" y="318355"/>
                      <a:pt x="27350" y="318356"/>
                    </a:cubicBezTo>
                    <a:cubicBezTo>
                      <a:pt x="27350" y="318356"/>
                      <a:pt x="27350" y="318356"/>
                      <a:pt x="27351" y="318356"/>
                    </a:cubicBezTo>
                    <a:lnTo>
                      <a:pt x="53932" y="318356"/>
                    </a:lnTo>
                    <a:cubicBezTo>
                      <a:pt x="69037" y="318355"/>
                      <a:pt x="81282" y="306110"/>
                      <a:pt x="81281" y="291005"/>
                    </a:cubicBezTo>
                    <a:cubicBezTo>
                      <a:pt x="81281" y="291005"/>
                      <a:pt x="81281" y="291005"/>
                      <a:pt x="81281" y="291005"/>
                    </a:cubicBezTo>
                    <a:cubicBezTo>
                      <a:pt x="136596" y="288873"/>
                      <a:pt x="184711" y="252471"/>
                      <a:pt x="201806" y="199821"/>
                    </a:cubicBezTo>
                    <a:lnTo>
                      <a:pt x="357304" y="199821"/>
                    </a:lnTo>
                    <a:lnTo>
                      <a:pt x="357304" y="118539"/>
                    </a:lnTo>
                    <a:lnTo>
                      <a:pt x="201808" y="118539"/>
                    </a:lnTo>
                    <a:cubicBezTo>
                      <a:pt x="184714" y="65887"/>
                      <a:pt x="136598" y="29483"/>
                      <a:pt x="81281" y="27351"/>
                    </a:cubicBezTo>
                    <a:close/>
                  </a:path>
                </a:pathLst>
              </a:custGeom>
              <a:grpFill/>
              <a:ln w="9525" cap="flat">
                <a:noFill/>
                <a:prstDash val="solid"/>
                <a:miter/>
              </a:ln>
            </p:spPr>
            <p:txBody>
              <a:bodyPr/>
              <a:lstStyle/>
              <a:p>
                <a:endParaRPr lang="en-US"/>
              </a:p>
            </p:txBody>
          </p:sp>
          <p:sp>
            <p:nvSpPr>
              <p:cNvPr id="232" name="Freeform: Shape 231">
                <a:extLst>
                  <a:ext uri="{FF2B5EF4-FFF2-40B4-BE49-F238E27FC236}">
                    <a16:creationId xmlns:a16="http://schemas.microsoft.com/office/drawing/2014/main" id="{9DE3612D-A30F-C7CA-89AF-6014C283B341}"/>
                  </a:ext>
                </a:extLst>
              </p:cNvPr>
              <p:cNvSpPr/>
              <p:nvPr/>
            </p:nvSpPr>
            <p:spPr>
              <a:xfrm>
                <a:off x="5618672" y="3622814"/>
                <a:ext cx="460651" cy="318355"/>
              </a:xfrm>
              <a:custGeom>
                <a:avLst/>
                <a:gdLst>
                  <a:gd name="csX0" fmla="*/ 430116 w 460651"/>
                  <a:gd name="csY0" fmla="*/ 56303 h 318355"/>
                  <a:gd name="csX1" fmla="*/ 357305 w 460651"/>
                  <a:gd name="csY1" fmla="*/ 56303 h 318355"/>
                  <a:gd name="csX2" fmla="*/ 357305 w 460651"/>
                  <a:gd name="csY2" fmla="*/ 27351 h 318355"/>
                  <a:gd name="csX3" fmla="*/ 329955 w 460651"/>
                  <a:gd name="csY3" fmla="*/ 0 h 318355"/>
                  <a:gd name="csX4" fmla="*/ 329954 w 460651"/>
                  <a:gd name="csY4" fmla="*/ 0 h 318355"/>
                  <a:gd name="csX5" fmla="*/ 303373 w 460651"/>
                  <a:gd name="csY5" fmla="*/ 0 h 318355"/>
                  <a:gd name="csX6" fmla="*/ 276023 w 460651"/>
                  <a:gd name="csY6" fmla="*/ 27349 h 318355"/>
                  <a:gd name="csX7" fmla="*/ 276023 w 460651"/>
                  <a:gd name="csY7" fmla="*/ 27351 h 318355"/>
                  <a:gd name="csX8" fmla="*/ 155498 w 460651"/>
                  <a:gd name="csY8" fmla="*/ 118535 h 318355"/>
                  <a:gd name="csX9" fmla="*/ 0 w 460651"/>
                  <a:gd name="csY9" fmla="*/ 118535 h 318355"/>
                  <a:gd name="csX10" fmla="*/ 0 w 460651"/>
                  <a:gd name="csY10" fmla="*/ 199818 h 318355"/>
                  <a:gd name="csX11" fmla="*/ 155496 w 460651"/>
                  <a:gd name="csY11" fmla="*/ 199818 h 318355"/>
                  <a:gd name="csX12" fmla="*/ 276023 w 460651"/>
                  <a:gd name="csY12" fmla="*/ 291005 h 318355"/>
                  <a:gd name="csX13" fmla="*/ 303373 w 460651"/>
                  <a:gd name="csY13" fmla="*/ 318356 h 318355"/>
                  <a:gd name="csX14" fmla="*/ 329955 w 460651"/>
                  <a:gd name="csY14" fmla="*/ 318356 h 318355"/>
                  <a:gd name="csX15" fmla="*/ 357305 w 460651"/>
                  <a:gd name="csY15" fmla="*/ 291005 h 318355"/>
                  <a:gd name="csX16" fmla="*/ 357305 w 460651"/>
                  <a:gd name="csY16" fmla="*/ 262050 h 318355"/>
                  <a:gd name="csX17" fmla="*/ 430116 w 460651"/>
                  <a:gd name="csY17" fmla="*/ 262050 h 318355"/>
                  <a:gd name="csX18" fmla="*/ 460651 w 460651"/>
                  <a:gd name="csY18" fmla="*/ 231622 h 318355"/>
                  <a:gd name="csX19" fmla="*/ 430224 w 460651"/>
                  <a:gd name="csY19" fmla="*/ 201087 h 318355"/>
                  <a:gd name="csX20" fmla="*/ 430116 w 460651"/>
                  <a:gd name="csY20" fmla="*/ 201087 h 318355"/>
                  <a:gd name="csX21" fmla="*/ 357305 w 460651"/>
                  <a:gd name="csY21" fmla="*/ 201087 h 318355"/>
                  <a:gd name="csX22" fmla="*/ 357305 w 460651"/>
                  <a:gd name="csY22" fmla="*/ 117266 h 318355"/>
                  <a:gd name="csX23" fmla="*/ 430116 w 460651"/>
                  <a:gd name="csY23" fmla="*/ 117266 h 318355"/>
                  <a:gd name="csX24" fmla="*/ 460598 w 460651"/>
                  <a:gd name="csY24" fmla="*/ 86785 h 318355"/>
                  <a:gd name="csX25" fmla="*/ 460598 w 460651"/>
                  <a:gd name="csY25" fmla="*/ 86784 h 318355"/>
                  <a:gd name="csX26" fmla="*/ 430116 w 460651"/>
                  <a:gd name="csY26" fmla="*/ 56303 h 318355"/>
                  <a:gd name="csX27" fmla="*/ 430116 w 460651"/>
                  <a:gd name="csY27" fmla="*/ 56303 h 3183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Lst>
                <a:rect l="l" t="t" r="r" b="b"/>
                <a:pathLst>
                  <a:path w="460651" h="318355">
                    <a:moveTo>
                      <a:pt x="430116" y="56303"/>
                    </a:moveTo>
                    <a:lnTo>
                      <a:pt x="357305" y="56303"/>
                    </a:lnTo>
                    <a:lnTo>
                      <a:pt x="357305" y="27351"/>
                    </a:lnTo>
                    <a:cubicBezTo>
                      <a:pt x="357305" y="12246"/>
                      <a:pt x="345060" y="0"/>
                      <a:pt x="329955" y="0"/>
                    </a:cubicBezTo>
                    <a:cubicBezTo>
                      <a:pt x="329955" y="0"/>
                      <a:pt x="329955" y="0"/>
                      <a:pt x="329954" y="0"/>
                    </a:cubicBezTo>
                    <a:lnTo>
                      <a:pt x="303373" y="0"/>
                    </a:lnTo>
                    <a:cubicBezTo>
                      <a:pt x="288268" y="0"/>
                      <a:pt x="276023" y="12244"/>
                      <a:pt x="276023" y="27349"/>
                    </a:cubicBezTo>
                    <a:cubicBezTo>
                      <a:pt x="276023" y="27350"/>
                      <a:pt x="276023" y="27350"/>
                      <a:pt x="276023" y="27351"/>
                    </a:cubicBezTo>
                    <a:cubicBezTo>
                      <a:pt x="220708" y="29483"/>
                      <a:pt x="172593" y="65885"/>
                      <a:pt x="155498" y="118535"/>
                    </a:cubicBezTo>
                    <a:lnTo>
                      <a:pt x="0" y="118535"/>
                    </a:lnTo>
                    <a:lnTo>
                      <a:pt x="0" y="199818"/>
                    </a:lnTo>
                    <a:lnTo>
                      <a:pt x="155496" y="199818"/>
                    </a:lnTo>
                    <a:cubicBezTo>
                      <a:pt x="172591" y="252469"/>
                      <a:pt x="220707" y="288873"/>
                      <a:pt x="276023" y="291005"/>
                    </a:cubicBezTo>
                    <a:cubicBezTo>
                      <a:pt x="276023" y="306110"/>
                      <a:pt x="288268" y="318356"/>
                      <a:pt x="303373" y="318356"/>
                    </a:cubicBezTo>
                    <a:lnTo>
                      <a:pt x="329955" y="318356"/>
                    </a:lnTo>
                    <a:cubicBezTo>
                      <a:pt x="345060" y="318356"/>
                      <a:pt x="357305" y="306110"/>
                      <a:pt x="357305" y="291005"/>
                    </a:cubicBezTo>
                    <a:lnTo>
                      <a:pt x="357305" y="262050"/>
                    </a:lnTo>
                    <a:lnTo>
                      <a:pt x="430116" y="262050"/>
                    </a:lnTo>
                    <a:cubicBezTo>
                      <a:pt x="446951" y="262080"/>
                      <a:pt x="460622" y="248457"/>
                      <a:pt x="460651" y="231622"/>
                    </a:cubicBezTo>
                    <a:cubicBezTo>
                      <a:pt x="460681" y="214788"/>
                      <a:pt x="447058" y="201117"/>
                      <a:pt x="430224" y="201087"/>
                    </a:cubicBezTo>
                    <a:cubicBezTo>
                      <a:pt x="430188" y="201087"/>
                      <a:pt x="430152" y="201087"/>
                      <a:pt x="430116" y="201087"/>
                    </a:cubicBezTo>
                    <a:lnTo>
                      <a:pt x="357305" y="201087"/>
                    </a:lnTo>
                    <a:lnTo>
                      <a:pt x="357305" y="117266"/>
                    </a:lnTo>
                    <a:lnTo>
                      <a:pt x="430116" y="117266"/>
                    </a:lnTo>
                    <a:cubicBezTo>
                      <a:pt x="446950" y="117266"/>
                      <a:pt x="460597" y="103619"/>
                      <a:pt x="460598" y="86785"/>
                    </a:cubicBezTo>
                    <a:lnTo>
                      <a:pt x="460598" y="86784"/>
                    </a:lnTo>
                    <a:cubicBezTo>
                      <a:pt x="460598" y="69950"/>
                      <a:pt x="446951" y="56303"/>
                      <a:pt x="430116" y="56303"/>
                    </a:cubicBezTo>
                    <a:cubicBezTo>
                      <a:pt x="430116" y="56303"/>
                      <a:pt x="430116" y="56303"/>
                      <a:pt x="430116" y="56303"/>
                    </a:cubicBezTo>
                    <a:close/>
                  </a:path>
                </a:pathLst>
              </a:custGeom>
              <a:grpFill/>
              <a:ln w="9525" cap="flat">
                <a:noFill/>
                <a:prstDash val="solid"/>
                <a:miter/>
              </a:ln>
            </p:spPr>
            <p:txBody>
              <a:bodyPr/>
              <a:lstStyle/>
              <a:p>
                <a:endParaRPr lang="en-US"/>
              </a:p>
            </p:txBody>
          </p:sp>
          <p:sp>
            <p:nvSpPr>
              <p:cNvPr id="233" name="Freeform: Shape 232">
                <a:extLst>
                  <a:ext uri="{FF2B5EF4-FFF2-40B4-BE49-F238E27FC236}">
                    <a16:creationId xmlns:a16="http://schemas.microsoft.com/office/drawing/2014/main" id="{408233B3-0EC3-FC45-B314-1A72C08F1CAB}"/>
                  </a:ext>
                </a:extLst>
              </p:cNvPr>
              <p:cNvSpPr/>
              <p:nvPr/>
            </p:nvSpPr>
            <p:spPr>
              <a:xfrm>
                <a:off x="5527490" y="3190387"/>
                <a:ext cx="210606" cy="79533"/>
              </a:xfrm>
              <a:custGeom>
                <a:avLst/>
                <a:gdLst>
                  <a:gd name="csX0" fmla="*/ 207425 w 210606"/>
                  <a:gd name="csY0" fmla="*/ 0 h 79533"/>
                  <a:gd name="csX1" fmla="*/ 39764 w 210606"/>
                  <a:gd name="csY1" fmla="*/ 0 h 79533"/>
                  <a:gd name="csX2" fmla="*/ 0 w 210606"/>
                  <a:gd name="csY2" fmla="*/ 39764 h 79533"/>
                  <a:gd name="csX3" fmla="*/ 0 w 210606"/>
                  <a:gd name="csY3" fmla="*/ 39770 h 79533"/>
                  <a:gd name="csX4" fmla="*/ 39764 w 210606"/>
                  <a:gd name="csY4" fmla="*/ 79534 h 79533"/>
                  <a:gd name="csX5" fmla="*/ 210606 w 210606"/>
                  <a:gd name="csY5" fmla="*/ 79534 h 79533"/>
                  <a:gd name="csX6" fmla="*/ 207425 w 210606"/>
                  <a:gd name="csY6" fmla="*/ 0 h 79533"/>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10606" h="79533">
                    <a:moveTo>
                      <a:pt x="207425" y="0"/>
                    </a:moveTo>
                    <a:lnTo>
                      <a:pt x="39764" y="0"/>
                    </a:lnTo>
                    <a:cubicBezTo>
                      <a:pt x="17803" y="0"/>
                      <a:pt x="0" y="17803"/>
                      <a:pt x="0" y="39764"/>
                    </a:cubicBezTo>
                    <a:lnTo>
                      <a:pt x="0" y="39770"/>
                    </a:lnTo>
                    <a:cubicBezTo>
                      <a:pt x="0" y="61731"/>
                      <a:pt x="17803" y="79534"/>
                      <a:pt x="39764" y="79534"/>
                    </a:cubicBezTo>
                    <a:lnTo>
                      <a:pt x="210606" y="79534"/>
                    </a:lnTo>
                    <a:cubicBezTo>
                      <a:pt x="206871" y="53197"/>
                      <a:pt x="205805" y="26551"/>
                      <a:pt x="207425" y="0"/>
                    </a:cubicBezTo>
                    <a:close/>
                  </a:path>
                </a:pathLst>
              </a:custGeom>
              <a:grpFill/>
              <a:ln w="9525" cap="flat">
                <a:noFill/>
                <a:prstDash val="solid"/>
                <a:miter/>
              </a:ln>
            </p:spPr>
            <p:txBody>
              <a:bodyPr/>
              <a:lstStyle/>
              <a:p>
                <a:endParaRPr lang="en-US"/>
              </a:p>
            </p:txBody>
          </p:sp>
          <p:sp>
            <p:nvSpPr>
              <p:cNvPr id="234" name="Freeform: Shape 233">
                <a:extLst>
                  <a:ext uri="{FF2B5EF4-FFF2-40B4-BE49-F238E27FC236}">
                    <a16:creationId xmlns:a16="http://schemas.microsoft.com/office/drawing/2014/main" id="{4EEDA706-A83D-5E0A-6228-9DBFF47F8D28}"/>
                  </a:ext>
                </a:extLst>
              </p:cNvPr>
              <p:cNvSpPr/>
              <p:nvPr/>
            </p:nvSpPr>
            <p:spPr>
              <a:xfrm>
                <a:off x="5598349" y="2925918"/>
                <a:ext cx="194785" cy="154712"/>
              </a:xfrm>
              <a:custGeom>
                <a:avLst/>
                <a:gdLst>
                  <a:gd name="csX0" fmla="*/ 19890 w 194785"/>
                  <a:gd name="csY0" fmla="*/ 74222 h 154712"/>
                  <a:gd name="csX1" fmla="*/ 159313 w 194785"/>
                  <a:gd name="csY1" fmla="*/ 154712 h 154712"/>
                  <a:gd name="csX2" fmla="*/ 194785 w 194785"/>
                  <a:gd name="csY2" fmla="*/ 83291 h 154712"/>
                  <a:gd name="csX3" fmla="*/ 59650 w 194785"/>
                  <a:gd name="csY3" fmla="*/ 5328 h 154712"/>
                  <a:gd name="csX4" fmla="*/ 5343 w 194785"/>
                  <a:gd name="csY4" fmla="*/ 19888 h 154712"/>
                  <a:gd name="csX5" fmla="*/ 5334 w 194785"/>
                  <a:gd name="csY5" fmla="*/ 19902 h 154712"/>
                  <a:gd name="csX6" fmla="*/ 19888 w 194785"/>
                  <a:gd name="csY6" fmla="*/ 74221 h 154712"/>
                  <a:gd name="csX7" fmla="*/ 19890 w 194785"/>
                  <a:gd name="csY7" fmla="*/ 74222 h 1547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94785" h="154712">
                    <a:moveTo>
                      <a:pt x="19890" y="74222"/>
                    </a:moveTo>
                    <a:lnTo>
                      <a:pt x="159313" y="154712"/>
                    </a:lnTo>
                    <a:cubicBezTo>
                      <a:pt x="168586" y="129721"/>
                      <a:pt x="180476" y="105781"/>
                      <a:pt x="194785" y="83291"/>
                    </a:cubicBezTo>
                    <a:lnTo>
                      <a:pt x="59650" y="5328"/>
                    </a:lnTo>
                    <a:cubicBezTo>
                      <a:pt x="40632" y="-5644"/>
                      <a:pt x="16321" y="874"/>
                      <a:pt x="5343" y="19888"/>
                    </a:cubicBezTo>
                    <a:lnTo>
                      <a:pt x="5334" y="19902"/>
                    </a:lnTo>
                    <a:cubicBezTo>
                      <a:pt x="-5647" y="38921"/>
                      <a:pt x="869" y="63240"/>
                      <a:pt x="19888" y="74221"/>
                    </a:cubicBezTo>
                    <a:cubicBezTo>
                      <a:pt x="19889" y="74222"/>
                      <a:pt x="19889" y="74222"/>
                      <a:pt x="19890" y="74222"/>
                    </a:cubicBezTo>
                    <a:close/>
                  </a:path>
                </a:pathLst>
              </a:custGeom>
              <a:grpFill/>
              <a:ln w="9525" cap="flat">
                <a:noFill/>
                <a:prstDash val="solid"/>
                <a:miter/>
              </a:ln>
            </p:spPr>
            <p:txBody>
              <a:bodyPr/>
              <a:lstStyle/>
              <a:p>
                <a:endParaRPr lang="en-US"/>
              </a:p>
            </p:txBody>
          </p:sp>
          <p:sp>
            <p:nvSpPr>
              <p:cNvPr id="235" name="Freeform: Shape 234">
                <a:extLst>
                  <a:ext uri="{FF2B5EF4-FFF2-40B4-BE49-F238E27FC236}">
                    <a16:creationId xmlns:a16="http://schemas.microsoft.com/office/drawing/2014/main" id="{64FC1A8C-27A1-C94E-4259-E28A8F48E300}"/>
                  </a:ext>
                </a:extLst>
              </p:cNvPr>
              <p:cNvSpPr/>
              <p:nvPr/>
            </p:nvSpPr>
            <p:spPr>
              <a:xfrm>
                <a:off x="5598350" y="3374111"/>
                <a:ext cx="205123" cy="160108"/>
              </a:xfrm>
              <a:custGeom>
                <a:avLst/>
                <a:gdLst>
                  <a:gd name="csX0" fmla="*/ 59654 w 205123"/>
                  <a:gd name="csY0" fmla="*/ 154774 h 160108"/>
                  <a:gd name="csX1" fmla="*/ 205123 w 205123"/>
                  <a:gd name="csY1" fmla="*/ 70785 h 160108"/>
                  <a:gd name="csX2" fmla="*/ 200351 w 205123"/>
                  <a:gd name="csY2" fmla="*/ 62514 h 160108"/>
                  <a:gd name="csX3" fmla="*/ 168697 w 205123"/>
                  <a:gd name="csY3" fmla="*/ 0 h 160108"/>
                  <a:gd name="csX4" fmla="*/ 19891 w 205123"/>
                  <a:gd name="csY4" fmla="*/ 85899 h 160108"/>
                  <a:gd name="csX5" fmla="*/ 5333 w 205123"/>
                  <a:gd name="csY5" fmla="*/ 140217 h 160108"/>
                  <a:gd name="csX6" fmla="*/ 5334 w 205123"/>
                  <a:gd name="csY6" fmla="*/ 140220 h 160108"/>
                  <a:gd name="csX7" fmla="*/ 5335 w 205123"/>
                  <a:gd name="csY7" fmla="*/ 140221 h 160108"/>
                  <a:gd name="csX8" fmla="*/ 59653 w 205123"/>
                  <a:gd name="csY8" fmla="*/ 154774 h 160108"/>
                  <a:gd name="csX9" fmla="*/ 59654 w 205123"/>
                  <a:gd name="csY9" fmla="*/ 154774 h 1601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05123" h="160108">
                    <a:moveTo>
                      <a:pt x="59654" y="154774"/>
                    </a:moveTo>
                    <a:lnTo>
                      <a:pt x="205123" y="70785"/>
                    </a:lnTo>
                    <a:cubicBezTo>
                      <a:pt x="203533" y="68080"/>
                      <a:pt x="201942" y="65377"/>
                      <a:pt x="200351" y="62514"/>
                    </a:cubicBezTo>
                    <a:cubicBezTo>
                      <a:pt x="189375" y="42789"/>
                      <a:pt x="178400" y="22110"/>
                      <a:pt x="168697" y="0"/>
                    </a:cubicBezTo>
                    <a:lnTo>
                      <a:pt x="19891" y="85899"/>
                    </a:lnTo>
                    <a:cubicBezTo>
                      <a:pt x="872" y="96879"/>
                      <a:pt x="-5647" y="121197"/>
                      <a:pt x="5333" y="140217"/>
                    </a:cubicBezTo>
                    <a:cubicBezTo>
                      <a:pt x="5333" y="140218"/>
                      <a:pt x="5334" y="140219"/>
                      <a:pt x="5334" y="140220"/>
                    </a:cubicBezTo>
                    <a:lnTo>
                      <a:pt x="5335" y="140221"/>
                    </a:lnTo>
                    <a:cubicBezTo>
                      <a:pt x="16316" y="159239"/>
                      <a:pt x="40635" y="165755"/>
                      <a:pt x="59653" y="154774"/>
                    </a:cubicBezTo>
                    <a:cubicBezTo>
                      <a:pt x="59653" y="154774"/>
                      <a:pt x="59654" y="154774"/>
                      <a:pt x="59654" y="154774"/>
                    </a:cubicBezTo>
                    <a:close/>
                  </a:path>
                </a:pathLst>
              </a:custGeom>
              <a:grpFill/>
              <a:ln w="9525" cap="flat">
                <a:noFill/>
                <a:prstDash val="solid"/>
                <a:miter/>
              </a:ln>
            </p:spPr>
            <p:txBody>
              <a:bodyPr/>
              <a:lstStyle/>
              <a:p>
                <a:endParaRPr lang="en-US"/>
              </a:p>
            </p:txBody>
          </p:sp>
          <p:sp>
            <p:nvSpPr>
              <p:cNvPr id="236" name="Freeform: Shape 235">
                <a:extLst>
                  <a:ext uri="{FF2B5EF4-FFF2-40B4-BE49-F238E27FC236}">
                    <a16:creationId xmlns:a16="http://schemas.microsoft.com/office/drawing/2014/main" id="{9F344F05-C25A-D6C1-1BF8-D8AA3242DBA5}"/>
                  </a:ext>
                </a:extLst>
              </p:cNvPr>
              <p:cNvSpPr/>
              <p:nvPr/>
            </p:nvSpPr>
            <p:spPr>
              <a:xfrm>
                <a:off x="6388526" y="3374111"/>
                <a:ext cx="205130" cy="160108"/>
              </a:xfrm>
              <a:custGeom>
                <a:avLst/>
                <a:gdLst>
                  <a:gd name="csX0" fmla="*/ 185252 w 205130"/>
                  <a:gd name="csY0" fmla="*/ 85894 h 160108"/>
                  <a:gd name="csX1" fmla="*/ 36585 w 205130"/>
                  <a:gd name="csY1" fmla="*/ 0 h 160108"/>
                  <a:gd name="csX2" fmla="*/ 4772 w 205130"/>
                  <a:gd name="csY2" fmla="*/ 62832 h 160108"/>
                  <a:gd name="csX3" fmla="*/ 0 w 205130"/>
                  <a:gd name="csY3" fmla="*/ 70785 h 160108"/>
                  <a:gd name="csX4" fmla="*/ 145469 w 205130"/>
                  <a:gd name="csY4" fmla="*/ 154774 h 160108"/>
                  <a:gd name="csX5" fmla="*/ 199788 w 205130"/>
                  <a:gd name="csY5" fmla="*/ 140220 h 160108"/>
                  <a:gd name="csX6" fmla="*/ 199796 w 205130"/>
                  <a:gd name="csY6" fmla="*/ 140206 h 160108"/>
                  <a:gd name="csX7" fmla="*/ 185253 w 205130"/>
                  <a:gd name="csY7" fmla="*/ 85894 h 1601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205130" h="160108">
                    <a:moveTo>
                      <a:pt x="185252" y="85894"/>
                    </a:moveTo>
                    <a:lnTo>
                      <a:pt x="36585" y="0"/>
                    </a:lnTo>
                    <a:cubicBezTo>
                      <a:pt x="27108" y="21496"/>
                      <a:pt x="16488" y="42469"/>
                      <a:pt x="4772" y="62832"/>
                    </a:cubicBezTo>
                    <a:cubicBezTo>
                      <a:pt x="3340" y="65536"/>
                      <a:pt x="1750" y="68080"/>
                      <a:pt x="0" y="70785"/>
                    </a:cubicBezTo>
                    <a:lnTo>
                      <a:pt x="145469" y="154774"/>
                    </a:lnTo>
                    <a:cubicBezTo>
                      <a:pt x="164488" y="165755"/>
                      <a:pt x="188807" y="159239"/>
                      <a:pt x="199788" y="140220"/>
                    </a:cubicBezTo>
                    <a:lnTo>
                      <a:pt x="199796" y="140206"/>
                    </a:lnTo>
                    <a:cubicBezTo>
                      <a:pt x="210774" y="121192"/>
                      <a:pt x="204264" y="96878"/>
                      <a:pt x="185253" y="85894"/>
                    </a:cubicBezTo>
                    <a:close/>
                  </a:path>
                </a:pathLst>
              </a:custGeom>
              <a:grpFill/>
              <a:ln w="9525" cap="flat">
                <a:noFill/>
                <a:prstDash val="solid"/>
                <a:miter/>
              </a:ln>
            </p:spPr>
            <p:txBody>
              <a:bodyPr/>
              <a:lstStyle/>
              <a:p>
                <a:endParaRPr lang="en-US"/>
              </a:p>
            </p:txBody>
          </p:sp>
          <p:sp>
            <p:nvSpPr>
              <p:cNvPr id="237" name="Freeform: Shape 236">
                <a:extLst>
                  <a:ext uri="{FF2B5EF4-FFF2-40B4-BE49-F238E27FC236}">
                    <a16:creationId xmlns:a16="http://schemas.microsoft.com/office/drawing/2014/main" id="{DA1CE10D-A3BC-3DB8-7C84-4F3D8261D9EA}"/>
                  </a:ext>
                </a:extLst>
              </p:cNvPr>
              <p:cNvSpPr/>
              <p:nvPr/>
            </p:nvSpPr>
            <p:spPr>
              <a:xfrm>
                <a:off x="6399024" y="2925934"/>
                <a:ext cx="194623" cy="154696"/>
              </a:xfrm>
              <a:custGeom>
                <a:avLst/>
                <a:gdLst>
                  <a:gd name="csX0" fmla="*/ 174736 w 194623"/>
                  <a:gd name="csY0" fmla="*/ 74206 h 154696"/>
                  <a:gd name="csX1" fmla="*/ 189289 w 194623"/>
                  <a:gd name="csY1" fmla="*/ 19888 h 154696"/>
                  <a:gd name="csX2" fmla="*/ 134970 w 194623"/>
                  <a:gd name="csY2" fmla="*/ 5334 h 154696"/>
                  <a:gd name="csX3" fmla="*/ 0 w 194623"/>
                  <a:gd name="csY3" fmla="*/ 83275 h 154696"/>
                  <a:gd name="csX4" fmla="*/ 35313 w 194623"/>
                  <a:gd name="csY4" fmla="*/ 154697 h 154696"/>
                </a:gdLst>
                <a:ahLst/>
                <a:cxnLst>
                  <a:cxn ang="0">
                    <a:pos x="csX0" y="csY0"/>
                  </a:cxn>
                  <a:cxn ang="0">
                    <a:pos x="csX1" y="csY1"/>
                  </a:cxn>
                  <a:cxn ang="0">
                    <a:pos x="csX2" y="csY2"/>
                  </a:cxn>
                  <a:cxn ang="0">
                    <a:pos x="csX3" y="csY3"/>
                  </a:cxn>
                  <a:cxn ang="0">
                    <a:pos x="csX4" y="csY4"/>
                  </a:cxn>
                </a:cxnLst>
                <a:rect l="l" t="t" r="r" b="b"/>
                <a:pathLst>
                  <a:path w="194623" h="154696">
                    <a:moveTo>
                      <a:pt x="174736" y="74206"/>
                    </a:moveTo>
                    <a:cubicBezTo>
                      <a:pt x="193754" y="63226"/>
                      <a:pt x="200270" y="38906"/>
                      <a:pt x="189289" y="19888"/>
                    </a:cubicBezTo>
                    <a:cubicBezTo>
                      <a:pt x="178308" y="869"/>
                      <a:pt x="153989" y="-5646"/>
                      <a:pt x="134970" y="5334"/>
                    </a:cubicBezTo>
                    <a:lnTo>
                      <a:pt x="0" y="83275"/>
                    </a:lnTo>
                    <a:cubicBezTo>
                      <a:pt x="14259" y="105769"/>
                      <a:pt x="26096" y="129710"/>
                      <a:pt x="35313" y="154697"/>
                    </a:cubicBezTo>
                    <a:close/>
                  </a:path>
                </a:pathLst>
              </a:custGeom>
              <a:grpFill/>
              <a:ln w="9525" cap="flat">
                <a:noFill/>
                <a:prstDash val="solid"/>
                <a:miter/>
              </a:ln>
            </p:spPr>
            <p:txBody>
              <a:bodyPr/>
              <a:lstStyle/>
              <a:p>
                <a:endParaRPr lang="en-US"/>
              </a:p>
            </p:txBody>
          </p:sp>
          <p:sp>
            <p:nvSpPr>
              <p:cNvPr id="238" name="Freeform: Shape 237">
                <a:extLst>
                  <a:ext uri="{FF2B5EF4-FFF2-40B4-BE49-F238E27FC236}">
                    <a16:creationId xmlns:a16="http://schemas.microsoft.com/office/drawing/2014/main" id="{0E60A9F6-E2FA-D0A9-25FD-682E07531F23}"/>
                  </a:ext>
                </a:extLst>
              </p:cNvPr>
              <p:cNvSpPr/>
              <p:nvPr/>
            </p:nvSpPr>
            <p:spPr>
              <a:xfrm>
                <a:off x="6453903" y="3190388"/>
                <a:ext cx="210605" cy="79533"/>
              </a:xfrm>
              <a:custGeom>
                <a:avLst/>
                <a:gdLst>
                  <a:gd name="csX0" fmla="*/ 170842 w 210605"/>
                  <a:gd name="csY0" fmla="*/ 0 h 79533"/>
                  <a:gd name="csX1" fmla="*/ 3181 w 210605"/>
                  <a:gd name="csY1" fmla="*/ 0 h 79533"/>
                  <a:gd name="csX2" fmla="*/ 0 w 210605"/>
                  <a:gd name="csY2" fmla="*/ 79534 h 79533"/>
                  <a:gd name="csX3" fmla="*/ 170842 w 210605"/>
                  <a:gd name="csY3" fmla="*/ 79534 h 79533"/>
                  <a:gd name="csX4" fmla="*/ 210606 w 210605"/>
                  <a:gd name="csY4" fmla="*/ 39771 h 79533"/>
                  <a:gd name="csX5" fmla="*/ 210606 w 210605"/>
                  <a:gd name="csY5" fmla="*/ 39770 h 79533"/>
                  <a:gd name="csX6" fmla="*/ 210605 w 210605"/>
                  <a:gd name="csY6" fmla="*/ 39764 h 79533"/>
                  <a:gd name="csX7" fmla="*/ 170842 w 210605"/>
                  <a:gd name="csY7" fmla="*/ 0 h 79533"/>
                  <a:gd name="csX8" fmla="*/ 170842 w 210605"/>
                  <a:gd name="csY8" fmla="*/ 0 h 7953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10605" h="79533">
                    <a:moveTo>
                      <a:pt x="170842" y="0"/>
                    </a:moveTo>
                    <a:lnTo>
                      <a:pt x="3181" y="0"/>
                    </a:lnTo>
                    <a:cubicBezTo>
                      <a:pt x="4801" y="26551"/>
                      <a:pt x="3735" y="53197"/>
                      <a:pt x="0" y="79534"/>
                    </a:cubicBezTo>
                    <a:lnTo>
                      <a:pt x="170842" y="79534"/>
                    </a:lnTo>
                    <a:cubicBezTo>
                      <a:pt x="192802" y="79534"/>
                      <a:pt x="210605" y="61731"/>
                      <a:pt x="210606" y="39771"/>
                    </a:cubicBezTo>
                    <a:cubicBezTo>
                      <a:pt x="210606" y="39770"/>
                      <a:pt x="210606" y="39770"/>
                      <a:pt x="210606" y="39770"/>
                    </a:cubicBezTo>
                    <a:lnTo>
                      <a:pt x="210605" y="39764"/>
                    </a:lnTo>
                    <a:cubicBezTo>
                      <a:pt x="210606" y="17803"/>
                      <a:pt x="192803" y="0"/>
                      <a:pt x="170842" y="0"/>
                    </a:cubicBezTo>
                    <a:cubicBezTo>
                      <a:pt x="170842" y="0"/>
                      <a:pt x="170842" y="0"/>
                      <a:pt x="170842" y="0"/>
                    </a:cubicBezTo>
                    <a:close/>
                  </a:path>
                </a:pathLst>
              </a:custGeom>
              <a:grpFill/>
              <a:ln w="9525" cap="flat">
                <a:noFill/>
                <a:prstDash val="solid"/>
                <a:miter/>
              </a:ln>
            </p:spPr>
            <p:txBody>
              <a:bodyPr/>
              <a:lstStyle/>
              <a:p>
                <a:endParaRPr lang="en-US"/>
              </a:p>
            </p:txBody>
          </p:sp>
        </p:grpSp>
      </p:grpSp>
      <p:grpSp>
        <p:nvGrpSpPr>
          <p:cNvPr id="249" name="Group 248">
            <a:extLst>
              <a:ext uri="{FF2B5EF4-FFF2-40B4-BE49-F238E27FC236}">
                <a16:creationId xmlns:a16="http://schemas.microsoft.com/office/drawing/2014/main" id="{9E34C272-082D-E31C-9748-81891EBE3D2D}"/>
              </a:ext>
            </a:extLst>
          </p:cNvPr>
          <p:cNvGrpSpPr/>
          <p:nvPr/>
        </p:nvGrpSpPr>
        <p:grpSpPr>
          <a:xfrm>
            <a:off x="372424" y="4060983"/>
            <a:ext cx="354334" cy="354334"/>
            <a:chOff x="372424" y="4060983"/>
            <a:chExt cx="354334" cy="354334"/>
          </a:xfrm>
        </p:grpSpPr>
        <p:sp>
          <p:nvSpPr>
            <p:cNvPr id="205" name="Oval 204">
              <a:extLst>
                <a:ext uri="{FF2B5EF4-FFF2-40B4-BE49-F238E27FC236}">
                  <a16:creationId xmlns:a16="http://schemas.microsoft.com/office/drawing/2014/main" id="{A4C3C693-32F3-8F42-FC03-361742E6C6A3}"/>
                </a:ext>
              </a:extLst>
            </p:cNvPr>
            <p:cNvSpPr/>
            <p:nvPr/>
          </p:nvSpPr>
          <p:spPr>
            <a:xfrm>
              <a:off x="372424" y="4060983"/>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3" name="Graphic 241">
              <a:extLst>
                <a:ext uri="{FF2B5EF4-FFF2-40B4-BE49-F238E27FC236}">
                  <a16:creationId xmlns:a16="http://schemas.microsoft.com/office/drawing/2014/main" id="{8756AFB5-8BE9-8C9F-FFA4-C4FC87EB54B0}"/>
                </a:ext>
              </a:extLst>
            </p:cNvPr>
            <p:cNvGrpSpPr/>
            <p:nvPr/>
          </p:nvGrpSpPr>
          <p:grpSpPr>
            <a:xfrm>
              <a:off x="460904" y="4148014"/>
              <a:ext cx="177374" cy="180273"/>
              <a:chOff x="4662100" y="1971675"/>
              <a:chExt cx="2865487" cy="2912316"/>
            </a:xfrm>
            <a:solidFill>
              <a:srgbClr val="2B660F"/>
            </a:solidFill>
          </p:grpSpPr>
          <p:sp>
            <p:nvSpPr>
              <p:cNvPr id="244" name="Freeform: Shape 243">
                <a:extLst>
                  <a:ext uri="{FF2B5EF4-FFF2-40B4-BE49-F238E27FC236}">
                    <a16:creationId xmlns:a16="http://schemas.microsoft.com/office/drawing/2014/main" id="{7197F3C3-DC19-8D07-560C-8E9D31C50C5F}"/>
                  </a:ext>
                </a:extLst>
              </p:cNvPr>
              <p:cNvSpPr/>
              <p:nvPr/>
            </p:nvSpPr>
            <p:spPr>
              <a:xfrm>
                <a:off x="6818852" y="2555262"/>
                <a:ext cx="708736" cy="430368"/>
              </a:xfrm>
              <a:custGeom>
                <a:avLst/>
                <a:gdLst>
                  <a:gd name="csX0" fmla="*/ 708727 w 708736"/>
                  <a:gd name="csY0" fmla="*/ 136617 h 430368"/>
                  <a:gd name="csX1" fmla="*/ 708679 w 708736"/>
                  <a:gd name="csY1" fmla="*/ 135007 h 430368"/>
                  <a:gd name="csX2" fmla="*/ 571548 w 708736"/>
                  <a:gd name="csY2" fmla="*/ 0 h 430368"/>
                  <a:gd name="csX3" fmla="*/ 499434 w 708736"/>
                  <a:gd name="csY3" fmla="*/ 20469 h 430368"/>
                  <a:gd name="csX4" fmla="*/ 450580 w 708736"/>
                  <a:gd name="csY4" fmla="*/ 0 h 430368"/>
                  <a:gd name="csX5" fmla="*/ 382477 w 708736"/>
                  <a:gd name="csY5" fmla="*/ 60722 h 430368"/>
                  <a:gd name="csX6" fmla="*/ 337014 w 708736"/>
                  <a:gd name="csY6" fmla="*/ 55512 h 430368"/>
                  <a:gd name="csX7" fmla="*/ 276406 w 708736"/>
                  <a:gd name="csY7" fmla="*/ 64856 h 430368"/>
                  <a:gd name="csX8" fmla="*/ 196405 w 708736"/>
                  <a:gd name="csY8" fmla="*/ 20479 h 430368"/>
                  <a:gd name="csX9" fmla="*/ 102203 w 708736"/>
                  <a:gd name="csY9" fmla="*/ 108976 h 430368"/>
                  <a:gd name="csX10" fmla="*/ 0 w 708736"/>
                  <a:gd name="csY10" fmla="*/ 258728 h 430368"/>
                  <a:gd name="csX11" fmla="*/ 160820 w 708736"/>
                  <a:gd name="csY11" fmla="*/ 419557 h 430368"/>
                  <a:gd name="csX12" fmla="*/ 251584 w 708736"/>
                  <a:gd name="csY12" fmla="*/ 391487 h 430368"/>
                  <a:gd name="csX13" fmla="*/ 269367 w 708736"/>
                  <a:gd name="csY13" fmla="*/ 385867 h 430368"/>
                  <a:gd name="csX14" fmla="*/ 306553 w 708736"/>
                  <a:gd name="csY14" fmla="*/ 390239 h 430368"/>
                  <a:gd name="csX15" fmla="*/ 373132 w 708736"/>
                  <a:gd name="csY15" fmla="*/ 375799 h 430368"/>
                  <a:gd name="csX16" fmla="*/ 496281 w 708736"/>
                  <a:gd name="csY16" fmla="*/ 430368 h 430368"/>
                  <a:gd name="csX17" fmla="*/ 662502 w 708736"/>
                  <a:gd name="csY17" fmla="*/ 264138 h 430368"/>
                  <a:gd name="csX18" fmla="*/ 660892 w 708736"/>
                  <a:gd name="csY18" fmla="*/ 241230 h 430368"/>
                  <a:gd name="csX19" fmla="*/ 708736 w 708736"/>
                  <a:gd name="csY19" fmla="*/ 137179 h 430368"/>
                  <a:gd name="csX20" fmla="*/ 708736 w 708736"/>
                  <a:gd name="csY20" fmla="*/ 136798 h 430368"/>
                  <a:gd name="csX21" fmla="*/ 708727 w 708736"/>
                  <a:gd name="csY21" fmla="*/ 136617 h 43036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708736" h="430368">
                    <a:moveTo>
                      <a:pt x="708727" y="136617"/>
                    </a:moveTo>
                    <a:cubicBezTo>
                      <a:pt x="708727" y="136074"/>
                      <a:pt x="708689" y="135550"/>
                      <a:pt x="708679" y="135007"/>
                    </a:cubicBezTo>
                    <a:cubicBezTo>
                      <a:pt x="707508" y="60246"/>
                      <a:pt x="646576" y="0"/>
                      <a:pt x="571548" y="0"/>
                    </a:cubicBezTo>
                    <a:cubicBezTo>
                      <a:pt x="545097" y="0"/>
                      <a:pt x="520398" y="7506"/>
                      <a:pt x="499434" y="20469"/>
                    </a:cubicBezTo>
                    <a:cubicBezTo>
                      <a:pt x="486994" y="7839"/>
                      <a:pt x="469716" y="0"/>
                      <a:pt x="450580" y="0"/>
                    </a:cubicBezTo>
                    <a:cubicBezTo>
                      <a:pt x="415366" y="0"/>
                      <a:pt x="386382" y="26546"/>
                      <a:pt x="382477" y="60722"/>
                    </a:cubicBezTo>
                    <a:cubicBezTo>
                      <a:pt x="368198" y="57360"/>
                      <a:pt x="352930" y="55512"/>
                      <a:pt x="337014" y="55512"/>
                    </a:cubicBezTo>
                    <a:cubicBezTo>
                      <a:pt x="315373" y="55512"/>
                      <a:pt x="294846" y="58864"/>
                      <a:pt x="276406" y="64856"/>
                    </a:cubicBezTo>
                    <a:cubicBezTo>
                      <a:pt x="259690" y="38233"/>
                      <a:pt x="230153" y="20479"/>
                      <a:pt x="196405" y="20479"/>
                    </a:cubicBezTo>
                    <a:cubicBezTo>
                      <a:pt x="146237" y="20479"/>
                      <a:pt x="105318" y="59588"/>
                      <a:pt x="102203" y="108976"/>
                    </a:cubicBezTo>
                    <a:cubicBezTo>
                      <a:pt x="42386" y="132407"/>
                      <a:pt x="0" y="190595"/>
                      <a:pt x="0" y="258728"/>
                    </a:cubicBezTo>
                    <a:cubicBezTo>
                      <a:pt x="0" y="347558"/>
                      <a:pt x="72000" y="419557"/>
                      <a:pt x="160820" y="419557"/>
                    </a:cubicBezTo>
                    <a:cubicBezTo>
                      <a:pt x="194510" y="419557"/>
                      <a:pt x="225752" y="409184"/>
                      <a:pt x="251584" y="391487"/>
                    </a:cubicBezTo>
                    <a:cubicBezTo>
                      <a:pt x="257689" y="389858"/>
                      <a:pt x="263604" y="387972"/>
                      <a:pt x="269367" y="385867"/>
                    </a:cubicBezTo>
                    <a:cubicBezTo>
                      <a:pt x="281311" y="388696"/>
                      <a:pt x="293742" y="390239"/>
                      <a:pt x="306553" y="390239"/>
                    </a:cubicBezTo>
                    <a:cubicBezTo>
                      <a:pt x="330308" y="390239"/>
                      <a:pt x="352835" y="385048"/>
                      <a:pt x="373132" y="375799"/>
                    </a:cubicBezTo>
                    <a:cubicBezTo>
                      <a:pt x="403546" y="409327"/>
                      <a:pt x="447456" y="430368"/>
                      <a:pt x="496281" y="430368"/>
                    </a:cubicBezTo>
                    <a:cubicBezTo>
                      <a:pt x="588083" y="430368"/>
                      <a:pt x="662502" y="355949"/>
                      <a:pt x="662502" y="264138"/>
                    </a:cubicBezTo>
                    <a:cubicBezTo>
                      <a:pt x="662502" y="256365"/>
                      <a:pt x="661930" y="248726"/>
                      <a:pt x="660892" y="241230"/>
                    </a:cubicBezTo>
                    <a:cubicBezTo>
                      <a:pt x="690162" y="216075"/>
                      <a:pt x="708736" y="178803"/>
                      <a:pt x="708736" y="137179"/>
                    </a:cubicBezTo>
                    <a:cubicBezTo>
                      <a:pt x="708736" y="137046"/>
                      <a:pt x="708736" y="136931"/>
                      <a:pt x="708736" y="136798"/>
                    </a:cubicBezTo>
                    <a:cubicBezTo>
                      <a:pt x="708727" y="136741"/>
                      <a:pt x="708727" y="136674"/>
                      <a:pt x="708727" y="136617"/>
                    </a:cubicBezTo>
                    <a:close/>
                  </a:path>
                </a:pathLst>
              </a:custGeom>
              <a:grpFill/>
              <a:ln w="9525" cap="flat">
                <a:noFill/>
                <a:prstDash val="solid"/>
                <a:miter/>
              </a:ln>
            </p:spPr>
            <p:txBody>
              <a:bodyPr/>
              <a:lstStyle/>
              <a:p>
                <a:endParaRPr lang="en-US"/>
              </a:p>
            </p:txBody>
          </p:sp>
          <p:sp>
            <p:nvSpPr>
              <p:cNvPr id="245" name="Freeform: Shape 244">
                <a:extLst>
                  <a:ext uri="{FF2B5EF4-FFF2-40B4-BE49-F238E27FC236}">
                    <a16:creationId xmlns:a16="http://schemas.microsoft.com/office/drawing/2014/main" id="{EC0329CC-A094-AC00-03CE-0E63327E1C65}"/>
                  </a:ext>
                </a:extLst>
              </p:cNvPr>
              <p:cNvSpPr/>
              <p:nvPr/>
            </p:nvSpPr>
            <p:spPr>
              <a:xfrm>
                <a:off x="6818842" y="3008861"/>
                <a:ext cx="660097" cy="1304801"/>
              </a:xfrm>
              <a:custGeom>
                <a:avLst/>
                <a:gdLst>
                  <a:gd name="csX0" fmla="*/ 393992 w 660097"/>
                  <a:gd name="csY0" fmla="*/ 485994 h 1304801"/>
                  <a:gd name="csX1" fmla="*/ 393992 w 660097"/>
                  <a:gd name="csY1" fmla="*/ 106747 h 1304801"/>
                  <a:gd name="csX2" fmla="*/ 287255 w 660097"/>
                  <a:gd name="csY2" fmla="*/ 0 h 1304801"/>
                  <a:gd name="csX3" fmla="*/ 0 w 660097"/>
                  <a:gd name="csY3" fmla="*/ 0 h 1304801"/>
                  <a:gd name="csX4" fmla="*/ 0 w 660097"/>
                  <a:gd name="csY4" fmla="*/ 412204 h 1304801"/>
                  <a:gd name="csX5" fmla="*/ 343081 w 660097"/>
                  <a:gd name="csY5" fmla="*/ 1304801 h 1304801"/>
                  <a:gd name="csX6" fmla="*/ 553345 w 660097"/>
                  <a:gd name="csY6" fmla="*/ 1304801 h 1304801"/>
                  <a:gd name="csX7" fmla="*/ 641328 w 660097"/>
                  <a:gd name="csY7" fmla="*/ 1258491 h 1304801"/>
                  <a:gd name="csX8" fmla="*/ 652996 w 660097"/>
                  <a:gd name="csY8" fmla="*/ 1159764 h 1304801"/>
                  <a:gd name="csX9" fmla="*/ 393992 w 660097"/>
                  <a:gd name="csY9" fmla="*/ 485994 h 130480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660097" h="1304801">
                    <a:moveTo>
                      <a:pt x="393992" y="485994"/>
                    </a:moveTo>
                    <a:lnTo>
                      <a:pt x="393992" y="106747"/>
                    </a:lnTo>
                    <a:cubicBezTo>
                      <a:pt x="393992" y="47787"/>
                      <a:pt x="346205" y="0"/>
                      <a:pt x="287255" y="0"/>
                    </a:cubicBezTo>
                    <a:lnTo>
                      <a:pt x="0" y="0"/>
                    </a:lnTo>
                    <a:lnTo>
                      <a:pt x="0" y="412204"/>
                    </a:lnTo>
                    <a:lnTo>
                      <a:pt x="343081" y="1304801"/>
                    </a:lnTo>
                    <a:lnTo>
                      <a:pt x="553345" y="1304801"/>
                    </a:lnTo>
                    <a:cubicBezTo>
                      <a:pt x="588521" y="1304801"/>
                      <a:pt x="621421" y="1287504"/>
                      <a:pt x="641328" y="1258491"/>
                    </a:cubicBezTo>
                    <a:cubicBezTo>
                      <a:pt x="661245" y="1229487"/>
                      <a:pt x="665607" y="1192568"/>
                      <a:pt x="652996" y="1159764"/>
                    </a:cubicBezTo>
                    <a:lnTo>
                      <a:pt x="393992" y="485994"/>
                    </a:lnTo>
                    <a:close/>
                  </a:path>
                </a:pathLst>
              </a:custGeom>
              <a:grpFill/>
              <a:ln w="9525" cap="flat">
                <a:noFill/>
                <a:prstDash val="solid"/>
                <a:miter/>
              </a:ln>
            </p:spPr>
            <p:txBody>
              <a:bodyPr/>
              <a:lstStyle/>
              <a:p>
                <a:endParaRPr lang="en-US"/>
              </a:p>
            </p:txBody>
          </p:sp>
          <p:sp>
            <p:nvSpPr>
              <p:cNvPr id="246" name="Freeform: Shape 245">
                <a:extLst>
                  <a:ext uri="{FF2B5EF4-FFF2-40B4-BE49-F238E27FC236}">
                    <a16:creationId xmlns:a16="http://schemas.microsoft.com/office/drawing/2014/main" id="{640A88E9-92E2-4F3D-3D31-089260C9CD50}"/>
                  </a:ext>
                </a:extLst>
              </p:cNvPr>
              <p:cNvSpPr/>
              <p:nvPr/>
            </p:nvSpPr>
            <p:spPr>
              <a:xfrm>
                <a:off x="5920873" y="2715872"/>
                <a:ext cx="1177905" cy="1965855"/>
              </a:xfrm>
              <a:custGeom>
                <a:avLst/>
                <a:gdLst>
                  <a:gd name="csX0" fmla="*/ 752342 w 1177905"/>
                  <a:gd name="csY0" fmla="*/ 732206 h 1965855"/>
                  <a:gd name="csX1" fmla="*/ 752342 w 1177905"/>
                  <a:gd name="csY1" fmla="*/ 106747 h 1965855"/>
                  <a:gd name="csX2" fmla="*/ 645595 w 1177905"/>
                  <a:gd name="csY2" fmla="*/ 0 h 1965855"/>
                  <a:gd name="csX3" fmla="*/ 171307 w 1177905"/>
                  <a:gd name="csY3" fmla="*/ 0 h 1965855"/>
                  <a:gd name="csX4" fmla="*/ 64560 w 1177905"/>
                  <a:gd name="csY4" fmla="*/ 106747 h 1965855"/>
                  <a:gd name="csX5" fmla="*/ 64560 w 1177905"/>
                  <a:gd name="csY5" fmla="*/ 732434 h 1965855"/>
                  <a:gd name="csX6" fmla="*/ 0 w 1177905"/>
                  <a:gd name="csY6" fmla="*/ 900427 h 1965855"/>
                  <a:gd name="csX7" fmla="*/ 0 w 1177905"/>
                  <a:gd name="csY7" fmla="*/ 907447 h 1965855"/>
                  <a:gd name="csX8" fmla="*/ 406889 w 1177905"/>
                  <a:gd name="csY8" fmla="*/ 1965855 h 1965855"/>
                  <a:gd name="csX9" fmla="*/ 1071172 w 1177905"/>
                  <a:gd name="csY9" fmla="*/ 1965855 h 1965855"/>
                  <a:gd name="csX10" fmla="*/ 1159145 w 1177905"/>
                  <a:gd name="csY10" fmla="*/ 1919554 h 1965855"/>
                  <a:gd name="csX11" fmla="*/ 1170803 w 1177905"/>
                  <a:gd name="csY11" fmla="*/ 1820818 h 1965855"/>
                  <a:gd name="csX12" fmla="*/ 752342 w 1177905"/>
                  <a:gd name="csY12" fmla="*/ 732206 h 19658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1177905" h="1965855">
                    <a:moveTo>
                      <a:pt x="752342" y="732206"/>
                    </a:moveTo>
                    <a:lnTo>
                      <a:pt x="752342" y="106747"/>
                    </a:lnTo>
                    <a:cubicBezTo>
                      <a:pt x="752342" y="47777"/>
                      <a:pt x="704555" y="0"/>
                      <a:pt x="645595" y="0"/>
                    </a:cubicBezTo>
                    <a:lnTo>
                      <a:pt x="171307" y="0"/>
                    </a:lnTo>
                    <a:cubicBezTo>
                      <a:pt x="112347" y="0"/>
                      <a:pt x="64560" y="47777"/>
                      <a:pt x="64560" y="106747"/>
                    </a:cubicBezTo>
                    <a:lnTo>
                      <a:pt x="64560" y="732434"/>
                    </a:lnTo>
                    <a:lnTo>
                      <a:pt x="0" y="900427"/>
                    </a:lnTo>
                    <a:lnTo>
                      <a:pt x="0" y="907447"/>
                    </a:lnTo>
                    <a:lnTo>
                      <a:pt x="406889" y="1965855"/>
                    </a:lnTo>
                    <a:lnTo>
                      <a:pt x="1071172" y="1965855"/>
                    </a:lnTo>
                    <a:cubicBezTo>
                      <a:pt x="1106338" y="1965855"/>
                      <a:pt x="1139238" y="1948558"/>
                      <a:pt x="1159145" y="1919554"/>
                    </a:cubicBezTo>
                    <a:cubicBezTo>
                      <a:pt x="1179052" y="1890541"/>
                      <a:pt x="1183415" y="1853613"/>
                      <a:pt x="1170803" y="1820818"/>
                    </a:cubicBezTo>
                    <a:lnTo>
                      <a:pt x="752342" y="732206"/>
                    </a:lnTo>
                    <a:close/>
                  </a:path>
                </a:pathLst>
              </a:custGeom>
              <a:grpFill/>
              <a:ln w="9525" cap="flat">
                <a:noFill/>
                <a:prstDash val="solid"/>
                <a:miter/>
              </a:ln>
            </p:spPr>
            <p:txBody>
              <a:bodyPr/>
              <a:lstStyle/>
              <a:p>
                <a:endParaRPr lang="en-US"/>
              </a:p>
            </p:txBody>
          </p:sp>
          <p:sp>
            <p:nvSpPr>
              <p:cNvPr id="247" name="Freeform: Shape 246">
                <a:extLst>
                  <a:ext uri="{FF2B5EF4-FFF2-40B4-BE49-F238E27FC236}">
                    <a16:creationId xmlns:a16="http://schemas.microsoft.com/office/drawing/2014/main" id="{2186DFA1-D606-9CAA-73E7-3F0311EDC703}"/>
                  </a:ext>
                </a:extLst>
              </p:cNvPr>
              <p:cNvSpPr/>
              <p:nvPr/>
            </p:nvSpPr>
            <p:spPr>
              <a:xfrm>
                <a:off x="4662100" y="2918126"/>
                <a:ext cx="1538718" cy="1965864"/>
              </a:xfrm>
              <a:custGeom>
                <a:avLst/>
                <a:gdLst>
                  <a:gd name="csX0" fmla="*/ 1113154 w 1538718"/>
                  <a:gd name="csY0" fmla="*/ 732206 h 1965864"/>
                  <a:gd name="csX1" fmla="*/ 1113154 w 1538718"/>
                  <a:gd name="csY1" fmla="*/ 106747 h 1965864"/>
                  <a:gd name="csX2" fmla="*/ 1006408 w 1538718"/>
                  <a:gd name="csY2" fmla="*/ 0 h 1965864"/>
                  <a:gd name="csX3" fmla="*/ 532120 w 1538718"/>
                  <a:gd name="csY3" fmla="*/ 0 h 1965864"/>
                  <a:gd name="csX4" fmla="*/ 425373 w 1538718"/>
                  <a:gd name="csY4" fmla="*/ 106747 h 1965864"/>
                  <a:gd name="csX5" fmla="*/ 425373 w 1538718"/>
                  <a:gd name="csY5" fmla="*/ 732444 h 1965864"/>
                  <a:gd name="csX6" fmla="*/ 7102 w 1538718"/>
                  <a:gd name="csY6" fmla="*/ 1820818 h 1965864"/>
                  <a:gd name="csX7" fmla="*/ 18770 w 1538718"/>
                  <a:gd name="csY7" fmla="*/ 1919545 h 1965864"/>
                  <a:gd name="csX8" fmla="*/ 106733 w 1538718"/>
                  <a:gd name="csY8" fmla="*/ 1965865 h 1965864"/>
                  <a:gd name="csX9" fmla="*/ 1431975 w 1538718"/>
                  <a:gd name="csY9" fmla="*/ 1965865 h 1965864"/>
                  <a:gd name="csX10" fmla="*/ 1519958 w 1538718"/>
                  <a:gd name="csY10" fmla="*/ 1919545 h 1965864"/>
                  <a:gd name="csX11" fmla="*/ 1531616 w 1538718"/>
                  <a:gd name="csY11" fmla="*/ 1820818 h 1965864"/>
                  <a:gd name="csX12" fmla="*/ 1113154 w 1538718"/>
                  <a:gd name="csY12" fmla="*/ 732206 h 196586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1538718" h="1965864">
                    <a:moveTo>
                      <a:pt x="1113154" y="732206"/>
                    </a:moveTo>
                    <a:lnTo>
                      <a:pt x="1113154" y="106747"/>
                    </a:lnTo>
                    <a:cubicBezTo>
                      <a:pt x="1113154" y="47787"/>
                      <a:pt x="1065368" y="0"/>
                      <a:pt x="1006408" y="0"/>
                    </a:cubicBezTo>
                    <a:lnTo>
                      <a:pt x="532120" y="0"/>
                    </a:lnTo>
                    <a:cubicBezTo>
                      <a:pt x="473160" y="0"/>
                      <a:pt x="425373" y="47787"/>
                      <a:pt x="425373" y="106747"/>
                    </a:cubicBezTo>
                    <a:lnTo>
                      <a:pt x="425373" y="732444"/>
                    </a:lnTo>
                    <a:lnTo>
                      <a:pt x="7102" y="1820818"/>
                    </a:lnTo>
                    <a:cubicBezTo>
                      <a:pt x="-5509" y="1853622"/>
                      <a:pt x="-1147" y="1890598"/>
                      <a:pt x="18770" y="1919545"/>
                    </a:cubicBezTo>
                    <a:cubicBezTo>
                      <a:pt x="38677" y="1948567"/>
                      <a:pt x="71567" y="1965865"/>
                      <a:pt x="106733" y="1965865"/>
                    </a:cubicBezTo>
                    <a:lnTo>
                      <a:pt x="1431975" y="1965865"/>
                    </a:lnTo>
                    <a:cubicBezTo>
                      <a:pt x="1467142" y="1965865"/>
                      <a:pt x="1500041" y="1948567"/>
                      <a:pt x="1519958" y="1919545"/>
                    </a:cubicBezTo>
                    <a:cubicBezTo>
                      <a:pt x="1539865" y="1890541"/>
                      <a:pt x="1544227" y="1853622"/>
                      <a:pt x="1531616" y="1820818"/>
                    </a:cubicBezTo>
                    <a:lnTo>
                      <a:pt x="1113154" y="732206"/>
                    </a:lnTo>
                    <a:close/>
                  </a:path>
                </a:pathLst>
              </a:custGeom>
              <a:grpFill/>
              <a:ln w="9525" cap="flat">
                <a:noFill/>
                <a:prstDash val="solid"/>
                <a:miter/>
              </a:ln>
            </p:spPr>
            <p:txBody>
              <a:bodyPr/>
              <a:lstStyle/>
              <a:p>
                <a:endParaRPr lang="en-US"/>
              </a:p>
            </p:txBody>
          </p:sp>
          <p:sp>
            <p:nvSpPr>
              <p:cNvPr id="248" name="Freeform: Shape 247">
                <a:extLst>
                  <a:ext uri="{FF2B5EF4-FFF2-40B4-BE49-F238E27FC236}">
                    <a16:creationId xmlns:a16="http://schemas.microsoft.com/office/drawing/2014/main" id="{E6481E18-86BF-7CAC-AE9F-A52C532E775C}"/>
                  </a:ext>
                </a:extLst>
              </p:cNvPr>
              <p:cNvSpPr/>
              <p:nvPr/>
            </p:nvSpPr>
            <p:spPr>
              <a:xfrm>
                <a:off x="4753289" y="1971675"/>
                <a:ext cx="2288886" cy="831227"/>
              </a:xfrm>
              <a:custGeom>
                <a:avLst/>
                <a:gdLst>
                  <a:gd name="csX0" fmla="*/ 271043 w 2288886"/>
                  <a:gd name="csY0" fmla="*/ 831228 h 831227"/>
                  <a:gd name="csX1" fmla="*/ 509464 w 2288886"/>
                  <a:gd name="csY1" fmla="*/ 699973 h 831227"/>
                  <a:gd name="csX2" fmla="*/ 691677 w 2288886"/>
                  <a:gd name="csY2" fmla="*/ 744207 h 831227"/>
                  <a:gd name="csX3" fmla="*/ 981675 w 2288886"/>
                  <a:gd name="csY3" fmla="*/ 578253 h 831227"/>
                  <a:gd name="csX4" fmla="*/ 1117235 w 2288886"/>
                  <a:gd name="csY4" fmla="*/ 608552 h 831227"/>
                  <a:gd name="csX5" fmla="*/ 1248528 w 2288886"/>
                  <a:gd name="csY5" fmla="*/ 580063 h 831227"/>
                  <a:gd name="csX6" fmla="*/ 1468660 w 2288886"/>
                  <a:gd name="csY6" fmla="*/ 679552 h 831227"/>
                  <a:gd name="csX7" fmla="*/ 1712690 w 2288886"/>
                  <a:gd name="csY7" fmla="*/ 541811 h 831227"/>
                  <a:gd name="csX8" fmla="*/ 1838573 w 2288886"/>
                  <a:gd name="csY8" fmla="*/ 497300 h 831227"/>
                  <a:gd name="csX9" fmla="*/ 1994154 w 2288886"/>
                  <a:gd name="csY9" fmla="*/ 585511 h 831227"/>
                  <a:gd name="csX10" fmla="*/ 2159965 w 2288886"/>
                  <a:gd name="csY10" fmla="*/ 452504 h 831227"/>
                  <a:gd name="csX11" fmla="*/ 2155689 w 2288886"/>
                  <a:gd name="csY11" fmla="*/ 423310 h 831227"/>
                  <a:gd name="csX12" fmla="*/ 2288886 w 2288886"/>
                  <a:gd name="csY12" fmla="*/ 319545 h 831227"/>
                  <a:gd name="csX13" fmla="*/ 2152460 w 2288886"/>
                  <a:gd name="csY13" fmla="*/ 215541 h 831227"/>
                  <a:gd name="csX14" fmla="*/ 2159965 w 2288886"/>
                  <a:gd name="csY14" fmla="*/ 169897 h 831227"/>
                  <a:gd name="csX15" fmla="*/ 1977942 w 2288886"/>
                  <a:gd name="csY15" fmla="*/ 10 h 831227"/>
                  <a:gd name="csX16" fmla="*/ 1804645 w 2288886"/>
                  <a:gd name="csY16" fmla="*/ 120406 h 831227"/>
                  <a:gd name="csX17" fmla="*/ 1710700 w 2288886"/>
                  <a:gd name="csY17" fmla="*/ 97088 h 831227"/>
                  <a:gd name="csX18" fmla="*/ 1509627 w 2288886"/>
                  <a:gd name="csY18" fmla="*/ 244221 h 831227"/>
                  <a:gd name="csX19" fmla="*/ 1468669 w 2288886"/>
                  <a:gd name="csY19" fmla="*/ 240773 h 831227"/>
                  <a:gd name="csX20" fmla="*/ 1298781 w 2288886"/>
                  <a:gd name="csY20" fmla="*/ 293808 h 831227"/>
                  <a:gd name="csX21" fmla="*/ 1117235 w 2288886"/>
                  <a:gd name="csY21" fmla="*/ 234696 h 831227"/>
                  <a:gd name="csX22" fmla="*/ 1083583 w 2288886"/>
                  <a:gd name="csY22" fmla="*/ 237211 h 831227"/>
                  <a:gd name="csX23" fmla="*/ 843163 w 2288886"/>
                  <a:gd name="csY23" fmla="*/ 44653 h 831227"/>
                  <a:gd name="csX24" fmla="*/ 668922 w 2288886"/>
                  <a:gd name="csY24" fmla="*/ 105937 h 831227"/>
                  <a:gd name="csX25" fmla="*/ 448989 w 2288886"/>
                  <a:gd name="csY25" fmla="*/ 0 h 831227"/>
                  <a:gd name="csX26" fmla="*/ 169888 w 2288886"/>
                  <a:gd name="csY26" fmla="*/ 270986 h 831227"/>
                  <a:gd name="csX27" fmla="*/ 184585 w 2288886"/>
                  <a:gd name="csY27" fmla="*/ 353720 h 831227"/>
                  <a:gd name="csX28" fmla="*/ 0 w 2288886"/>
                  <a:gd name="csY28" fmla="*/ 585502 h 831227"/>
                  <a:gd name="csX29" fmla="*/ 271043 w 2288886"/>
                  <a:gd name="csY29" fmla="*/ 831228 h 831227"/>
                  <a:gd name="csX30" fmla="*/ 1924202 w 2288886"/>
                  <a:gd name="csY30" fmla="*/ 331384 h 831227"/>
                  <a:gd name="csX31" fmla="*/ 1925536 w 2288886"/>
                  <a:gd name="csY31" fmla="*/ 331765 h 831227"/>
                  <a:gd name="csX32" fmla="*/ 1924117 w 2288886"/>
                  <a:gd name="csY32" fmla="*/ 332365 h 831227"/>
                  <a:gd name="csX33" fmla="*/ 1924202 w 2288886"/>
                  <a:gd name="csY33" fmla="*/ 331384 h 83122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Lst>
                <a:rect l="l" t="t" r="r" b="b"/>
                <a:pathLst>
                  <a:path w="2288886" h="831227">
                    <a:moveTo>
                      <a:pt x="271043" y="831228"/>
                    </a:moveTo>
                    <a:cubicBezTo>
                      <a:pt x="374837" y="831228"/>
                      <a:pt x="463868" y="777659"/>
                      <a:pt x="509464" y="699973"/>
                    </a:cubicBezTo>
                    <a:cubicBezTo>
                      <a:pt x="559803" y="727234"/>
                      <a:pt x="622564" y="744207"/>
                      <a:pt x="691677" y="744207"/>
                    </a:cubicBezTo>
                    <a:cubicBezTo>
                      <a:pt x="836638" y="744207"/>
                      <a:pt x="956643" y="672579"/>
                      <a:pt x="981675" y="578253"/>
                    </a:cubicBezTo>
                    <a:cubicBezTo>
                      <a:pt x="1020728" y="597256"/>
                      <a:pt x="1067181" y="608552"/>
                      <a:pt x="1117235" y="608552"/>
                    </a:cubicBezTo>
                    <a:cubicBezTo>
                      <a:pt x="1165584" y="608552"/>
                      <a:pt x="1210332" y="597827"/>
                      <a:pt x="1248528" y="580063"/>
                    </a:cubicBezTo>
                    <a:cubicBezTo>
                      <a:pt x="1295562" y="639880"/>
                      <a:pt x="1376429" y="679552"/>
                      <a:pt x="1468660" y="679552"/>
                    </a:cubicBezTo>
                    <a:cubicBezTo>
                      <a:pt x="1579388" y="679552"/>
                      <a:pt x="1673714" y="622430"/>
                      <a:pt x="1712690" y="541811"/>
                    </a:cubicBezTo>
                    <a:cubicBezTo>
                      <a:pt x="1759992" y="541325"/>
                      <a:pt x="1803321" y="524589"/>
                      <a:pt x="1838573" y="497300"/>
                    </a:cubicBezTo>
                    <a:cubicBezTo>
                      <a:pt x="1861623" y="548640"/>
                      <a:pt x="1922193" y="585511"/>
                      <a:pt x="1994154" y="585511"/>
                    </a:cubicBezTo>
                    <a:cubicBezTo>
                      <a:pt x="2085727" y="585511"/>
                      <a:pt x="2159965" y="525980"/>
                      <a:pt x="2159965" y="452504"/>
                    </a:cubicBezTo>
                    <a:cubicBezTo>
                      <a:pt x="2159965" y="442446"/>
                      <a:pt x="2158346" y="432730"/>
                      <a:pt x="2155689" y="423310"/>
                    </a:cubicBezTo>
                    <a:cubicBezTo>
                      <a:pt x="2229926" y="420119"/>
                      <a:pt x="2288886" y="375152"/>
                      <a:pt x="2288886" y="319545"/>
                    </a:cubicBezTo>
                    <a:cubicBezTo>
                      <a:pt x="2288886" y="263128"/>
                      <a:pt x="2228212" y="217484"/>
                      <a:pt x="2152460" y="215541"/>
                    </a:cubicBezTo>
                    <a:cubicBezTo>
                      <a:pt x="2156832" y="200892"/>
                      <a:pt x="2159965" y="185833"/>
                      <a:pt x="2159965" y="169897"/>
                    </a:cubicBezTo>
                    <a:cubicBezTo>
                      <a:pt x="2159965" y="76086"/>
                      <a:pt x="2078422" y="10"/>
                      <a:pt x="1977942" y="10"/>
                    </a:cubicBezTo>
                    <a:cubicBezTo>
                      <a:pt x="1896028" y="10"/>
                      <a:pt x="1827495" y="50921"/>
                      <a:pt x="1804645" y="120406"/>
                    </a:cubicBezTo>
                    <a:cubicBezTo>
                      <a:pt x="1776212" y="105947"/>
                      <a:pt x="1744542" y="97088"/>
                      <a:pt x="1710700" y="97088"/>
                    </a:cubicBezTo>
                    <a:cubicBezTo>
                      <a:pt x="1617793" y="97088"/>
                      <a:pt x="1539478" y="158620"/>
                      <a:pt x="1509627" y="244221"/>
                    </a:cubicBezTo>
                    <a:cubicBezTo>
                      <a:pt x="1496263" y="242430"/>
                      <a:pt x="1482700" y="240773"/>
                      <a:pt x="1468669" y="240773"/>
                    </a:cubicBezTo>
                    <a:cubicBezTo>
                      <a:pt x="1403547" y="240773"/>
                      <a:pt x="1344759" y="261195"/>
                      <a:pt x="1298781" y="293808"/>
                    </a:cubicBezTo>
                    <a:cubicBezTo>
                      <a:pt x="1253195" y="257585"/>
                      <a:pt x="1189006" y="234696"/>
                      <a:pt x="1117235" y="234696"/>
                    </a:cubicBezTo>
                    <a:cubicBezTo>
                      <a:pt x="1105662" y="234696"/>
                      <a:pt x="1094680" y="236115"/>
                      <a:pt x="1083583" y="237211"/>
                    </a:cubicBezTo>
                    <a:cubicBezTo>
                      <a:pt x="1081221" y="130588"/>
                      <a:pt x="974665" y="44653"/>
                      <a:pt x="843163" y="44653"/>
                    </a:cubicBezTo>
                    <a:cubicBezTo>
                      <a:pt x="774430" y="44653"/>
                      <a:pt x="712813" y="68342"/>
                      <a:pt x="668922" y="105937"/>
                    </a:cubicBezTo>
                    <a:cubicBezTo>
                      <a:pt x="617830" y="41891"/>
                      <a:pt x="538858" y="0"/>
                      <a:pt x="448989" y="0"/>
                    </a:cubicBezTo>
                    <a:cubicBezTo>
                      <a:pt x="294837" y="0"/>
                      <a:pt x="169888" y="121349"/>
                      <a:pt x="169888" y="270986"/>
                    </a:cubicBezTo>
                    <a:cubicBezTo>
                      <a:pt x="169888" y="300047"/>
                      <a:pt x="175860" y="327489"/>
                      <a:pt x="184585" y="353720"/>
                    </a:cubicBezTo>
                    <a:cubicBezTo>
                      <a:pt x="77553" y="386601"/>
                      <a:pt x="0" y="477374"/>
                      <a:pt x="0" y="585502"/>
                    </a:cubicBezTo>
                    <a:cubicBezTo>
                      <a:pt x="0" y="721204"/>
                      <a:pt x="121349" y="831228"/>
                      <a:pt x="271043" y="831228"/>
                    </a:cubicBezTo>
                    <a:close/>
                    <a:moveTo>
                      <a:pt x="1924202" y="331384"/>
                    </a:moveTo>
                    <a:cubicBezTo>
                      <a:pt x="1924584" y="331480"/>
                      <a:pt x="1925060" y="331613"/>
                      <a:pt x="1925536" y="331765"/>
                    </a:cubicBezTo>
                    <a:cubicBezTo>
                      <a:pt x="1925060" y="331899"/>
                      <a:pt x="1924584" y="332184"/>
                      <a:pt x="1924117" y="332365"/>
                    </a:cubicBezTo>
                    <a:cubicBezTo>
                      <a:pt x="1924107" y="332042"/>
                      <a:pt x="1924202" y="331708"/>
                      <a:pt x="1924202" y="331384"/>
                    </a:cubicBezTo>
                    <a:close/>
                  </a:path>
                </a:pathLst>
              </a:custGeom>
              <a:grpFill/>
              <a:ln w="9525" cap="flat">
                <a:noFill/>
                <a:prstDash val="solid"/>
                <a:miter/>
              </a:ln>
            </p:spPr>
            <p:txBody>
              <a:bodyPr/>
              <a:lstStyle/>
              <a:p>
                <a:endParaRPr lang="en-US"/>
              </a:p>
            </p:txBody>
          </p:sp>
        </p:grpSp>
      </p:grpSp>
      <p:grpSp>
        <p:nvGrpSpPr>
          <p:cNvPr id="253" name="Group 252">
            <a:extLst>
              <a:ext uri="{FF2B5EF4-FFF2-40B4-BE49-F238E27FC236}">
                <a16:creationId xmlns:a16="http://schemas.microsoft.com/office/drawing/2014/main" id="{A6EA2F22-D4BC-4BA2-A54B-BEEA367510D7}"/>
              </a:ext>
            </a:extLst>
          </p:cNvPr>
          <p:cNvGrpSpPr/>
          <p:nvPr/>
        </p:nvGrpSpPr>
        <p:grpSpPr>
          <a:xfrm>
            <a:off x="372424" y="5157364"/>
            <a:ext cx="354334" cy="354334"/>
            <a:chOff x="372424" y="5157364"/>
            <a:chExt cx="354334" cy="354334"/>
          </a:xfrm>
        </p:grpSpPr>
        <p:sp>
          <p:nvSpPr>
            <p:cNvPr id="199" name="Oval 198">
              <a:extLst>
                <a:ext uri="{FF2B5EF4-FFF2-40B4-BE49-F238E27FC236}">
                  <a16:creationId xmlns:a16="http://schemas.microsoft.com/office/drawing/2014/main" id="{6825F1D9-6D4A-6CDF-EDED-2B12BCFCA230}"/>
                </a:ext>
              </a:extLst>
            </p:cNvPr>
            <p:cNvSpPr/>
            <p:nvPr/>
          </p:nvSpPr>
          <p:spPr>
            <a:xfrm>
              <a:off x="372424" y="5157364"/>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Graphic 250">
              <a:extLst>
                <a:ext uri="{FF2B5EF4-FFF2-40B4-BE49-F238E27FC236}">
                  <a16:creationId xmlns:a16="http://schemas.microsoft.com/office/drawing/2014/main" id="{5BAA08AC-BA06-886C-9502-3AF5ABE6D745}"/>
                </a:ext>
              </a:extLst>
            </p:cNvPr>
            <p:cNvSpPr/>
            <p:nvPr/>
          </p:nvSpPr>
          <p:spPr>
            <a:xfrm>
              <a:off x="433863" y="5218808"/>
              <a:ext cx="231457" cy="231447"/>
            </a:xfrm>
            <a:custGeom>
              <a:avLst/>
              <a:gdLst>
                <a:gd name="csX0" fmla="*/ 192835 w 564355"/>
                <a:gd name="csY0" fmla="*/ 63689 h 564331"/>
                <a:gd name="csX1" fmla="*/ 223873 w 564355"/>
                <a:gd name="csY1" fmla="*/ 429 h 564331"/>
                <a:gd name="csX2" fmla="*/ 274103 w 564355"/>
                <a:gd name="csY2" fmla="*/ 49847 h 564331"/>
                <a:gd name="csX3" fmla="*/ 243065 w 564355"/>
                <a:gd name="csY3" fmla="*/ 113107 h 564331"/>
                <a:gd name="csX4" fmla="*/ 192835 w 564355"/>
                <a:gd name="csY4" fmla="*/ 63689 h 564331"/>
                <a:gd name="csX5" fmla="*/ 334471 w 564355"/>
                <a:gd name="csY5" fmla="*/ 77010 h 564331"/>
                <a:gd name="csX6" fmla="*/ 352388 w 564355"/>
                <a:gd name="csY6" fmla="*/ 35309 h 564331"/>
                <a:gd name="csX7" fmla="*/ 321677 w 564355"/>
                <a:gd name="csY7" fmla="*/ 1891 h 564331"/>
                <a:gd name="csX8" fmla="*/ 303760 w 564355"/>
                <a:gd name="csY8" fmla="*/ 43592 h 564331"/>
                <a:gd name="csX9" fmla="*/ 334471 w 564355"/>
                <a:gd name="csY9" fmla="*/ 77010 h 564331"/>
                <a:gd name="csX10" fmla="*/ 402494 w 564355"/>
                <a:gd name="csY10" fmla="*/ 76593 h 564331"/>
                <a:gd name="csX11" fmla="*/ 430682 w 564355"/>
                <a:gd name="csY11" fmla="*/ 40371 h 564331"/>
                <a:gd name="csX12" fmla="*/ 407812 w 564355"/>
                <a:gd name="csY12" fmla="*/ 578 h 564331"/>
                <a:gd name="csX13" fmla="*/ 379624 w 564355"/>
                <a:gd name="csY13" fmla="*/ 36800 h 564331"/>
                <a:gd name="csX14" fmla="*/ 402494 w 564355"/>
                <a:gd name="csY14" fmla="*/ 76593 h 564331"/>
                <a:gd name="csX15" fmla="*/ 486786 w 564355"/>
                <a:gd name="csY15" fmla="*/ 29162 h 564331"/>
                <a:gd name="csX16" fmla="*/ 456132 w 564355"/>
                <a:gd name="csY16" fmla="*/ 62740 h 564331"/>
                <a:gd name="csX17" fmla="*/ 474442 w 564355"/>
                <a:gd name="csY17" fmla="*/ 104356 h 564331"/>
                <a:gd name="csX18" fmla="*/ 505096 w 564355"/>
                <a:gd name="csY18" fmla="*/ 70778 h 564331"/>
                <a:gd name="csX19" fmla="*/ 486786 w 564355"/>
                <a:gd name="csY19" fmla="*/ 29162 h 564331"/>
                <a:gd name="csX20" fmla="*/ 548928 w 564355"/>
                <a:gd name="csY20" fmla="*/ 96508 h 564331"/>
                <a:gd name="csX21" fmla="*/ 514095 w 564355"/>
                <a:gd name="csY21" fmla="*/ 125881 h 564331"/>
                <a:gd name="csX22" fmla="*/ 527158 w 564355"/>
                <a:gd name="csY22" fmla="*/ 169532 h 564331"/>
                <a:gd name="csX23" fmla="*/ 561991 w 564355"/>
                <a:gd name="csY23" fmla="*/ 140158 h 564331"/>
                <a:gd name="csX24" fmla="*/ 548928 w 564355"/>
                <a:gd name="csY24" fmla="*/ 96508 h 564331"/>
                <a:gd name="csX25" fmla="*/ 278605 w 564355"/>
                <a:gd name="csY25" fmla="*/ 469107 h 564331"/>
                <a:gd name="csX26" fmla="*/ 69055 w 564355"/>
                <a:gd name="csY26" fmla="*/ 469107 h 564331"/>
                <a:gd name="csX27" fmla="*/ 0 w 564355"/>
                <a:gd name="csY27" fmla="*/ 400081 h 564331"/>
                <a:gd name="csX28" fmla="*/ 62102 w 564355"/>
                <a:gd name="csY28" fmla="*/ 331375 h 564331"/>
                <a:gd name="csX29" fmla="*/ 68388 w 564355"/>
                <a:gd name="csY29" fmla="*/ 325660 h 564331"/>
                <a:gd name="csX30" fmla="*/ 172025 w 564355"/>
                <a:gd name="csY30" fmla="*/ 256497 h 564331"/>
                <a:gd name="csX31" fmla="*/ 231171 w 564355"/>
                <a:gd name="csY31" fmla="*/ 298990 h 564331"/>
                <a:gd name="csX32" fmla="*/ 238600 w 564355"/>
                <a:gd name="csY32" fmla="*/ 302514 h 564331"/>
                <a:gd name="csX33" fmla="*/ 239743 w 564355"/>
                <a:gd name="csY33" fmla="*/ 302419 h 564331"/>
                <a:gd name="csX34" fmla="*/ 250221 w 564355"/>
                <a:gd name="csY34" fmla="*/ 303372 h 564331"/>
                <a:gd name="csX35" fmla="*/ 290511 w 564355"/>
                <a:gd name="csY35" fmla="*/ 352425 h 564331"/>
                <a:gd name="csX36" fmla="*/ 289368 w 564355"/>
                <a:gd name="csY36" fmla="*/ 363189 h 564331"/>
                <a:gd name="csX37" fmla="*/ 294131 w 564355"/>
                <a:gd name="csY37" fmla="*/ 371475 h 564331"/>
                <a:gd name="csX38" fmla="*/ 326126 w 564355"/>
                <a:gd name="csY38" fmla="*/ 434626 h 564331"/>
                <a:gd name="csX39" fmla="*/ 278605 w 564355"/>
                <a:gd name="csY39" fmla="*/ 469107 h 564331"/>
                <a:gd name="csX40" fmla="*/ 95249 w 564355"/>
                <a:gd name="csY40" fmla="*/ 390525 h 564331"/>
                <a:gd name="csX41" fmla="*/ 95249 w 564355"/>
                <a:gd name="csY41" fmla="*/ 352425 h 564331"/>
                <a:gd name="csX42" fmla="*/ 107155 w 564355"/>
                <a:gd name="csY42" fmla="*/ 340519 h 564331"/>
                <a:gd name="csX43" fmla="*/ 119061 w 564355"/>
                <a:gd name="csY43" fmla="*/ 352425 h 564331"/>
                <a:gd name="csX44" fmla="*/ 126205 w 564355"/>
                <a:gd name="csY44" fmla="*/ 359569 h 564331"/>
                <a:gd name="csX45" fmla="*/ 133349 w 564355"/>
                <a:gd name="csY45" fmla="*/ 352425 h 564331"/>
                <a:gd name="csX46" fmla="*/ 107155 w 564355"/>
                <a:gd name="csY46" fmla="*/ 326232 h 564331"/>
                <a:gd name="csX47" fmla="*/ 80961 w 564355"/>
                <a:gd name="csY47" fmla="*/ 352425 h 564331"/>
                <a:gd name="csX48" fmla="*/ 80961 w 564355"/>
                <a:gd name="csY48" fmla="*/ 390525 h 564331"/>
                <a:gd name="csX49" fmla="*/ 107155 w 564355"/>
                <a:gd name="csY49" fmla="*/ 416719 h 564331"/>
                <a:gd name="csX50" fmla="*/ 133349 w 564355"/>
                <a:gd name="csY50" fmla="*/ 390525 h 564331"/>
                <a:gd name="csX51" fmla="*/ 126205 w 564355"/>
                <a:gd name="csY51" fmla="*/ 383382 h 564331"/>
                <a:gd name="csX52" fmla="*/ 119061 w 564355"/>
                <a:gd name="csY52" fmla="*/ 390525 h 564331"/>
                <a:gd name="csX53" fmla="*/ 107155 w 564355"/>
                <a:gd name="csY53" fmla="*/ 402432 h 564331"/>
                <a:gd name="csX54" fmla="*/ 95249 w 564355"/>
                <a:gd name="csY54" fmla="*/ 390525 h 564331"/>
                <a:gd name="csX55" fmla="*/ 200024 w 564355"/>
                <a:gd name="csY55" fmla="*/ 352425 h 564331"/>
                <a:gd name="csX56" fmla="*/ 173830 w 564355"/>
                <a:gd name="csY56" fmla="*/ 326232 h 564331"/>
                <a:gd name="csX57" fmla="*/ 147636 w 564355"/>
                <a:gd name="csY57" fmla="*/ 352425 h 564331"/>
                <a:gd name="csX58" fmla="*/ 147636 w 564355"/>
                <a:gd name="csY58" fmla="*/ 390525 h 564331"/>
                <a:gd name="csX59" fmla="*/ 173830 w 564355"/>
                <a:gd name="csY59" fmla="*/ 416719 h 564331"/>
                <a:gd name="csX60" fmla="*/ 200024 w 564355"/>
                <a:gd name="csY60" fmla="*/ 390525 h 564331"/>
                <a:gd name="csX61" fmla="*/ 266699 w 564355"/>
                <a:gd name="csY61" fmla="*/ 381000 h 564331"/>
                <a:gd name="csX62" fmla="*/ 250030 w 564355"/>
                <a:gd name="csY62" fmla="*/ 364332 h 564331"/>
                <a:gd name="csX63" fmla="*/ 230980 w 564355"/>
                <a:gd name="csY63" fmla="*/ 364332 h 564331"/>
                <a:gd name="csX64" fmla="*/ 214311 w 564355"/>
                <a:gd name="csY64" fmla="*/ 381000 h 564331"/>
                <a:gd name="csX65" fmla="*/ 214311 w 564355"/>
                <a:gd name="csY65" fmla="*/ 390525 h 564331"/>
                <a:gd name="csX66" fmla="*/ 221455 w 564355"/>
                <a:gd name="csY66" fmla="*/ 397669 h 564331"/>
                <a:gd name="csX67" fmla="*/ 228599 w 564355"/>
                <a:gd name="csY67" fmla="*/ 390525 h 564331"/>
                <a:gd name="csX68" fmla="*/ 228599 w 564355"/>
                <a:gd name="csY68" fmla="*/ 381000 h 564331"/>
                <a:gd name="csX69" fmla="*/ 230933 w 564355"/>
                <a:gd name="csY69" fmla="*/ 378619 h 564331"/>
                <a:gd name="csX70" fmla="*/ 230980 w 564355"/>
                <a:gd name="csY70" fmla="*/ 378619 h 564331"/>
                <a:gd name="csX71" fmla="*/ 250030 w 564355"/>
                <a:gd name="csY71" fmla="*/ 378619 h 564331"/>
                <a:gd name="csX72" fmla="*/ 252411 w 564355"/>
                <a:gd name="csY72" fmla="*/ 380954 h 564331"/>
                <a:gd name="csX73" fmla="*/ 252411 w 564355"/>
                <a:gd name="csY73" fmla="*/ 381000 h 564331"/>
                <a:gd name="csX74" fmla="*/ 252411 w 564355"/>
                <a:gd name="csY74" fmla="*/ 392621 h 564331"/>
                <a:gd name="csX75" fmla="*/ 250602 w 564355"/>
                <a:gd name="csY75" fmla="*/ 394907 h 564331"/>
                <a:gd name="csX76" fmla="*/ 234123 w 564355"/>
                <a:gd name="csY76" fmla="*/ 399003 h 564331"/>
                <a:gd name="csX77" fmla="*/ 214311 w 564355"/>
                <a:gd name="csY77" fmla="*/ 424434 h 564331"/>
                <a:gd name="csX78" fmla="*/ 214311 w 564355"/>
                <a:gd name="csY78" fmla="*/ 428625 h 564331"/>
                <a:gd name="csX79" fmla="*/ 221455 w 564355"/>
                <a:gd name="csY79" fmla="*/ 435769 h 564331"/>
                <a:gd name="csX80" fmla="*/ 259555 w 564355"/>
                <a:gd name="csY80" fmla="*/ 435769 h 564331"/>
                <a:gd name="csX81" fmla="*/ 266699 w 564355"/>
                <a:gd name="csY81" fmla="*/ 428625 h 564331"/>
                <a:gd name="csX82" fmla="*/ 259555 w 564355"/>
                <a:gd name="csY82" fmla="*/ 421482 h 564331"/>
                <a:gd name="csX83" fmla="*/ 228980 w 564355"/>
                <a:gd name="csY83" fmla="*/ 421482 h 564331"/>
                <a:gd name="csX84" fmla="*/ 237648 w 564355"/>
                <a:gd name="csY84" fmla="*/ 412909 h 564331"/>
                <a:gd name="csX85" fmla="*/ 254031 w 564355"/>
                <a:gd name="csY85" fmla="*/ 408813 h 564331"/>
                <a:gd name="csX86" fmla="*/ 266699 w 564355"/>
                <a:gd name="csY86" fmla="*/ 392621 h 564331"/>
                <a:gd name="csX87" fmla="*/ 480249 w 564355"/>
                <a:gd name="csY87" fmla="*/ 175356 h 564331"/>
                <a:gd name="csX88" fmla="*/ 501490 w 564355"/>
                <a:gd name="csY88" fmla="*/ 255461 h 564331"/>
                <a:gd name="csX89" fmla="*/ 501490 w 564355"/>
                <a:gd name="csY89" fmla="*/ 255556 h 564331"/>
                <a:gd name="csX90" fmla="*/ 500442 w 564355"/>
                <a:gd name="csY90" fmla="*/ 267843 h 564331"/>
                <a:gd name="csX91" fmla="*/ 467581 w 564355"/>
                <a:gd name="csY91" fmla="*/ 409004 h 564331"/>
                <a:gd name="csX92" fmla="*/ 397382 w 564355"/>
                <a:gd name="csY92" fmla="*/ 535782 h 564331"/>
                <a:gd name="csX93" fmla="*/ 372141 w 564355"/>
                <a:gd name="csY93" fmla="*/ 556832 h 564331"/>
                <a:gd name="csX94" fmla="*/ 276402 w 564355"/>
                <a:gd name="csY94" fmla="*/ 524739 h 564331"/>
                <a:gd name="csX95" fmla="*/ 269556 w 564355"/>
                <a:gd name="csY95" fmla="*/ 483394 h 564331"/>
                <a:gd name="csX96" fmla="*/ 278605 w 564355"/>
                <a:gd name="csY96" fmla="*/ 483394 h 564331"/>
                <a:gd name="csX97" fmla="*/ 342899 w 564355"/>
                <a:gd name="csY97" fmla="*/ 419060 h 564331"/>
                <a:gd name="csX98" fmla="*/ 304323 w 564355"/>
                <a:gd name="csY98" fmla="*/ 360141 h 564331"/>
                <a:gd name="csX99" fmla="*/ 304799 w 564355"/>
                <a:gd name="csY99" fmla="*/ 352425 h 564331"/>
                <a:gd name="csX100" fmla="*/ 303846 w 564355"/>
                <a:gd name="csY100" fmla="*/ 341376 h 564331"/>
                <a:gd name="csX101" fmla="*/ 302894 w 564355"/>
                <a:gd name="csY101" fmla="*/ 337947 h 564331"/>
                <a:gd name="csX102" fmla="*/ 301084 w 564355"/>
                <a:gd name="csY102" fmla="*/ 330899 h 564331"/>
                <a:gd name="csX103" fmla="*/ 299370 w 564355"/>
                <a:gd name="csY103" fmla="*/ 327184 h 564331"/>
                <a:gd name="csX104" fmla="*/ 296607 w 564355"/>
                <a:gd name="csY104" fmla="*/ 321183 h 564331"/>
                <a:gd name="csX105" fmla="*/ 294226 w 564355"/>
                <a:gd name="csY105" fmla="*/ 317564 h 564331"/>
                <a:gd name="csX106" fmla="*/ 290607 w 564355"/>
                <a:gd name="csY106" fmla="*/ 312325 h 564331"/>
                <a:gd name="csX107" fmla="*/ 287749 w 564355"/>
                <a:gd name="csY107" fmla="*/ 309182 h 564331"/>
                <a:gd name="csX108" fmla="*/ 283272 w 564355"/>
                <a:gd name="csY108" fmla="*/ 304610 h 564331"/>
                <a:gd name="csX109" fmla="*/ 279843 w 564355"/>
                <a:gd name="csY109" fmla="*/ 301848 h 564331"/>
                <a:gd name="csX110" fmla="*/ 274700 w 564355"/>
                <a:gd name="csY110" fmla="*/ 298133 h 564331"/>
                <a:gd name="csX111" fmla="*/ 270795 w 564355"/>
                <a:gd name="csY111" fmla="*/ 295942 h 564331"/>
                <a:gd name="csX112" fmla="*/ 265175 w 564355"/>
                <a:gd name="csY112" fmla="*/ 293180 h 564331"/>
                <a:gd name="csX113" fmla="*/ 260603 w 564355"/>
                <a:gd name="csY113" fmla="*/ 291561 h 564331"/>
                <a:gd name="csX114" fmla="*/ 256698 w 564355"/>
                <a:gd name="csY114" fmla="*/ 290132 h 564331"/>
                <a:gd name="csX115" fmla="*/ 319016 w 564355"/>
                <a:gd name="csY115" fmla="*/ 131486 h 564331"/>
                <a:gd name="csX116" fmla="*/ 367283 w 564355"/>
                <a:gd name="csY116" fmla="*/ 121444 h 564331"/>
                <a:gd name="csX117" fmla="*/ 379665 w 564355"/>
                <a:gd name="csY117" fmla="*/ 121444 h 564331"/>
                <a:gd name="csX118" fmla="*/ 478440 w 564355"/>
                <a:gd name="csY118" fmla="*/ 172879 h 564331"/>
                <a:gd name="csX119" fmla="*/ 476725 w 564355"/>
                <a:gd name="csY119" fmla="*/ 265653 h 564331"/>
                <a:gd name="csX120" fmla="*/ 470240 w 564355"/>
                <a:gd name="csY120" fmla="*/ 257849 h 564331"/>
                <a:gd name="csX121" fmla="*/ 462438 w 564355"/>
                <a:gd name="csY121" fmla="*/ 264319 h 564331"/>
                <a:gd name="csX122" fmla="*/ 419099 w 564355"/>
                <a:gd name="csY122" fmla="*/ 425577 h 564331"/>
                <a:gd name="csX123" fmla="*/ 422528 w 564355"/>
                <a:gd name="csY123" fmla="*/ 435102 h 564331"/>
                <a:gd name="csX124" fmla="*/ 425576 w 564355"/>
                <a:gd name="csY124" fmla="*/ 435769 h 564331"/>
                <a:gd name="csX125" fmla="*/ 432053 w 564355"/>
                <a:gd name="csY125" fmla="*/ 431673 h 564331"/>
                <a:gd name="csX126" fmla="*/ 476725 w 564355"/>
                <a:gd name="csY126" fmla="*/ 265653 h 564331"/>
                <a:gd name="csX127" fmla="*/ 173830 w 564355"/>
                <a:gd name="csY127" fmla="*/ 340519 h 564331"/>
                <a:gd name="csX128" fmla="*/ 161924 w 564355"/>
                <a:gd name="csY128" fmla="*/ 352425 h 564331"/>
                <a:gd name="csX129" fmla="*/ 161924 w 564355"/>
                <a:gd name="csY129" fmla="*/ 390525 h 564331"/>
                <a:gd name="csX130" fmla="*/ 173830 w 564355"/>
                <a:gd name="csY130" fmla="*/ 402432 h 564331"/>
                <a:gd name="csX131" fmla="*/ 185736 w 564355"/>
                <a:gd name="csY131" fmla="*/ 390525 h 564331"/>
                <a:gd name="csX132" fmla="*/ 185736 w 564355"/>
                <a:gd name="csY132" fmla="*/ 352425 h 564331"/>
                <a:gd name="csX133" fmla="*/ 173830 w 564355"/>
                <a:gd name="csY133" fmla="*/ 340519 h 56433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Lst>
              <a:rect l="l" t="t" r="r" b="b"/>
              <a:pathLst>
                <a:path w="564355" h="564331">
                  <a:moveTo>
                    <a:pt x="192835" y="63689"/>
                  </a:moveTo>
                  <a:cubicBezTo>
                    <a:pt x="187535" y="32575"/>
                    <a:pt x="201431" y="4252"/>
                    <a:pt x="223873" y="429"/>
                  </a:cubicBezTo>
                  <a:cubicBezTo>
                    <a:pt x="246315" y="-3393"/>
                    <a:pt x="268804" y="18732"/>
                    <a:pt x="274103" y="49847"/>
                  </a:cubicBezTo>
                  <a:cubicBezTo>
                    <a:pt x="279403" y="80962"/>
                    <a:pt x="265506" y="109284"/>
                    <a:pt x="243065" y="113107"/>
                  </a:cubicBezTo>
                  <a:cubicBezTo>
                    <a:pt x="220623" y="116929"/>
                    <a:pt x="198134" y="94804"/>
                    <a:pt x="192835" y="63689"/>
                  </a:cubicBezTo>
                  <a:close/>
                  <a:moveTo>
                    <a:pt x="334471" y="77010"/>
                  </a:moveTo>
                  <a:cubicBezTo>
                    <a:pt x="347900" y="74723"/>
                    <a:pt x="355922" y="56052"/>
                    <a:pt x="352388" y="35309"/>
                  </a:cubicBezTo>
                  <a:cubicBezTo>
                    <a:pt x="348855" y="14566"/>
                    <a:pt x="335105" y="-396"/>
                    <a:pt x="321677" y="1891"/>
                  </a:cubicBezTo>
                  <a:cubicBezTo>
                    <a:pt x="308249" y="4178"/>
                    <a:pt x="300227" y="22848"/>
                    <a:pt x="303760" y="43592"/>
                  </a:cubicBezTo>
                  <a:cubicBezTo>
                    <a:pt x="307293" y="64335"/>
                    <a:pt x="321043" y="79297"/>
                    <a:pt x="334471" y="77010"/>
                  </a:cubicBezTo>
                  <a:close/>
                  <a:moveTo>
                    <a:pt x="402494" y="76593"/>
                  </a:moveTo>
                  <a:cubicBezTo>
                    <a:pt x="416593" y="77579"/>
                    <a:pt x="429213" y="61362"/>
                    <a:pt x="430682" y="40371"/>
                  </a:cubicBezTo>
                  <a:cubicBezTo>
                    <a:pt x="432150" y="19381"/>
                    <a:pt x="421911" y="1565"/>
                    <a:pt x="407812" y="578"/>
                  </a:cubicBezTo>
                  <a:cubicBezTo>
                    <a:pt x="393713" y="-408"/>
                    <a:pt x="381093" y="15809"/>
                    <a:pt x="379624" y="36800"/>
                  </a:cubicBezTo>
                  <a:cubicBezTo>
                    <a:pt x="378156" y="57790"/>
                    <a:pt x="388395" y="75606"/>
                    <a:pt x="402494" y="76593"/>
                  </a:cubicBezTo>
                  <a:close/>
                  <a:moveTo>
                    <a:pt x="486786" y="29162"/>
                  </a:moveTo>
                  <a:cubicBezTo>
                    <a:pt x="473265" y="26943"/>
                    <a:pt x="459541" y="41976"/>
                    <a:pt x="456132" y="62740"/>
                  </a:cubicBezTo>
                  <a:cubicBezTo>
                    <a:pt x="452723" y="83504"/>
                    <a:pt x="460921" y="102136"/>
                    <a:pt x="474442" y="104356"/>
                  </a:cubicBezTo>
                  <a:cubicBezTo>
                    <a:pt x="487963" y="106575"/>
                    <a:pt x="501688" y="91542"/>
                    <a:pt x="505096" y="70778"/>
                  </a:cubicBezTo>
                  <a:cubicBezTo>
                    <a:pt x="508505" y="50014"/>
                    <a:pt x="500307" y="31382"/>
                    <a:pt x="486786" y="29162"/>
                  </a:cubicBezTo>
                  <a:close/>
                  <a:moveTo>
                    <a:pt x="548928" y="96508"/>
                  </a:moveTo>
                  <a:cubicBezTo>
                    <a:pt x="535702" y="92565"/>
                    <a:pt x="520107" y="105716"/>
                    <a:pt x="514095" y="125881"/>
                  </a:cubicBezTo>
                  <a:cubicBezTo>
                    <a:pt x="508084" y="146046"/>
                    <a:pt x="513933" y="165589"/>
                    <a:pt x="527158" y="169532"/>
                  </a:cubicBezTo>
                  <a:cubicBezTo>
                    <a:pt x="540385" y="173474"/>
                    <a:pt x="555980" y="160324"/>
                    <a:pt x="561991" y="140158"/>
                  </a:cubicBezTo>
                  <a:cubicBezTo>
                    <a:pt x="568002" y="119993"/>
                    <a:pt x="562153" y="100450"/>
                    <a:pt x="548928" y="96508"/>
                  </a:cubicBezTo>
                  <a:close/>
                  <a:moveTo>
                    <a:pt x="278605" y="469107"/>
                  </a:moveTo>
                  <a:lnTo>
                    <a:pt x="69055" y="469107"/>
                  </a:lnTo>
                  <a:cubicBezTo>
                    <a:pt x="30925" y="469115"/>
                    <a:pt x="8" y="438211"/>
                    <a:pt x="0" y="400081"/>
                  </a:cubicBezTo>
                  <a:cubicBezTo>
                    <a:pt x="-7" y="364632"/>
                    <a:pt x="26833" y="334938"/>
                    <a:pt x="62102" y="331375"/>
                  </a:cubicBezTo>
                  <a:cubicBezTo>
                    <a:pt x="65191" y="330983"/>
                    <a:pt x="67704" y="328698"/>
                    <a:pt x="68388" y="325660"/>
                  </a:cubicBezTo>
                  <a:cubicBezTo>
                    <a:pt x="77908" y="277943"/>
                    <a:pt x="124308" y="246977"/>
                    <a:pt x="172025" y="256497"/>
                  </a:cubicBezTo>
                  <a:cubicBezTo>
                    <a:pt x="196946" y="261469"/>
                    <a:pt x="218506" y="276959"/>
                    <a:pt x="231171" y="298990"/>
                  </a:cubicBezTo>
                  <a:cubicBezTo>
                    <a:pt x="232662" y="301608"/>
                    <a:pt x="235629" y="303016"/>
                    <a:pt x="238600" y="302514"/>
                  </a:cubicBezTo>
                  <a:cubicBezTo>
                    <a:pt x="238976" y="302435"/>
                    <a:pt x="239360" y="302403"/>
                    <a:pt x="239743" y="302419"/>
                  </a:cubicBezTo>
                  <a:cubicBezTo>
                    <a:pt x="243258" y="302405"/>
                    <a:pt x="246766" y="302724"/>
                    <a:pt x="250221" y="303372"/>
                  </a:cubicBezTo>
                  <a:cubicBezTo>
                    <a:pt x="273605" y="308064"/>
                    <a:pt x="290452" y="328575"/>
                    <a:pt x="290511" y="352425"/>
                  </a:cubicBezTo>
                  <a:cubicBezTo>
                    <a:pt x="290508" y="356043"/>
                    <a:pt x="290125" y="359651"/>
                    <a:pt x="289368" y="363189"/>
                  </a:cubicBezTo>
                  <a:cubicBezTo>
                    <a:pt x="288570" y="366767"/>
                    <a:pt x="290637" y="370363"/>
                    <a:pt x="294131" y="371475"/>
                  </a:cubicBezTo>
                  <a:cubicBezTo>
                    <a:pt x="320405" y="380079"/>
                    <a:pt x="334729" y="408352"/>
                    <a:pt x="326126" y="434626"/>
                  </a:cubicBezTo>
                  <a:cubicBezTo>
                    <a:pt x="319396" y="455178"/>
                    <a:pt x="300230" y="469084"/>
                    <a:pt x="278605" y="469107"/>
                  </a:cubicBezTo>
                  <a:close/>
                  <a:moveTo>
                    <a:pt x="95249" y="390525"/>
                  </a:moveTo>
                  <a:lnTo>
                    <a:pt x="95249" y="352425"/>
                  </a:lnTo>
                  <a:cubicBezTo>
                    <a:pt x="95249" y="345850"/>
                    <a:pt x="100579" y="340519"/>
                    <a:pt x="107155" y="340519"/>
                  </a:cubicBezTo>
                  <a:cubicBezTo>
                    <a:pt x="113731" y="340519"/>
                    <a:pt x="119061" y="345850"/>
                    <a:pt x="119061" y="352425"/>
                  </a:cubicBezTo>
                  <a:cubicBezTo>
                    <a:pt x="119061" y="356371"/>
                    <a:pt x="122260" y="359569"/>
                    <a:pt x="126205" y="359569"/>
                  </a:cubicBezTo>
                  <a:cubicBezTo>
                    <a:pt x="130150" y="359569"/>
                    <a:pt x="133349" y="356371"/>
                    <a:pt x="133349" y="352425"/>
                  </a:cubicBezTo>
                  <a:cubicBezTo>
                    <a:pt x="133349" y="337959"/>
                    <a:pt x="121621" y="326232"/>
                    <a:pt x="107155" y="326232"/>
                  </a:cubicBezTo>
                  <a:cubicBezTo>
                    <a:pt x="92689" y="326232"/>
                    <a:pt x="80961" y="337959"/>
                    <a:pt x="80961" y="352425"/>
                  </a:cubicBezTo>
                  <a:lnTo>
                    <a:pt x="80961" y="390525"/>
                  </a:lnTo>
                  <a:cubicBezTo>
                    <a:pt x="80961" y="404992"/>
                    <a:pt x="92689" y="416719"/>
                    <a:pt x="107155" y="416719"/>
                  </a:cubicBezTo>
                  <a:cubicBezTo>
                    <a:pt x="121621" y="416719"/>
                    <a:pt x="133349" y="404992"/>
                    <a:pt x="133349" y="390525"/>
                  </a:cubicBezTo>
                  <a:cubicBezTo>
                    <a:pt x="133349" y="386580"/>
                    <a:pt x="130150" y="383382"/>
                    <a:pt x="126205" y="383382"/>
                  </a:cubicBezTo>
                  <a:cubicBezTo>
                    <a:pt x="122260" y="383382"/>
                    <a:pt x="119061" y="386580"/>
                    <a:pt x="119061" y="390525"/>
                  </a:cubicBezTo>
                  <a:cubicBezTo>
                    <a:pt x="119061" y="397101"/>
                    <a:pt x="113731" y="402432"/>
                    <a:pt x="107155" y="402432"/>
                  </a:cubicBezTo>
                  <a:cubicBezTo>
                    <a:pt x="100579" y="402432"/>
                    <a:pt x="95249" y="397101"/>
                    <a:pt x="95249" y="390525"/>
                  </a:cubicBezTo>
                  <a:close/>
                  <a:moveTo>
                    <a:pt x="200024" y="352425"/>
                  </a:moveTo>
                  <a:cubicBezTo>
                    <a:pt x="200024" y="337959"/>
                    <a:pt x="188296" y="326232"/>
                    <a:pt x="173830" y="326232"/>
                  </a:cubicBezTo>
                  <a:cubicBezTo>
                    <a:pt x="159364" y="326232"/>
                    <a:pt x="147636" y="337959"/>
                    <a:pt x="147636" y="352425"/>
                  </a:cubicBezTo>
                  <a:lnTo>
                    <a:pt x="147636" y="390525"/>
                  </a:lnTo>
                  <a:cubicBezTo>
                    <a:pt x="147636" y="404992"/>
                    <a:pt x="159364" y="416719"/>
                    <a:pt x="173830" y="416719"/>
                  </a:cubicBezTo>
                  <a:cubicBezTo>
                    <a:pt x="188296" y="416719"/>
                    <a:pt x="200024" y="404992"/>
                    <a:pt x="200024" y="390525"/>
                  </a:cubicBezTo>
                  <a:close/>
                  <a:moveTo>
                    <a:pt x="266699" y="381000"/>
                  </a:moveTo>
                  <a:cubicBezTo>
                    <a:pt x="266655" y="371813"/>
                    <a:pt x="259218" y="364375"/>
                    <a:pt x="250030" y="364332"/>
                  </a:cubicBezTo>
                  <a:lnTo>
                    <a:pt x="230980" y="364332"/>
                  </a:lnTo>
                  <a:cubicBezTo>
                    <a:pt x="221792" y="364375"/>
                    <a:pt x="214355" y="371813"/>
                    <a:pt x="214311" y="381000"/>
                  </a:cubicBezTo>
                  <a:lnTo>
                    <a:pt x="214311" y="390525"/>
                  </a:lnTo>
                  <a:cubicBezTo>
                    <a:pt x="214311" y="394471"/>
                    <a:pt x="217510" y="397669"/>
                    <a:pt x="221455" y="397669"/>
                  </a:cubicBezTo>
                  <a:cubicBezTo>
                    <a:pt x="225400" y="397669"/>
                    <a:pt x="228599" y="394471"/>
                    <a:pt x="228599" y="390525"/>
                  </a:cubicBezTo>
                  <a:lnTo>
                    <a:pt x="228599" y="381000"/>
                  </a:lnTo>
                  <a:cubicBezTo>
                    <a:pt x="228586" y="379698"/>
                    <a:pt x="229631" y="378632"/>
                    <a:pt x="230933" y="378619"/>
                  </a:cubicBezTo>
                  <a:cubicBezTo>
                    <a:pt x="230949" y="378619"/>
                    <a:pt x="230964" y="378619"/>
                    <a:pt x="230980" y="378619"/>
                  </a:cubicBezTo>
                  <a:lnTo>
                    <a:pt x="250030" y="378619"/>
                  </a:lnTo>
                  <a:cubicBezTo>
                    <a:pt x="251332" y="378606"/>
                    <a:pt x="252398" y="379651"/>
                    <a:pt x="252411" y="380954"/>
                  </a:cubicBezTo>
                  <a:cubicBezTo>
                    <a:pt x="252411" y="380969"/>
                    <a:pt x="252411" y="380985"/>
                    <a:pt x="252411" y="381000"/>
                  </a:cubicBezTo>
                  <a:lnTo>
                    <a:pt x="252411" y="392621"/>
                  </a:lnTo>
                  <a:cubicBezTo>
                    <a:pt x="252383" y="393700"/>
                    <a:pt x="251645" y="394631"/>
                    <a:pt x="250602" y="394907"/>
                  </a:cubicBezTo>
                  <a:lnTo>
                    <a:pt x="234123" y="399003"/>
                  </a:lnTo>
                  <a:cubicBezTo>
                    <a:pt x="222485" y="401959"/>
                    <a:pt x="214331" y="412427"/>
                    <a:pt x="214311" y="424434"/>
                  </a:cubicBezTo>
                  <a:lnTo>
                    <a:pt x="214311" y="428625"/>
                  </a:lnTo>
                  <a:cubicBezTo>
                    <a:pt x="214340" y="432559"/>
                    <a:pt x="217522" y="435741"/>
                    <a:pt x="221455" y="435769"/>
                  </a:cubicBezTo>
                  <a:lnTo>
                    <a:pt x="259555" y="435769"/>
                  </a:lnTo>
                  <a:cubicBezTo>
                    <a:pt x="263500" y="435769"/>
                    <a:pt x="266699" y="432571"/>
                    <a:pt x="266699" y="428625"/>
                  </a:cubicBezTo>
                  <a:cubicBezTo>
                    <a:pt x="266699" y="424680"/>
                    <a:pt x="263500" y="421482"/>
                    <a:pt x="259555" y="421482"/>
                  </a:cubicBezTo>
                  <a:lnTo>
                    <a:pt x="228980" y="421482"/>
                  </a:lnTo>
                  <a:cubicBezTo>
                    <a:pt x="230030" y="417223"/>
                    <a:pt x="233378" y="413912"/>
                    <a:pt x="237648" y="412909"/>
                  </a:cubicBezTo>
                  <a:lnTo>
                    <a:pt x="254031" y="408813"/>
                  </a:lnTo>
                  <a:cubicBezTo>
                    <a:pt x="261472" y="406968"/>
                    <a:pt x="266698" y="400288"/>
                    <a:pt x="266699" y="392621"/>
                  </a:cubicBezTo>
                  <a:close/>
                  <a:moveTo>
                    <a:pt x="480249" y="175356"/>
                  </a:moveTo>
                  <a:cubicBezTo>
                    <a:pt x="496575" y="198707"/>
                    <a:pt x="504101" y="227088"/>
                    <a:pt x="501490" y="255461"/>
                  </a:cubicBezTo>
                  <a:lnTo>
                    <a:pt x="501490" y="255556"/>
                  </a:lnTo>
                  <a:lnTo>
                    <a:pt x="500442" y="267843"/>
                  </a:lnTo>
                  <a:cubicBezTo>
                    <a:pt x="496024" y="316183"/>
                    <a:pt x="484966" y="363683"/>
                    <a:pt x="467581" y="409004"/>
                  </a:cubicBezTo>
                  <a:cubicBezTo>
                    <a:pt x="450107" y="454283"/>
                    <a:pt x="426486" y="496943"/>
                    <a:pt x="397382" y="535782"/>
                  </a:cubicBezTo>
                  <a:cubicBezTo>
                    <a:pt x="390724" y="544670"/>
                    <a:pt x="382080" y="551878"/>
                    <a:pt x="372141" y="556832"/>
                  </a:cubicBezTo>
                  <a:cubicBezTo>
                    <a:pt x="336841" y="574407"/>
                    <a:pt x="293978" y="560039"/>
                    <a:pt x="276402" y="524739"/>
                  </a:cubicBezTo>
                  <a:cubicBezTo>
                    <a:pt x="270036" y="511952"/>
                    <a:pt x="267651" y="497550"/>
                    <a:pt x="269556" y="483394"/>
                  </a:cubicBezTo>
                  <a:lnTo>
                    <a:pt x="278605" y="483394"/>
                  </a:lnTo>
                  <a:cubicBezTo>
                    <a:pt x="314125" y="483383"/>
                    <a:pt x="342910" y="454579"/>
                    <a:pt x="342899" y="419060"/>
                  </a:cubicBezTo>
                  <a:cubicBezTo>
                    <a:pt x="342891" y="393499"/>
                    <a:pt x="327747" y="370370"/>
                    <a:pt x="304323" y="360141"/>
                  </a:cubicBezTo>
                  <a:cubicBezTo>
                    <a:pt x="304623" y="357580"/>
                    <a:pt x="304782" y="355004"/>
                    <a:pt x="304799" y="352425"/>
                  </a:cubicBezTo>
                  <a:cubicBezTo>
                    <a:pt x="304769" y="348723"/>
                    <a:pt x="304451" y="345029"/>
                    <a:pt x="303846" y="341376"/>
                  </a:cubicBezTo>
                  <a:cubicBezTo>
                    <a:pt x="303656" y="340233"/>
                    <a:pt x="303180" y="339090"/>
                    <a:pt x="302894" y="337947"/>
                  </a:cubicBezTo>
                  <a:cubicBezTo>
                    <a:pt x="302437" y="335563"/>
                    <a:pt x="301832" y="333209"/>
                    <a:pt x="301084" y="330899"/>
                  </a:cubicBezTo>
                  <a:cubicBezTo>
                    <a:pt x="300608" y="329661"/>
                    <a:pt x="299941" y="328422"/>
                    <a:pt x="299370" y="327184"/>
                  </a:cubicBezTo>
                  <a:cubicBezTo>
                    <a:pt x="298564" y="325133"/>
                    <a:pt x="297642" y="323129"/>
                    <a:pt x="296607" y="321183"/>
                  </a:cubicBezTo>
                  <a:cubicBezTo>
                    <a:pt x="295845" y="319945"/>
                    <a:pt x="294988" y="318802"/>
                    <a:pt x="294226" y="317564"/>
                  </a:cubicBezTo>
                  <a:cubicBezTo>
                    <a:pt x="293083" y="315754"/>
                    <a:pt x="291940" y="314040"/>
                    <a:pt x="290607" y="312325"/>
                  </a:cubicBezTo>
                  <a:cubicBezTo>
                    <a:pt x="289749" y="311182"/>
                    <a:pt x="288702" y="310230"/>
                    <a:pt x="287749" y="309182"/>
                  </a:cubicBezTo>
                  <a:cubicBezTo>
                    <a:pt x="286354" y="307565"/>
                    <a:pt x="284859" y="306038"/>
                    <a:pt x="283272" y="304610"/>
                  </a:cubicBezTo>
                  <a:cubicBezTo>
                    <a:pt x="282225" y="303657"/>
                    <a:pt x="280986" y="302800"/>
                    <a:pt x="279843" y="301848"/>
                  </a:cubicBezTo>
                  <a:cubicBezTo>
                    <a:pt x="278224" y="300609"/>
                    <a:pt x="276510" y="299276"/>
                    <a:pt x="274700" y="298133"/>
                  </a:cubicBezTo>
                  <a:cubicBezTo>
                    <a:pt x="273462" y="297371"/>
                    <a:pt x="272128" y="296704"/>
                    <a:pt x="270795" y="295942"/>
                  </a:cubicBezTo>
                  <a:cubicBezTo>
                    <a:pt x="268969" y="294926"/>
                    <a:pt x="267094" y="294004"/>
                    <a:pt x="265175" y="293180"/>
                  </a:cubicBezTo>
                  <a:cubicBezTo>
                    <a:pt x="263682" y="292556"/>
                    <a:pt x="262156" y="292015"/>
                    <a:pt x="260603" y="291561"/>
                  </a:cubicBezTo>
                  <a:cubicBezTo>
                    <a:pt x="259269" y="291084"/>
                    <a:pt x="258031" y="290513"/>
                    <a:pt x="256698" y="290132"/>
                  </a:cubicBezTo>
                  <a:cubicBezTo>
                    <a:pt x="230097" y="229114"/>
                    <a:pt x="257998" y="158086"/>
                    <a:pt x="319016" y="131486"/>
                  </a:cubicBezTo>
                  <a:cubicBezTo>
                    <a:pt x="334241" y="124849"/>
                    <a:pt x="350674" y="121430"/>
                    <a:pt x="367283" y="121444"/>
                  </a:cubicBezTo>
                  <a:lnTo>
                    <a:pt x="379665" y="121444"/>
                  </a:lnTo>
                  <a:cubicBezTo>
                    <a:pt x="419005" y="121467"/>
                    <a:pt x="455865" y="140661"/>
                    <a:pt x="478440" y="172879"/>
                  </a:cubicBezTo>
                  <a:close/>
                  <a:moveTo>
                    <a:pt x="476725" y="265653"/>
                  </a:moveTo>
                  <a:cubicBezTo>
                    <a:pt x="477089" y="261707"/>
                    <a:pt x="474186" y="258213"/>
                    <a:pt x="470240" y="257849"/>
                  </a:cubicBezTo>
                  <a:cubicBezTo>
                    <a:pt x="466300" y="257485"/>
                    <a:pt x="462809" y="260380"/>
                    <a:pt x="462438" y="264319"/>
                  </a:cubicBezTo>
                  <a:cubicBezTo>
                    <a:pt x="457463" y="320180"/>
                    <a:pt x="442798" y="374748"/>
                    <a:pt x="419099" y="425577"/>
                  </a:cubicBezTo>
                  <a:cubicBezTo>
                    <a:pt x="417473" y="429157"/>
                    <a:pt x="418993" y="433380"/>
                    <a:pt x="422528" y="435102"/>
                  </a:cubicBezTo>
                  <a:cubicBezTo>
                    <a:pt x="423481" y="435549"/>
                    <a:pt x="424523" y="435777"/>
                    <a:pt x="425576" y="435769"/>
                  </a:cubicBezTo>
                  <a:cubicBezTo>
                    <a:pt x="428341" y="435758"/>
                    <a:pt x="430857" y="434167"/>
                    <a:pt x="432053" y="431673"/>
                  </a:cubicBezTo>
                  <a:cubicBezTo>
                    <a:pt x="456427" y="379331"/>
                    <a:pt x="471542" y="323159"/>
                    <a:pt x="476725" y="265653"/>
                  </a:cubicBezTo>
                  <a:close/>
                  <a:moveTo>
                    <a:pt x="173830" y="340519"/>
                  </a:moveTo>
                  <a:cubicBezTo>
                    <a:pt x="167255" y="340522"/>
                    <a:pt x="161926" y="345851"/>
                    <a:pt x="161924" y="352425"/>
                  </a:cubicBezTo>
                  <a:lnTo>
                    <a:pt x="161924" y="390525"/>
                  </a:lnTo>
                  <a:cubicBezTo>
                    <a:pt x="161924" y="397101"/>
                    <a:pt x="167254" y="402432"/>
                    <a:pt x="173830" y="402432"/>
                  </a:cubicBezTo>
                  <a:cubicBezTo>
                    <a:pt x="180406" y="402432"/>
                    <a:pt x="185736" y="397101"/>
                    <a:pt x="185736" y="390525"/>
                  </a:cubicBezTo>
                  <a:lnTo>
                    <a:pt x="185736" y="352425"/>
                  </a:lnTo>
                  <a:cubicBezTo>
                    <a:pt x="185734" y="345851"/>
                    <a:pt x="180405" y="340522"/>
                    <a:pt x="173830" y="340519"/>
                  </a:cubicBezTo>
                  <a:close/>
                </a:path>
              </a:pathLst>
            </a:custGeom>
            <a:solidFill>
              <a:srgbClr val="2B660F"/>
            </a:solidFill>
            <a:ln w="9525" cap="flat">
              <a:noFill/>
              <a:prstDash val="solid"/>
              <a:miter/>
            </a:ln>
          </p:spPr>
          <p:txBody>
            <a:bodyPr/>
            <a:lstStyle/>
            <a:p>
              <a:endParaRPr lang="en-US"/>
            </a:p>
          </p:txBody>
        </p:sp>
      </p:grpSp>
      <p:grpSp>
        <p:nvGrpSpPr>
          <p:cNvPr id="257" name="Group 256">
            <a:extLst>
              <a:ext uri="{FF2B5EF4-FFF2-40B4-BE49-F238E27FC236}">
                <a16:creationId xmlns:a16="http://schemas.microsoft.com/office/drawing/2014/main" id="{CD6A79A9-FBC4-40EC-8016-0E121C3AE6BF}"/>
              </a:ext>
            </a:extLst>
          </p:cNvPr>
          <p:cNvGrpSpPr/>
          <p:nvPr/>
        </p:nvGrpSpPr>
        <p:grpSpPr>
          <a:xfrm>
            <a:off x="6250778" y="1440815"/>
            <a:ext cx="354334" cy="354334"/>
            <a:chOff x="6250778" y="1440815"/>
            <a:chExt cx="354334" cy="354334"/>
          </a:xfrm>
        </p:grpSpPr>
        <p:sp>
          <p:nvSpPr>
            <p:cNvPr id="104" name="Oval 103">
              <a:extLst>
                <a:ext uri="{FF2B5EF4-FFF2-40B4-BE49-F238E27FC236}">
                  <a16:creationId xmlns:a16="http://schemas.microsoft.com/office/drawing/2014/main" id="{76C0A3E4-A5B0-CCFB-567F-5C180A7ADAD1}"/>
                </a:ext>
              </a:extLst>
            </p:cNvPr>
            <p:cNvSpPr/>
            <p:nvPr/>
          </p:nvSpPr>
          <p:spPr>
            <a:xfrm>
              <a:off x="6250778"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Graphic 254">
              <a:extLst>
                <a:ext uri="{FF2B5EF4-FFF2-40B4-BE49-F238E27FC236}">
                  <a16:creationId xmlns:a16="http://schemas.microsoft.com/office/drawing/2014/main" id="{6D7FFE4C-4673-D8B0-CEC4-4C38639E8AF7}"/>
                </a:ext>
              </a:extLst>
            </p:cNvPr>
            <p:cNvSpPr/>
            <p:nvPr/>
          </p:nvSpPr>
          <p:spPr>
            <a:xfrm>
              <a:off x="6308835" y="1498872"/>
              <a:ext cx="238221" cy="238221"/>
            </a:xfrm>
            <a:custGeom>
              <a:avLst/>
              <a:gdLst>
                <a:gd name="csX0" fmla="*/ 2181225 w 4362449"/>
                <a:gd name="csY0" fmla="*/ 302990 h 4362449"/>
                <a:gd name="csX1" fmla="*/ 302895 w 4362449"/>
                <a:gd name="csY1" fmla="*/ 2181225 h 4362449"/>
                <a:gd name="csX2" fmla="*/ 814006 w 4362449"/>
                <a:gd name="csY2" fmla="*/ 3467672 h 4362449"/>
                <a:gd name="csX3" fmla="*/ 3467671 w 4362449"/>
                <a:gd name="csY3" fmla="*/ 814007 h 4362449"/>
                <a:gd name="csX4" fmla="*/ 2181225 w 4362449"/>
                <a:gd name="csY4" fmla="*/ 302990 h 4362449"/>
                <a:gd name="csX5" fmla="*/ 2181225 w 4362449"/>
                <a:gd name="csY5" fmla="*/ 188690 h 4362449"/>
                <a:gd name="csX6" fmla="*/ 4173855 w 4362449"/>
                <a:gd name="csY6" fmla="*/ 2181225 h 4362449"/>
                <a:gd name="csX7" fmla="*/ 2181225 w 4362449"/>
                <a:gd name="csY7" fmla="*/ 4173855 h 4362449"/>
                <a:gd name="csX8" fmla="*/ 188595 w 4362449"/>
                <a:gd name="csY8" fmla="*/ 2181225 h 4362449"/>
                <a:gd name="csX9" fmla="*/ 2181225 w 4362449"/>
                <a:gd name="csY9" fmla="*/ 188690 h 4362449"/>
                <a:gd name="csX10" fmla="*/ 0 w 4362449"/>
                <a:gd name="csY10" fmla="*/ 2181225 h 4362449"/>
                <a:gd name="csX11" fmla="*/ 2181225 w 4362449"/>
                <a:gd name="csY11" fmla="*/ 0 h 4362449"/>
                <a:gd name="csX12" fmla="*/ 4362450 w 4362449"/>
                <a:gd name="csY12" fmla="*/ 2181225 h 4362449"/>
                <a:gd name="csX13" fmla="*/ 2181225 w 4362449"/>
                <a:gd name="csY13" fmla="*/ 4362450 h 4362449"/>
                <a:gd name="csX14" fmla="*/ 0 w 4362449"/>
                <a:gd name="csY14" fmla="*/ 2181225 h 4362449"/>
                <a:gd name="csX15" fmla="*/ 2631758 w 4362449"/>
                <a:gd name="csY15" fmla="*/ 2023396 h 4362449"/>
                <a:gd name="csX16" fmla="*/ 2292858 w 4362449"/>
                <a:gd name="csY16" fmla="*/ 2362295 h 4362449"/>
                <a:gd name="csX17" fmla="*/ 2274856 w 4362449"/>
                <a:gd name="csY17" fmla="*/ 2361819 h 4362449"/>
                <a:gd name="csX18" fmla="*/ 2220754 w 4362449"/>
                <a:gd name="csY18" fmla="*/ 2301716 h 4362449"/>
                <a:gd name="csX19" fmla="*/ 2280761 w 4362449"/>
                <a:gd name="csY19" fmla="*/ 2247614 h 4362449"/>
                <a:gd name="csX20" fmla="*/ 2292858 w 4362449"/>
                <a:gd name="csY20" fmla="*/ 2247995 h 4362449"/>
                <a:gd name="csX21" fmla="*/ 2517458 w 4362449"/>
                <a:gd name="csY21" fmla="*/ 2023396 h 4362449"/>
                <a:gd name="csX22" fmla="*/ 2517077 w 4362449"/>
                <a:gd name="csY22" fmla="*/ 2011394 h 4362449"/>
                <a:gd name="csX23" fmla="*/ 2571179 w 4362449"/>
                <a:gd name="csY23" fmla="*/ 1951292 h 4362449"/>
                <a:gd name="csX24" fmla="*/ 2631281 w 4362449"/>
                <a:gd name="csY24" fmla="*/ 2005298 h 4362449"/>
                <a:gd name="csX25" fmla="*/ 2631758 w 4362449"/>
                <a:gd name="csY25" fmla="*/ 2023396 h 4362449"/>
                <a:gd name="csX26" fmla="*/ 3548539 w 4362449"/>
                <a:gd name="csY26" fmla="*/ 894779 h 4362449"/>
                <a:gd name="csX27" fmla="*/ 4059555 w 4362449"/>
                <a:gd name="csY27" fmla="*/ 2181225 h 4362449"/>
                <a:gd name="csX28" fmla="*/ 2181225 w 4362449"/>
                <a:gd name="csY28" fmla="*/ 4059555 h 4362449"/>
                <a:gd name="csX29" fmla="*/ 894779 w 4362449"/>
                <a:gd name="csY29" fmla="*/ 3548539 h 4362449"/>
                <a:gd name="csX30" fmla="*/ 2708338 w 4362449"/>
                <a:gd name="csY30" fmla="*/ 2124361 h 4362449"/>
                <a:gd name="csX31" fmla="*/ 2708243 w 4362449"/>
                <a:gd name="csY31" fmla="*/ 2043494 h 4362449"/>
                <a:gd name="csX32" fmla="*/ 2733961 w 4362449"/>
                <a:gd name="csY32" fmla="*/ 2017871 h 4362449"/>
                <a:gd name="csX33" fmla="*/ 2975420 w 4362449"/>
                <a:gd name="csY33" fmla="*/ 2017871 h 4362449"/>
                <a:gd name="csX34" fmla="*/ 2975515 w 4362449"/>
                <a:gd name="csY34" fmla="*/ 2259425 h 4362449"/>
                <a:gd name="csX35" fmla="*/ 2886646 w 4362449"/>
                <a:gd name="csY35" fmla="*/ 2348198 h 4362449"/>
                <a:gd name="csX36" fmla="*/ 2968180 w 4362449"/>
                <a:gd name="csY36" fmla="*/ 2348198 h 4362449"/>
                <a:gd name="csX37" fmla="*/ 3025330 w 4362449"/>
                <a:gd name="csY37" fmla="*/ 2405348 h 4362449"/>
                <a:gd name="csX38" fmla="*/ 2968180 w 4362449"/>
                <a:gd name="csY38" fmla="*/ 2462498 h 4362449"/>
                <a:gd name="csX39" fmla="*/ 2748725 w 4362449"/>
                <a:gd name="csY39" fmla="*/ 2462498 h 4362449"/>
                <a:gd name="csX40" fmla="*/ 2695861 w 4362449"/>
                <a:gd name="csY40" fmla="*/ 2427161 h 4362449"/>
                <a:gd name="csX41" fmla="*/ 2708338 w 4362449"/>
                <a:gd name="csY41" fmla="*/ 2364962 h 4362449"/>
                <a:gd name="csX42" fmla="*/ 2894648 w 4362449"/>
                <a:gd name="csY42" fmla="*/ 2178558 h 4362449"/>
                <a:gd name="csX43" fmla="*/ 2894648 w 4362449"/>
                <a:gd name="csY43" fmla="*/ 2098643 h 4362449"/>
                <a:gd name="csX44" fmla="*/ 2814733 w 4362449"/>
                <a:gd name="csY44" fmla="*/ 2098643 h 4362449"/>
                <a:gd name="csX45" fmla="*/ 2789111 w 4362449"/>
                <a:gd name="csY45" fmla="*/ 2124361 h 4362449"/>
                <a:gd name="csX46" fmla="*/ 2708338 w 4362449"/>
                <a:gd name="csY46" fmla="*/ 2124361 h 4362449"/>
                <a:gd name="csX47" fmla="*/ 3285554 w 4362449"/>
                <a:gd name="csY47" fmla="*/ 2734533 h 4362449"/>
                <a:gd name="csX48" fmla="*/ 3624548 w 4362449"/>
                <a:gd name="csY48" fmla="*/ 2395442 h 4362449"/>
                <a:gd name="csX49" fmla="*/ 3285554 w 4362449"/>
                <a:gd name="csY49" fmla="*/ 2056352 h 4362449"/>
                <a:gd name="csX50" fmla="*/ 3225451 w 4362449"/>
                <a:gd name="csY50" fmla="*/ 2061686 h 4362449"/>
                <a:gd name="csX51" fmla="*/ 3178112 w 4362449"/>
                <a:gd name="csY51" fmla="*/ 2048732 h 4362449"/>
                <a:gd name="csX52" fmla="*/ 3158300 w 4362449"/>
                <a:gd name="csY52" fmla="*/ 2003965 h 4362449"/>
                <a:gd name="csX53" fmla="*/ 3158395 w 4362449"/>
                <a:gd name="csY53" fmla="*/ 1994440 h 4362449"/>
                <a:gd name="csX54" fmla="*/ 2952274 w 4362449"/>
                <a:gd name="csY54" fmla="*/ 1654493 h 4362449"/>
                <a:gd name="csX55" fmla="*/ 2928176 w 4362449"/>
                <a:gd name="csY55" fmla="*/ 1577340 h 4362449"/>
                <a:gd name="csX56" fmla="*/ 3005233 w 4362449"/>
                <a:gd name="csY56" fmla="*/ 1553147 h 4362449"/>
                <a:gd name="csX57" fmla="*/ 3270028 w 4362449"/>
                <a:gd name="csY57" fmla="*/ 1942338 h 4362449"/>
                <a:gd name="csX58" fmla="*/ 3285554 w 4362449"/>
                <a:gd name="csY58" fmla="*/ 1942052 h 4362449"/>
                <a:gd name="csX59" fmla="*/ 3738848 w 4362449"/>
                <a:gd name="csY59" fmla="*/ 2395442 h 4362449"/>
                <a:gd name="csX60" fmla="*/ 3285554 w 4362449"/>
                <a:gd name="csY60" fmla="*/ 2848833 h 4362449"/>
                <a:gd name="csX61" fmla="*/ 1790986 w 4362449"/>
                <a:gd name="csY61" fmla="*/ 2848833 h 4362449"/>
                <a:gd name="csX62" fmla="*/ 1733836 w 4362449"/>
                <a:gd name="csY62" fmla="*/ 2791683 h 4362449"/>
                <a:gd name="csX63" fmla="*/ 1790986 w 4362449"/>
                <a:gd name="csY63" fmla="*/ 2734533 h 4362449"/>
                <a:gd name="csX64" fmla="*/ 1652397 w 4362449"/>
                <a:gd name="csY64" fmla="*/ 1245965 h 4362449"/>
                <a:gd name="csX65" fmla="*/ 1909858 w 4362449"/>
                <a:gd name="csY65" fmla="*/ 1299496 h 4362449"/>
                <a:gd name="csX66" fmla="*/ 2310765 w 4362449"/>
                <a:gd name="csY66" fmla="*/ 1090517 h 4362449"/>
                <a:gd name="csX67" fmla="*/ 2768441 w 4362449"/>
                <a:gd name="csY67" fmla="*/ 1407319 h 4362449"/>
                <a:gd name="csX68" fmla="*/ 2735104 w 4362449"/>
                <a:gd name="csY68" fmla="*/ 1480947 h 4362449"/>
                <a:gd name="csX69" fmla="*/ 2661476 w 4362449"/>
                <a:gd name="csY69" fmla="*/ 1447610 h 4362449"/>
                <a:gd name="csX70" fmla="*/ 2310765 w 4362449"/>
                <a:gd name="csY70" fmla="*/ 1204817 h 4362449"/>
                <a:gd name="csX71" fmla="*/ 1981486 w 4362449"/>
                <a:gd name="csY71" fmla="*/ 1400747 h 4362449"/>
                <a:gd name="csX72" fmla="*/ 1904048 w 4362449"/>
                <a:gd name="csY72" fmla="*/ 1423702 h 4362449"/>
                <a:gd name="csX73" fmla="*/ 1652397 w 4362449"/>
                <a:gd name="csY73" fmla="*/ 1360265 h 4362449"/>
                <a:gd name="csX74" fmla="*/ 1122045 w 4362449"/>
                <a:gd name="csY74" fmla="*/ 1890713 h 4362449"/>
                <a:gd name="csX75" fmla="*/ 1130618 w 4362449"/>
                <a:gd name="csY75" fmla="*/ 1986439 h 4362449"/>
                <a:gd name="csX76" fmla="*/ 1118521 w 4362449"/>
                <a:gd name="csY76" fmla="*/ 2033016 h 4362449"/>
                <a:gd name="csX77" fmla="*/ 1074992 w 4362449"/>
                <a:gd name="csY77" fmla="*/ 2053781 h 4362449"/>
                <a:gd name="csX78" fmla="*/ 737997 w 4362449"/>
                <a:gd name="csY78" fmla="*/ 2394109 h 4362449"/>
                <a:gd name="csX79" fmla="*/ 1078325 w 4362449"/>
                <a:gd name="csY79" fmla="*/ 2734533 h 4362449"/>
                <a:gd name="csX80" fmla="*/ 1350836 w 4362449"/>
                <a:gd name="csY80" fmla="*/ 2734533 h 4362449"/>
                <a:gd name="csX81" fmla="*/ 1407986 w 4362449"/>
                <a:gd name="csY81" fmla="*/ 2791683 h 4362449"/>
                <a:gd name="csX82" fmla="*/ 1350836 w 4362449"/>
                <a:gd name="csY82" fmla="*/ 2848833 h 4362449"/>
                <a:gd name="csX83" fmla="*/ 1078325 w 4362449"/>
                <a:gd name="csY83" fmla="*/ 2848833 h 4362449"/>
                <a:gd name="csX84" fmla="*/ 623697 w 4362449"/>
                <a:gd name="csY84" fmla="*/ 2394109 h 4362449"/>
                <a:gd name="csX85" fmla="*/ 1009936 w 4362449"/>
                <a:gd name="csY85" fmla="*/ 1944624 h 4362449"/>
                <a:gd name="csX86" fmla="*/ 1007745 w 4362449"/>
                <a:gd name="csY86" fmla="*/ 1890713 h 4362449"/>
                <a:gd name="csX87" fmla="*/ 1652397 w 4362449"/>
                <a:gd name="csY87" fmla="*/ 1245965 h 4362449"/>
                <a:gd name="csX88" fmla="*/ 1675924 w 4362449"/>
                <a:gd name="csY88" fmla="*/ 1684592 h 4362449"/>
                <a:gd name="csX89" fmla="*/ 1869757 w 4362449"/>
                <a:gd name="csY89" fmla="*/ 1745361 h 4362449"/>
                <a:gd name="csX90" fmla="*/ 1883855 w 4362449"/>
                <a:gd name="csY90" fmla="*/ 1824990 h 4362449"/>
                <a:gd name="csX91" fmla="*/ 1804321 w 4362449"/>
                <a:gd name="csY91" fmla="*/ 1839087 h 4362449"/>
                <a:gd name="csX92" fmla="*/ 1675924 w 4362449"/>
                <a:gd name="csY92" fmla="*/ 1798892 h 4362449"/>
                <a:gd name="csX93" fmla="*/ 1451420 w 4362449"/>
                <a:gd name="csY93" fmla="*/ 2023396 h 4362449"/>
                <a:gd name="csX94" fmla="*/ 1675924 w 4362449"/>
                <a:gd name="csY94" fmla="*/ 2247995 h 4362449"/>
                <a:gd name="csX95" fmla="*/ 1804321 w 4362449"/>
                <a:gd name="csY95" fmla="*/ 2207704 h 4362449"/>
                <a:gd name="csX96" fmla="*/ 1883855 w 4362449"/>
                <a:gd name="csY96" fmla="*/ 2221802 h 4362449"/>
                <a:gd name="csX97" fmla="*/ 1869757 w 4362449"/>
                <a:gd name="csY97" fmla="*/ 2301431 h 4362449"/>
                <a:gd name="csX98" fmla="*/ 1675924 w 4362449"/>
                <a:gd name="csY98" fmla="*/ 2362295 h 4362449"/>
                <a:gd name="csX99" fmla="*/ 1337120 w 4362449"/>
                <a:gd name="csY99" fmla="*/ 2023396 h 4362449"/>
                <a:gd name="csX100" fmla="*/ 1675924 w 4362449"/>
                <a:gd name="csY100" fmla="*/ 1684592 h 4362449"/>
                <a:gd name="csX101" fmla="*/ 2292858 w 4362449"/>
                <a:gd name="csY101" fmla="*/ 1684592 h 4362449"/>
                <a:gd name="csX102" fmla="*/ 2404015 w 4362449"/>
                <a:gd name="csY102" fmla="*/ 1703261 h 4362449"/>
                <a:gd name="csX103" fmla="*/ 2439257 w 4362449"/>
                <a:gd name="csY103" fmla="*/ 1775936 h 4362449"/>
                <a:gd name="csX104" fmla="*/ 2366486 w 4362449"/>
                <a:gd name="csY104" fmla="*/ 1811179 h 4362449"/>
                <a:gd name="csX105" fmla="*/ 2292858 w 4362449"/>
                <a:gd name="csY105" fmla="*/ 1798892 h 4362449"/>
                <a:gd name="csX106" fmla="*/ 2068354 w 4362449"/>
                <a:gd name="csY106" fmla="*/ 2023396 h 4362449"/>
                <a:gd name="csX107" fmla="*/ 2080641 w 4362449"/>
                <a:gd name="csY107" fmla="*/ 2097024 h 4362449"/>
                <a:gd name="csX108" fmla="*/ 2045399 w 4362449"/>
                <a:gd name="csY108" fmla="*/ 2169795 h 4362449"/>
                <a:gd name="csX109" fmla="*/ 2026634 w 4362449"/>
                <a:gd name="csY109" fmla="*/ 2172938 h 4362449"/>
                <a:gd name="csX110" fmla="*/ 1972628 w 4362449"/>
                <a:gd name="csY110" fmla="*/ 2134553 h 4362449"/>
                <a:gd name="csX111" fmla="*/ 1954054 w 4362449"/>
                <a:gd name="csY111" fmla="*/ 2023396 h 4362449"/>
                <a:gd name="csX112" fmla="*/ 2292858 w 4362449"/>
                <a:gd name="csY112" fmla="*/ 1684592 h 436244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Lst>
              <a:rect l="l" t="t" r="r" b="b"/>
              <a:pathLst>
                <a:path w="4362449" h="4362449">
                  <a:moveTo>
                    <a:pt x="2181225" y="302990"/>
                  </a:moveTo>
                  <a:cubicBezTo>
                    <a:pt x="1145572" y="302990"/>
                    <a:pt x="302895" y="1145572"/>
                    <a:pt x="302895" y="2181225"/>
                  </a:cubicBezTo>
                  <a:cubicBezTo>
                    <a:pt x="302895" y="2678621"/>
                    <a:pt x="497300" y="3131344"/>
                    <a:pt x="814006" y="3467672"/>
                  </a:cubicBezTo>
                  <a:lnTo>
                    <a:pt x="3467671" y="814007"/>
                  </a:lnTo>
                  <a:cubicBezTo>
                    <a:pt x="3131439" y="497300"/>
                    <a:pt x="2678621" y="302990"/>
                    <a:pt x="2181225" y="302990"/>
                  </a:cubicBezTo>
                  <a:close/>
                  <a:moveTo>
                    <a:pt x="2181225" y="188690"/>
                  </a:moveTo>
                  <a:cubicBezTo>
                    <a:pt x="3279934" y="188690"/>
                    <a:pt x="4173855" y="1082516"/>
                    <a:pt x="4173855" y="2181225"/>
                  </a:cubicBezTo>
                  <a:cubicBezTo>
                    <a:pt x="4173855" y="3279934"/>
                    <a:pt x="3279934" y="4173855"/>
                    <a:pt x="2181225" y="4173855"/>
                  </a:cubicBezTo>
                  <a:cubicBezTo>
                    <a:pt x="1082516" y="4173855"/>
                    <a:pt x="188595" y="3279934"/>
                    <a:pt x="188595" y="2181225"/>
                  </a:cubicBezTo>
                  <a:cubicBezTo>
                    <a:pt x="188595" y="1082516"/>
                    <a:pt x="1082611" y="188690"/>
                    <a:pt x="2181225" y="188690"/>
                  </a:cubicBezTo>
                  <a:close/>
                  <a:moveTo>
                    <a:pt x="0" y="2181225"/>
                  </a:moveTo>
                  <a:cubicBezTo>
                    <a:pt x="0" y="978503"/>
                    <a:pt x="978503" y="0"/>
                    <a:pt x="2181225" y="0"/>
                  </a:cubicBezTo>
                  <a:cubicBezTo>
                    <a:pt x="3383947" y="0"/>
                    <a:pt x="4362450" y="978503"/>
                    <a:pt x="4362450" y="2181225"/>
                  </a:cubicBezTo>
                  <a:cubicBezTo>
                    <a:pt x="4362450" y="3383947"/>
                    <a:pt x="3383947" y="4362450"/>
                    <a:pt x="2181225" y="4362450"/>
                  </a:cubicBezTo>
                  <a:cubicBezTo>
                    <a:pt x="978598" y="4362450"/>
                    <a:pt x="0" y="3383947"/>
                    <a:pt x="0" y="2181225"/>
                  </a:cubicBezTo>
                  <a:close/>
                  <a:moveTo>
                    <a:pt x="2631758" y="2023396"/>
                  </a:moveTo>
                  <a:cubicBezTo>
                    <a:pt x="2631758" y="2210276"/>
                    <a:pt x="2479738" y="2362295"/>
                    <a:pt x="2292858" y="2362295"/>
                  </a:cubicBezTo>
                  <a:cubicBezTo>
                    <a:pt x="2286857" y="2362295"/>
                    <a:pt x="2280761" y="2362105"/>
                    <a:pt x="2274856" y="2361819"/>
                  </a:cubicBezTo>
                  <a:cubicBezTo>
                    <a:pt x="2243328" y="2360104"/>
                    <a:pt x="2219039" y="2333244"/>
                    <a:pt x="2220754" y="2301716"/>
                  </a:cubicBezTo>
                  <a:cubicBezTo>
                    <a:pt x="2222373" y="2270189"/>
                    <a:pt x="2249424" y="2246091"/>
                    <a:pt x="2280761" y="2247614"/>
                  </a:cubicBezTo>
                  <a:cubicBezTo>
                    <a:pt x="2284762" y="2247805"/>
                    <a:pt x="2288858" y="2247995"/>
                    <a:pt x="2292858" y="2247995"/>
                  </a:cubicBezTo>
                  <a:cubicBezTo>
                    <a:pt x="2416683" y="2247995"/>
                    <a:pt x="2517458" y="2147221"/>
                    <a:pt x="2517458" y="2023396"/>
                  </a:cubicBezTo>
                  <a:cubicBezTo>
                    <a:pt x="2517458" y="2019395"/>
                    <a:pt x="2517362" y="2015395"/>
                    <a:pt x="2517077" y="2011394"/>
                  </a:cubicBezTo>
                  <a:cubicBezTo>
                    <a:pt x="2515457" y="1979867"/>
                    <a:pt x="2539651" y="1952911"/>
                    <a:pt x="2571179" y="1951292"/>
                  </a:cubicBezTo>
                  <a:cubicBezTo>
                    <a:pt x="2602611" y="1949577"/>
                    <a:pt x="2629567" y="1973771"/>
                    <a:pt x="2631281" y="2005298"/>
                  </a:cubicBezTo>
                  <a:cubicBezTo>
                    <a:pt x="2631567" y="2011299"/>
                    <a:pt x="2631758" y="2017300"/>
                    <a:pt x="2631758" y="2023396"/>
                  </a:cubicBezTo>
                  <a:close/>
                  <a:moveTo>
                    <a:pt x="3548539" y="894779"/>
                  </a:moveTo>
                  <a:cubicBezTo>
                    <a:pt x="3865150" y="1231202"/>
                    <a:pt x="4059555" y="1683925"/>
                    <a:pt x="4059555" y="2181225"/>
                  </a:cubicBezTo>
                  <a:cubicBezTo>
                    <a:pt x="4059555" y="3216974"/>
                    <a:pt x="3216974" y="4059555"/>
                    <a:pt x="2181225" y="4059555"/>
                  </a:cubicBezTo>
                  <a:cubicBezTo>
                    <a:pt x="1683925" y="4059555"/>
                    <a:pt x="1231106" y="3865150"/>
                    <a:pt x="894779" y="3548539"/>
                  </a:cubicBezTo>
                  <a:close/>
                  <a:moveTo>
                    <a:pt x="2708338" y="2124361"/>
                  </a:moveTo>
                  <a:cubicBezTo>
                    <a:pt x="2685955" y="2101977"/>
                    <a:pt x="2685955" y="2065782"/>
                    <a:pt x="2708243" y="2043494"/>
                  </a:cubicBezTo>
                  <a:lnTo>
                    <a:pt x="2733961" y="2017871"/>
                  </a:lnTo>
                  <a:cubicBezTo>
                    <a:pt x="2800541" y="1951292"/>
                    <a:pt x="2908840" y="1951292"/>
                    <a:pt x="2975420" y="2017871"/>
                  </a:cubicBezTo>
                  <a:cubicBezTo>
                    <a:pt x="3042095" y="2084451"/>
                    <a:pt x="3042095" y="2192846"/>
                    <a:pt x="2975515" y="2259425"/>
                  </a:cubicBezTo>
                  <a:lnTo>
                    <a:pt x="2886646" y="2348198"/>
                  </a:lnTo>
                  <a:lnTo>
                    <a:pt x="2968180" y="2348198"/>
                  </a:lnTo>
                  <a:cubicBezTo>
                    <a:pt x="2999804" y="2348198"/>
                    <a:pt x="3025330" y="2373725"/>
                    <a:pt x="3025330" y="2405348"/>
                  </a:cubicBezTo>
                  <a:cubicBezTo>
                    <a:pt x="3025330" y="2436876"/>
                    <a:pt x="2999804" y="2462498"/>
                    <a:pt x="2968180" y="2462498"/>
                  </a:cubicBezTo>
                  <a:lnTo>
                    <a:pt x="2748725" y="2462498"/>
                  </a:lnTo>
                  <a:cubicBezTo>
                    <a:pt x="2725579" y="2462498"/>
                    <a:pt x="2704719" y="2448592"/>
                    <a:pt x="2695861" y="2427161"/>
                  </a:cubicBezTo>
                  <a:cubicBezTo>
                    <a:pt x="2687098" y="2405825"/>
                    <a:pt x="2691955" y="2381250"/>
                    <a:pt x="2708338" y="2364962"/>
                  </a:cubicBezTo>
                  <a:lnTo>
                    <a:pt x="2894648" y="2178558"/>
                  </a:lnTo>
                  <a:cubicBezTo>
                    <a:pt x="2916650" y="2156555"/>
                    <a:pt x="2916650" y="2120741"/>
                    <a:pt x="2894648" y="2098643"/>
                  </a:cubicBezTo>
                  <a:cubicBezTo>
                    <a:pt x="2872645" y="2076641"/>
                    <a:pt x="2836831" y="2076641"/>
                    <a:pt x="2814733" y="2098643"/>
                  </a:cubicBezTo>
                  <a:lnTo>
                    <a:pt x="2789111" y="2124361"/>
                  </a:lnTo>
                  <a:cubicBezTo>
                    <a:pt x="2766917" y="2146649"/>
                    <a:pt x="2730627" y="2146649"/>
                    <a:pt x="2708338" y="2124361"/>
                  </a:cubicBezTo>
                  <a:close/>
                  <a:moveTo>
                    <a:pt x="3285554" y="2734533"/>
                  </a:moveTo>
                  <a:cubicBezTo>
                    <a:pt x="3472434" y="2734533"/>
                    <a:pt x="3624548" y="2582418"/>
                    <a:pt x="3624548" y="2395442"/>
                  </a:cubicBezTo>
                  <a:cubicBezTo>
                    <a:pt x="3624548" y="2208467"/>
                    <a:pt x="3472434" y="2056352"/>
                    <a:pt x="3285554" y="2056352"/>
                  </a:cubicBezTo>
                  <a:cubicBezTo>
                    <a:pt x="3265361" y="2056352"/>
                    <a:pt x="3245168" y="2058162"/>
                    <a:pt x="3225451" y="2061686"/>
                  </a:cubicBezTo>
                  <a:cubicBezTo>
                    <a:pt x="3208496" y="2064734"/>
                    <a:pt x="3191161" y="2059972"/>
                    <a:pt x="3178112" y="2048732"/>
                  </a:cubicBezTo>
                  <a:cubicBezTo>
                    <a:pt x="3165158" y="2037588"/>
                    <a:pt x="3157823" y="2021110"/>
                    <a:pt x="3158300" y="2003965"/>
                  </a:cubicBezTo>
                  <a:cubicBezTo>
                    <a:pt x="3158300" y="2000822"/>
                    <a:pt x="3158395" y="1997583"/>
                    <a:pt x="3158395" y="1994440"/>
                  </a:cubicBezTo>
                  <a:cubicBezTo>
                    <a:pt x="3158395" y="1851089"/>
                    <a:pt x="3079433" y="1720882"/>
                    <a:pt x="2952274" y="1654493"/>
                  </a:cubicBezTo>
                  <a:cubicBezTo>
                    <a:pt x="2924366" y="1639824"/>
                    <a:pt x="2913507" y="1605344"/>
                    <a:pt x="2928176" y="1577340"/>
                  </a:cubicBezTo>
                  <a:cubicBezTo>
                    <a:pt x="2942749" y="1549337"/>
                    <a:pt x="2977229" y="1538573"/>
                    <a:pt x="3005233" y="1553147"/>
                  </a:cubicBezTo>
                  <a:cubicBezTo>
                    <a:pt x="3154680" y="1631252"/>
                    <a:pt x="3252788" y="1777270"/>
                    <a:pt x="3270028" y="1942338"/>
                  </a:cubicBezTo>
                  <a:cubicBezTo>
                    <a:pt x="3275171" y="1942148"/>
                    <a:pt x="3280315" y="1942052"/>
                    <a:pt x="3285554" y="1942052"/>
                  </a:cubicBezTo>
                  <a:cubicBezTo>
                    <a:pt x="3535490" y="1942052"/>
                    <a:pt x="3738848" y="2145506"/>
                    <a:pt x="3738848" y="2395442"/>
                  </a:cubicBezTo>
                  <a:cubicBezTo>
                    <a:pt x="3738848" y="2645378"/>
                    <a:pt x="3535490" y="2848833"/>
                    <a:pt x="3285554" y="2848833"/>
                  </a:cubicBezTo>
                  <a:lnTo>
                    <a:pt x="1790986" y="2848833"/>
                  </a:lnTo>
                  <a:cubicBezTo>
                    <a:pt x="1759363" y="2848833"/>
                    <a:pt x="1733836" y="2823210"/>
                    <a:pt x="1733836" y="2791683"/>
                  </a:cubicBezTo>
                  <a:cubicBezTo>
                    <a:pt x="1733836" y="2760059"/>
                    <a:pt x="1759363" y="2734533"/>
                    <a:pt x="1790986" y="2734533"/>
                  </a:cubicBezTo>
                  <a:close/>
                  <a:moveTo>
                    <a:pt x="1652397" y="1245965"/>
                  </a:moveTo>
                  <a:cubicBezTo>
                    <a:pt x="1741075" y="1245965"/>
                    <a:pt x="1829086" y="1264349"/>
                    <a:pt x="1909858" y="1299496"/>
                  </a:cubicBezTo>
                  <a:cubicBezTo>
                    <a:pt x="2000726" y="1169384"/>
                    <a:pt x="2149793" y="1090517"/>
                    <a:pt x="2310765" y="1090517"/>
                  </a:cubicBezTo>
                  <a:cubicBezTo>
                    <a:pt x="2513267" y="1090517"/>
                    <a:pt x="2697290" y="1217867"/>
                    <a:pt x="2768441" y="1407319"/>
                  </a:cubicBezTo>
                  <a:cubicBezTo>
                    <a:pt x="2779586" y="1436942"/>
                    <a:pt x="2764631" y="1469898"/>
                    <a:pt x="2735104" y="1480947"/>
                  </a:cubicBezTo>
                  <a:cubicBezTo>
                    <a:pt x="2705481" y="1492091"/>
                    <a:pt x="2672620" y="1477137"/>
                    <a:pt x="2661476" y="1447610"/>
                  </a:cubicBezTo>
                  <a:cubicBezTo>
                    <a:pt x="2606897" y="1302353"/>
                    <a:pt x="2465927" y="1204817"/>
                    <a:pt x="2310765" y="1204817"/>
                  </a:cubicBezTo>
                  <a:cubicBezTo>
                    <a:pt x="2173319" y="1204817"/>
                    <a:pt x="2047113" y="1279874"/>
                    <a:pt x="1981486" y="1400747"/>
                  </a:cubicBezTo>
                  <a:cubicBezTo>
                    <a:pt x="1966436" y="1428369"/>
                    <a:pt x="1931765" y="1438656"/>
                    <a:pt x="1904048" y="1423702"/>
                  </a:cubicBezTo>
                  <a:cubicBezTo>
                    <a:pt x="1827276" y="1382268"/>
                    <a:pt x="1740313" y="1360265"/>
                    <a:pt x="1652397" y="1360265"/>
                  </a:cubicBezTo>
                  <a:cubicBezTo>
                    <a:pt x="1359980" y="1360265"/>
                    <a:pt x="1122045" y="1598200"/>
                    <a:pt x="1122045" y="1890713"/>
                  </a:cubicBezTo>
                  <a:cubicBezTo>
                    <a:pt x="1122045" y="1922812"/>
                    <a:pt x="1124903" y="1955006"/>
                    <a:pt x="1130618" y="1986439"/>
                  </a:cubicBezTo>
                  <a:cubicBezTo>
                    <a:pt x="1133665" y="2003012"/>
                    <a:pt x="1129189" y="2020062"/>
                    <a:pt x="1118521" y="2033016"/>
                  </a:cubicBezTo>
                  <a:cubicBezTo>
                    <a:pt x="1107757" y="2045970"/>
                    <a:pt x="1091851" y="2053590"/>
                    <a:pt x="1074992" y="2053781"/>
                  </a:cubicBezTo>
                  <a:cubicBezTo>
                    <a:pt x="889159" y="2055590"/>
                    <a:pt x="737997" y="2208276"/>
                    <a:pt x="737997" y="2394109"/>
                  </a:cubicBezTo>
                  <a:cubicBezTo>
                    <a:pt x="737997" y="2581751"/>
                    <a:pt x="890683" y="2734533"/>
                    <a:pt x="1078325" y="2734533"/>
                  </a:cubicBezTo>
                  <a:lnTo>
                    <a:pt x="1350836" y="2734533"/>
                  </a:lnTo>
                  <a:cubicBezTo>
                    <a:pt x="1382363" y="2734533"/>
                    <a:pt x="1407986" y="2760059"/>
                    <a:pt x="1407986" y="2791683"/>
                  </a:cubicBezTo>
                  <a:cubicBezTo>
                    <a:pt x="1407986" y="2823210"/>
                    <a:pt x="1382363" y="2848833"/>
                    <a:pt x="1350836" y="2848833"/>
                  </a:cubicBezTo>
                  <a:lnTo>
                    <a:pt x="1078325" y="2848833"/>
                  </a:lnTo>
                  <a:cubicBezTo>
                    <a:pt x="827627" y="2848833"/>
                    <a:pt x="623697" y="2644807"/>
                    <a:pt x="623697" y="2394109"/>
                  </a:cubicBezTo>
                  <a:cubicBezTo>
                    <a:pt x="623697" y="2167509"/>
                    <a:pt x="791908" y="1977866"/>
                    <a:pt x="1009936" y="1944624"/>
                  </a:cubicBezTo>
                  <a:cubicBezTo>
                    <a:pt x="1008507" y="1926717"/>
                    <a:pt x="1007745" y="1908620"/>
                    <a:pt x="1007745" y="1890713"/>
                  </a:cubicBezTo>
                  <a:cubicBezTo>
                    <a:pt x="1007745" y="1535240"/>
                    <a:pt x="1297019" y="1245965"/>
                    <a:pt x="1652397" y="1245965"/>
                  </a:cubicBezTo>
                  <a:close/>
                  <a:moveTo>
                    <a:pt x="1675924" y="1684592"/>
                  </a:moveTo>
                  <a:cubicBezTo>
                    <a:pt x="1745742" y="1684592"/>
                    <a:pt x="1812703" y="1705547"/>
                    <a:pt x="1869757" y="1745361"/>
                  </a:cubicBezTo>
                  <a:cubicBezTo>
                    <a:pt x="1895665" y="1763459"/>
                    <a:pt x="1901952" y="1799082"/>
                    <a:pt x="1883855" y="1824990"/>
                  </a:cubicBezTo>
                  <a:cubicBezTo>
                    <a:pt x="1865852" y="1850898"/>
                    <a:pt x="1830229" y="1857185"/>
                    <a:pt x="1804321" y="1839087"/>
                  </a:cubicBezTo>
                  <a:cubicBezTo>
                    <a:pt x="1766602" y="1812798"/>
                    <a:pt x="1722215" y="1798892"/>
                    <a:pt x="1675924" y="1798892"/>
                  </a:cubicBezTo>
                  <a:cubicBezTo>
                    <a:pt x="1552099" y="1798892"/>
                    <a:pt x="1451420" y="1899571"/>
                    <a:pt x="1451420" y="2023396"/>
                  </a:cubicBezTo>
                  <a:cubicBezTo>
                    <a:pt x="1451420" y="2147221"/>
                    <a:pt x="1552099" y="2247995"/>
                    <a:pt x="1675924" y="2247995"/>
                  </a:cubicBezTo>
                  <a:cubicBezTo>
                    <a:pt x="1722215" y="2247995"/>
                    <a:pt x="1766602" y="2233994"/>
                    <a:pt x="1804321" y="2207704"/>
                  </a:cubicBezTo>
                  <a:cubicBezTo>
                    <a:pt x="1830229" y="2189607"/>
                    <a:pt x="1865852" y="2195989"/>
                    <a:pt x="1883855" y="2221802"/>
                  </a:cubicBezTo>
                  <a:cubicBezTo>
                    <a:pt x="1901952" y="2247710"/>
                    <a:pt x="1895665" y="2283333"/>
                    <a:pt x="1869757" y="2301431"/>
                  </a:cubicBezTo>
                  <a:cubicBezTo>
                    <a:pt x="1812703" y="2341245"/>
                    <a:pt x="1745742" y="2362295"/>
                    <a:pt x="1675924" y="2362295"/>
                  </a:cubicBezTo>
                  <a:cubicBezTo>
                    <a:pt x="1489139" y="2362295"/>
                    <a:pt x="1337120" y="2210276"/>
                    <a:pt x="1337120" y="2023396"/>
                  </a:cubicBezTo>
                  <a:cubicBezTo>
                    <a:pt x="1337120" y="1836515"/>
                    <a:pt x="1489139" y="1684592"/>
                    <a:pt x="1675924" y="1684592"/>
                  </a:cubicBezTo>
                  <a:close/>
                  <a:moveTo>
                    <a:pt x="2292858" y="1684592"/>
                  </a:moveTo>
                  <a:cubicBezTo>
                    <a:pt x="2330958" y="1684592"/>
                    <a:pt x="2368296" y="1690783"/>
                    <a:pt x="2404015" y="1703261"/>
                  </a:cubicBezTo>
                  <a:cubicBezTo>
                    <a:pt x="2433828" y="1713548"/>
                    <a:pt x="2449640" y="1746123"/>
                    <a:pt x="2439257" y="1775936"/>
                  </a:cubicBezTo>
                  <a:cubicBezTo>
                    <a:pt x="2428875" y="1805750"/>
                    <a:pt x="2396300" y="1821561"/>
                    <a:pt x="2366486" y="1811179"/>
                  </a:cubicBezTo>
                  <a:cubicBezTo>
                    <a:pt x="2342960" y="1802987"/>
                    <a:pt x="2318099" y="1798892"/>
                    <a:pt x="2292858" y="1798892"/>
                  </a:cubicBezTo>
                  <a:cubicBezTo>
                    <a:pt x="2169033" y="1798892"/>
                    <a:pt x="2068354" y="1899571"/>
                    <a:pt x="2068354" y="2023396"/>
                  </a:cubicBezTo>
                  <a:cubicBezTo>
                    <a:pt x="2068354" y="2048637"/>
                    <a:pt x="2072450" y="2073402"/>
                    <a:pt x="2080641" y="2097024"/>
                  </a:cubicBezTo>
                  <a:cubicBezTo>
                    <a:pt x="2091023" y="2126837"/>
                    <a:pt x="2075212" y="2159413"/>
                    <a:pt x="2045399" y="2169795"/>
                  </a:cubicBezTo>
                  <a:cubicBezTo>
                    <a:pt x="2039207" y="2171891"/>
                    <a:pt x="2032826" y="2172938"/>
                    <a:pt x="2026634" y="2172938"/>
                  </a:cubicBezTo>
                  <a:cubicBezTo>
                    <a:pt x="2003012" y="2172938"/>
                    <a:pt x="1980819" y="2158175"/>
                    <a:pt x="1972628" y="2134553"/>
                  </a:cubicBezTo>
                  <a:cubicBezTo>
                    <a:pt x="1960245" y="2098834"/>
                    <a:pt x="1954054" y="2061496"/>
                    <a:pt x="1954054" y="2023396"/>
                  </a:cubicBezTo>
                  <a:cubicBezTo>
                    <a:pt x="1954054" y="1836515"/>
                    <a:pt x="2106073" y="1684592"/>
                    <a:pt x="2292858" y="1684592"/>
                  </a:cubicBezTo>
                  <a:close/>
                </a:path>
              </a:pathLst>
            </a:custGeom>
            <a:solidFill>
              <a:srgbClr val="2B660F"/>
            </a:solidFill>
            <a:ln w="9525" cap="flat">
              <a:noFill/>
              <a:prstDash val="solid"/>
              <a:miter/>
            </a:ln>
          </p:spPr>
          <p:txBody>
            <a:bodyPr/>
            <a:lstStyle/>
            <a:p>
              <a:endParaRPr lang="en-US"/>
            </a:p>
          </p:txBody>
        </p:sp>
      </p:grpSp>
      <p:grpSp>
        <p:nvGrpSpPr>
          <p:cNvPr id="264" name="Group 263">
            <a:extLst>
              <a:ext uri="{FF2B5EF4-FFF2-40B4-BE49-F238E27FC236}">
                <a16:creationId xmlns:a16="http://schemas.microsoft.com/office/drawing/2014/main" id="{B83401EB-5225-4463-97CB-23D815D9588A}"/>
              </a:ext>
            </a:extLst>
          </p:cNvPr>
          <p:cNvGrpSpPr/>
          <p:nvPr/>
        </p:nvGrpSpPr>
        <p:grpSpPr>
          <a:xfrm>
            <a:off x="6250778" y="3372439"/>
            <a:ext cx="354334" cy="354334"/>
            <a:chOff x="6250778" y="3372439"/>
            <a:chExt cx="354334" cy="354334"/>
          </a:xfrm>
        </p:grpSpPr>
        <p:sp>
          <p:nvSpPr>
            <p:cNvPr id="105" name="Oval 104">
              <a:extLst>
                <a:ext uri="{FF2B5EF4-FFF2-40B4-BE49-F238E27FC236}">
                  <a16:creationId xmlns:a16="http://schemas.microsoft.com/office/drawing/2014/main" id="{96F97CC8-05E1-B4A4-30B1-1AAE3B2E7964}"/>
                </a:ext>
              </a:extLst>
            </p:cNvPr>
            <p:cNvSpPr/>
            <p:nvPr/>
          </p:nvSpPr>
          <p:spPr>
            <a:xfrm>
              <a:off x="6250778" y="3372439"/>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0" name="Graphic 258">
              <a:extLst>
                <a:ext uri="{FF2B5EF4-FFF2-40B4-BE49-F238E27FC236}">
                  <a16:creationId xmlns:a16="http://schemas.microsoft.com/office/drawing/2014/main" id="{7B2E4C91-156A-9FBC-7BF4-CC89610D7A21}"/>
                </a:ext>
              </a:extLst>
            </p:cNvPr>
            <p:cNvGrpSpPr/>
            <p:nvPr/>
          </p:nvGrpSpPr>
          <p:grpSpPr>
            <a:xfrm>
              <a:off x="6302690" y="3424351"/>
              <a:ext cx="250510" cy="250510"/>
              <a:chOff x="3657600" y="990599"/>
              <a:chExt cx="4876800" cy="4876800"/>
            </a:xfrm>
            <a:solidFill>
              <a:srgbClr val="2B660F"/>
            </a:solidFill>
          </p:grpSpPr>
          <p:sp>
            <p:nvSpPr>
              <p:cNvPr id="261" name="Freeform: Shape 260">
                <a:extLst>
                  <a:ext uri="{FF2B5EF4-FFF2-40B4-BE49-F238E27FC236}">
                    <a16:creationId xmlns:a16="http://schemas.microsoft.com/office/drawing/2014/main" id="{40835A98-C96B-7A97-C994-0450C408EDAB}"/>
                  </a:ext>
                </a:extLst>
              </p:cNvPr>
              <p:cNvSpPr/>
              <p:nvPr/>
            </p:nvSpPr>
            <p:spPr>
              <a:xfrm>
                <a:off x="4867760" y="1655016"/>
                <a:ext cx="2456478" cy="3547967"/>
              </a:xfrm>
              <a:custGeom>
                <a:avLst/>
                <a:gdLst>
                  <a:gd name="csX0" fmla="*/ 1622022 w 2456478"/>
                  <a:gd name="csY0" fmla="*/ 0 h 3547967"/>
                  <a:gd name="csX1" fmla="*/ 0 w 2456478"/>
                  <a:gd name="csY1" fmla="*/ 2297859 h 3547967"/>
                  <a:gd name="csX2" fmla="*/ 973360 w 2456478"/>
                  <a:gd name="csY2" fmla="*/ 2297859 h 3547967"/>
                  <a:gd name="csX3" fmla="*/ 834457 w 2456478"/>
                  <a:gd name="csY3" fmla="*/ 3547967 h 3547967"/>
                  <a:gd name="csX4" fmla="*/ 2456479 w 2456478"/>
                  <a:gd name="csY4" fmla="*/ 1250109 h 3547967"/>
                  <a:gd name="csX5" fmla="*/ 1483119 w 2456478"/>
                  <a:gd name="csY5" fmla="*/ 1250109 h 3547967"/>
                </a:gdLst>
                <a:ahLst/>
                <a:cxnLst>
                  <a:cxn ang="0">
                    <a:pos x="csX0" y="csY0"/>
                  </a:cxn>
                  <a:cxn ang="0">
                    <a:pos x="csX1" y="csY1"/>
                  </a:cxn>
                  <a:cxn ang="0">
                    <a:pos x="csX2" y="csY2"/>
                  </a:cxn>
                  <a:cxn ang="0">
                    <a:pos x="csX3" y="csY3"/>
                  </a:cxn>
                  <a:cxn ang="0">
                    <a:pos x="csX4" y="csY4"/>
                  </a:cxn>
                  <a:cxn ang="0">
                    <a:pos x="csX5" y="csY5"/>
                  </a:cxn>
                </a:cxnLst>
                <a:rect l="l" t="t" r="r" b="b"/>
                <a:pathLst>
                  <a:path w="2456478" h="3547967">
                    <a:moveTo>
                      <a:pt x="1622022" y="0"/>
                    </a:moveTo>
                    <a:lnTo>
                      <a:pt x="0" y="2297859"/>
                    </a:lnTo>
                    <a:lnTo>
                      <a:pt x="973360" y="2297859"/>
                    </a:lnTo>
                    <a:lnTo>
                      <a:pt x="834457" y="3547967"/>
                    </a:lnTo>
                    <a:lnTo>
                      <a:pt x="2456479" y="1250109"/>
                    </a:lnTo>
                    <a:lnTo>
                      <a:pt x="1483119" y="1250109"/>
                    </a:lnTo>
                    <a:close/>
                  </a:path>
                </a:pathLst>
              </a:custGeom>
              <a:grpFill/>
              <a:ln w="9525" cap="flat">
                <a:noFill/>
                <a:prstDash val="solid"/>
                <a:miter/>
              </a:ln>
            </p:spPr>
            <p:txBody>
              <a:bodyPr/>
              <a:lstStyle/>
              <a:p>
                <a:endParaRPr lang="en-US"/>
              </a:p>
            </p:txBody>
          </p:sp>
          <p:sp>
            <p:nvSpPr>
              <p:cNvPr id="262" name="Freeform: Shape 261">
                <a:extLst>
                  <a:ext uri="{FF2B5EF4-FFF2-40B4-BE49-F238E27FC236}">
                    <a16:creationId xmlns:a16="http://schemas.microsoft.com/office/drawing/2014/main" id="{5BD10D0F-1745-5BAA-F9CB-F8C29530312A}"/>
                  </a:ext>
                </a:extLst>
              </p:cNvPr>
              <p:cNvSpPr/>
              <p:nvPr/>
            </p:nvSpPr>
            <p:spPr>
              <a:xfrm>
                <a:off x="5175875" y="990600"/>
                <a:ext cx="3358524" cy="4188189"/>
              </a:xfrm>
              <a:custGeom>
                <a:avLst/>
                <a:gdLst>
                  <a:gd name="csX0" fmla="*/ 3358525 w 3358524"/>
                  <a:gd name="csY0" fmla="*/ 2428875 h 4188189"/>
                  <a:gd name="csX1" fmla="*/ 2647122 w 3358524"/>
                  <a:gd name="csY1" fmla="*/ 711403 h 4188189"/>
                  <a:gd name="csX2" fmla="*/ 929650 w 3358524"/>
                  <a:gd name="csY2" fmla="*/ 0 h 4188189"/>
                  <a:gd name="csX3" fmla="*/ 0 w 3358524"/>
                  <a:gd name="csY3" fmla="*/ 184671 h 4188189"/>
                  <a:gd name="csX4" fmla="*/ 109471 w 3358524"/>
                  <a:gd name="csY4" fmla="*/ 448628 h 4188189"/>
                  <a:gd name="csX5" fmla="*/ 929650 w 3358524"/>
                  <a:gd name="csY5" fmla="*/ 285750 h 4188189"/>
                  <a:gd name="csX6" fmla="*/ 3072775 w 3358524"/>
                  <a:gd name="csY6" fmla="*/ 2428875 h 4188189"/>
                  <a:gd name="csX7" fmla="*/ 2688974 w 3358524"/>
                  <a:gd name="csY7" fmla="*/ 3653552 h 4188189"/>
                  <a:gd name="csX8" fmla="*/ 2688974 w 3358524"/>
                  <a:gd name="csY8" fmla="*/ 3378565 h 4188189"/>
                  <a:gd name="csX9" fmla="*/ 2403224 w 3358524"/>
                  <a:gd name="csY9" fmla="*/ 3378565 h 4188189"/>
                  <a:gd name="csX10" fmla="*/ 2403224 w 3358524"/>
                  <a:gd name="csY10" fmla="*/ 4188190 h 4188189"/>
                  <a:gd name="csX11" fmla="*/ 3212849 w 3358524"/>
                  <a:gd name="csY11" fmla="*/ 4188190 h 4188189"/>
                  <a:gd name="csX12" fmla="*/ 3212849 w 3358524"/>
                  <a:gd name="csY12" fmla="*/ 3902440 h 4188189"/>
                  <a:gd name="csX13" fmla="*/ 2860777 w 3358524"/>
                  <a:gd name="csY13" fmla="*/ 3902440 h 4188189"/>
                  <a:gd name="csX14" fmla="*/ 3358525 w 3358524"/>
                  <a:gd name="csY14" fmla="*/ 2428875 h 418818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3358524" h="4188189">
                    <a:moveTo>
                      <a:pt x="3358525" y="2428875"/>
                    </a:moveTo>
                    <a:cubicBezTo>
                      <a:pt x="3358525" y="1780099"/>
                      <a:pt x="3105884" y="1170156"/>
                      <a:pt x="2647122" y="711403"/>
                    </a:cubicBezTo>
                    <a:cubicBezTo>
                      <a:pt x="2188359" y="252641"/>
                      <a:pt x="1578426" y="0"/>
                      <a:pt x="929650" y="0"/>
                    </a:cubicBezTo>
                    <a:cubicBezTo>
                      <a:pt x="608267" y="0"/>
                      <a:pt x="295485" y="62132"/>
                      <a:pt x="0" y="184671"/>
                    </a:cubicBezTo>
                    <a:lnTo>
                      <a:pt x="109471" y="448628"/>
                    </a:lnTo>
                    <a:cubicBezTo>
                      <a:pt x="370075" y="340547"/>
                      <a:pt x="646024" y="285750"/>
                      <a:pt x="929650" y="285750"/>
                    </a:cubicBezTo>
                    <a:cubicBezTo>
                      <a:pt x="2111369" y="285750"/>
                      <a:pt x="3072775" y="1247156"/>
                      <a:pt x="3072775" y="2428875"/>
                    </a:cubicBezTo>
                    <a:cubicBezTo>
                      <a:pt x="3072775" y="2873216"/>
                      <a:pt x="2938386" y="3296869"/>
                      <a:pt x="2688974" y="3653552"/>
                    </a:cubicBezTo>
                    <a:lnTo>
                      <a:pt x="2688974" y="3378565"/>
                    </a:lnTo>
                    <a:lnTo>
                      <a:pt x="2403224" y="3378565"/>
                    </a:lnTo>
                    <a:lnTo>
                      <a:pt x="2403224" y="4188190"/>
                    </a:lnTo>
                    <a:lnTo>
                      <a:pt x="3212849" y="4188190"/>
                    </a:lnTo>
                    <a:lnTo>
                      <a:pt x="3212849" y="3902440"/>
                    </a:lnTo>
                    <a:lnTo>
                      <a:pt x="2860777" y="3902440"/>
                    </a:lnTo>
                    <a:cubicBezTo>
                      <a:pt x="3183579" y="3481197"/>
                      <a:pt x="3358525" y="2968524"/>
                      <a:pt x="3358525" y="2428875"/>
                    </a:cubicBezTo>
                    <a:close/>
                  </a:path>
                </a:pathLst>
              </a:custGeom>
              <a:grpFill/>
              <a:ln w="9525" cap="flat">
                <a:noFill/>
                <a:prstDash val="solid"/>
                <a:miter/>
              </a:ln>
            </p:spPr>
            <p:txBody>
              <a:bodyPr/>
              <a:lstStyle/>
              <a:p>
                <a:endParaRPr lang="en-US"/>
              </a:p>
            </p:txBody>
          </p:sp>
          <p:sp>
            <p:nvSpPr>
              <p:cNvPr id="263" name="Freeform: Shape 262">
                <a:extLst>
                  <a:ext uri="{FF2B5EF4-FFF2-40B4-BE49-F238E27FC236}">
                    <a16:creationId xmlns:a16="http://schemas.microsoft.com/office/drawing/2014/main" id="{E23B65D0-48BC-E819-F346-A702FEC94345}"/>
                  </a:ext>
                </a:extLst>
              </p:cNvPr>
              <p:cNvSpPr/>
              <p:nvPr/>
            </p:nvSpPr>
            <p:spPr>
              <a:xfrm>
                <a:off x="3657600" y="1679200"/>
                <a:ext cx="3358524" cy="4188199"/>
              </a:xfrm>
              <a:custGeom>
                <a:avLst/>
                <a:gdLst>
                  <a:gd name="csX0" fmla="*/ 2428875 w 3358524"/>
                  <a:gd name="csY0" fmla="*/ 3902450 h 4188199"/>
                  <a:gd name="csX1" fmla="*/ 285750 w 3358524"/>
                  <a:gd name="csY1" fmla="*/ 1759325 h 4188199"/>
                  <a:gd name="csX2" fmla="*/ 669550 w 3358524"/>
                  <a:gd name="csY2" fmla="*/ 534638 h 4188199"/>
                  <a:gd name="csX3" fmla="*/ 669550 w 3358524"/>
                  <a:gd name="csY3" fmla="*/ 809625 h 4188199"/>
                  <a:gd name="csX4" fmla="*/ 955300 w 3358524"/>
                  <a:gd name="csY4" fmla="*/ 809625 h 4188199"/>
                  <a:gd name="csX5" fmla="*/ 955300 w 3358524"/>
                  <a:gd name="csY5" fmla="*/ 0 h 4188199"/>
                  <a:gd name="csX6" fmla="*/ 145675 w 3358524"/>
                  <a:gd name="csY6" fmla="*/ 0 h 4188199"/>
                  <a:gd name="csX7" fmla="*/ 145675 w 3358524"/>
                  <a:gd name="csY7" fmla="*/ 285750 h 4188199"/>
                  <a:gd name="csX8" fmla="*/ 497748 w 3358524"/>
                  <a:gd name="csY8" fmla="*/ 285750 h 4188199"/>
                  <a:gd name="csX9" fmla="*/ 0 w 3358524"/>
                  <a:gd name="csY9" fmla="*/ 1759325 h 4188199"/>
                  <a:gd name="csX10" fmla="*/ 711403 w 3358524"/>
                  <a:gd name="csY10" fmla="*/ 3476797 h 4188199"/>
                  <a:gd name="csX11" fmla="*/ 2428875 w 3358524"/>
                  <a:gd name="csY11" fmla="*/ 4188200 h 4188199"/>
                  <a:gd name="csX12" fmla="*/ 3358525 w 3358524"/>
                  <a:gd name="csY12" fmla="*/ 4003529 h 4188199"/>
                  <a:gd name="csX13" fmla="*/ 3249054 w 3358524"/>
                  <a:gd name="csY13" fmla="*/ 3739572 h 4188199"/>
                  <a:gd name="csX14" fmla="*/ 2428875 w 3358524"/>
                  <a:gd name="csY14" fmla="*/ 3902450 h 41881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3358524" h="4188199">
                    <a:moveTo>
                      <a:pt x="2428875" y="3902450"/>
                    </a:moveTo>
                    <a:cubicBezTo>
                      <a:pt x="1247156" y="3902450"/>
                      <a:pt x="285750" y="2941044"/>
                      <a:pt x="285750" y="1759325"/>
                    </a:cubicBezTo>
                    <a:cubicBezTo>
                      <a:pt x="285750" y="1314984"/>
                      <a:pt x="420138" y="891330"/>
                      <a:pt x="669550" y="534638"/>
                    </a:cubicBezTo>
                    <a:lnTo>
                      <a:pt x="669550" y="809625"/>
                    </a:lnTo>
                    <a:lnTo>
                      <a:pt x="955300" y="809625"/>
                    </a:lnTo>
                    <a:lnTo>
                      <a:pt x="955300" y="0"/>
                    </a:lnTo>
                    <a:lnTo>
                      <a:pt x="145675" y="0"/>
                    </a:lnTo>
                    <a:lnTo>
                      <a:pt x="145675" y="285750"/>
                    </a:lnTo>
                    <a:lnTo>
                      <a:pt x="497748" y="285750"/>
                    </a:lnTo>
                    <a:cubicBezTo>
                      <a:pt x="174946" y="707003"/>
                      <a:pt x="0" y="1219686"/>
                      <a:pt x="0" y="1759325"/>
                    </a:cubicBezTo>
                    <a:cubicBezTo>
                      <a:pt x="0" y="2408101"/>
                      <a:pt x="252641" y="3018044"/>
                      <a:pt x="711403" y="3476797"/>
                    </a:cubicBezTo>
                    <a:cubicBezTo>
                      <a:pt x="1170156" y="3935559"/>
                      <a:pt x="1780099" y="4188200"/>
                      <a:pt x="2428875" y="4188200"/>
                    </a:cubicBezTo>
                    <a:cubicBezTo>
                      <a:pt x="2750249" y="4188200"/>
                      <a:pt x="3063031" y="4126068"/>
                      <a:pt x="3358525" y="4003529"/>
                    </a:cubicBezTo>
                    <a:lnTo>
                      <a:pt x="3249054" y="3739572"/>
                    </a:lnTo>
                    <a:cubicBezTo>
                      <a:pt x="2988450" y="3847653"/>
                      <a:pt x="2712492" y="3902450"/>
                      <a:pt x="2428875" y="3902450"/>
                    </a:cubicBezTo>
                    <a:close/>
                  </a:path>
                </a:pathLst>
              </a:custGeom>
              <a:grpFill/>
              <a:ln w="9525" cap="flat">
                <a:noFill/>
                <a:prstDash val="solid"/>
                <a:miter/>
              </a:ln>
            </p:spPr>
            <p:txBody>
              <a:bodyPr/>
              <a:lstStyle/>
              <a:p>
                <a:endParaRPr lang="en-US"/>
              </a:p>
            </p:txBody>
          </p:sp>
        </p:grpSp>
      </p:grpSp>
      <p:grpSp>
        <p:nvGrpSpPr>
          <p:cNvPr id="268" name="Group 267">
            <a:extLst>
              <a:ext uri="{FF2B5EF4-FFF2-40B4-BE49-F238E27FC236}">
                <a16:creationId xmlns:a16="http://schemas.microsoft.com/office/drawing/2014/main" id="{1B661A05-2050-6B82-C198-4473660404D9}"/>
              </a:ext>
            </a:extLst>
          </p:cNvPr>
          <p:cNvGrpSpPr/>
          <p:nvPr/>
        </p:nvGrpSpPr>
        <p:grpSpPr>
          <a:xfrm>
            <a:off x="6250778" y="4144891"/>
            <a:ext cx="354334" cy="354334"/>
            <a:chOff x="6250778" y="4144891"/>
            <a:chExt cx="354334" cy="354334"/>
          </a:xfrm>
        </p:grpSpPr>
        <p:sp>
          <p:nvSpPr>
            <p:cNvPr id="106" name="Oval 105">
              <a:extLst>
                <a:ext uri="{FF2B5EF4-FFF2-40B4-BE49-F238E27FC236}">
                  <a16:creationId xmlns:a16="http://schemas.microsoft.com/office/drawing/2014/main" id="{4089CEAD-A37D-BB5C-A5E5-0A6116557D49}"/>
                </a:ext>
              </a:extLst>
            </p:cNvPr>
            <p:cNvSpPr/>
            <p:nvPr/>
          </p:nvSpPr>
          <p:spPr>
            <a:xfrm>
              <a:off x="6250778" y="4144891"/>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Graphic 265">
              <a:extLst>
                <a:ext uri="{FF2B5EF4-FFF2-40B4-BE49-F238E27FC236}">
                  <a16:creationId xmlns:a16="http://schemas.microsoft.com/office/drawing/2014/main" id="{DF5DA849-1495-65EC-B011-2F17AB5D103C}"/>
                </a:ext>
              </a:extLst>
            </p:cNvPr>
            <p:cNvSpPr/>
            <p:nvPr/>
          </p:nvSpPr>
          <p:spPr>
            <a:xfrm>
              <a:off x="6330477" y="4216521"/>
              <a:ext cx="194937" cy="211075"/>
            </a:xfrm>
            <a:custGeom>
              <a:avLst/>
              <a:gdLst>
                <a:gd name="csX0" fmla="*/ 473458 w 4495151"/>
                <a:gd name="csY0" fmla="*/ 1410908 h 4867292"/>
                <a:gd name="csX1" fmla="*/ 399544 w 4495151"/>
                <a:gd name="csY1" fmla="*/ 1629612 h 4867292"/>
                <a:gd name="csX2" fmla="*/ 325601 w 4495151"/>
                <a:gd name="csY2" fmla="*/ 1682704 h 4867292"/>
                <a:gd name="csX3" fmla="*/ 301570 w 4495151"/>
                <a:gd name="csY3" fmla="*/ 1678894 h 4867292"/>
                <a:gd name="csX4" fmla="*/ 54072 w 4495151"/>
                <a:gd name="csY4" fmla="*/ 1598884 h 4867292"/>
                <a:gd name="csX5" fmla="*/ 3809 w 4495151"/>
                <a:gd name="csY5" fmla="*/ 1500577 h 4867292"/>
                <a:gd name="csX6" fmla="*/ 102107 w 4495151"/>
                <a:gd name="csY6" fmla="*/ 1450304 h 4867292"/>
                <a:gd name="csX7" fmla="*/ 162867 w 4495151"/>
                <a:gd name="csY7" fmla="*/ 1469944 h 4867292"/>
                <a:gd name="csX8" fmla="*/ 89429 w 4495151"/>
                <a:gd name="csY8" fmla="*/ 841790 h 4867292"/>
                <a:gd name="csX9" fmla="*/ 464857 w 4495151"/>
                <a:gd name="csY9" fmla="*/ 225046 h 4867292"/>
                <a:gd name="csX10" fmla="*/ 1682162 w 4495151"/>
                <a:gd name="csY10" fmla="*/ 171782 h 4867292"/>
                <a:gd name="csX11" fmla="*/ 1704431 w 4495151"/>
                <a:gd name="csY11" fmla="*/ 279929 h 4867292"/>
                <a:gd name="csX12" fmla="*/ 1596294 w 4495151"/>
                <a:gd name="csY12" fmla="*/ 302198 h 4867292"/>
                <a:gd name="csX13" fmla="*/ 561764 w 4495151"/>
                <a:gd name="csY13" fmla="*/ 347471 h 4867292"/>
                <a:gd name="csX14" fmla="*/ 308190 w 4495151"/>
                <a:gd name="csY14" fmla="*/ 1412261 h 4867292"/>
                <a:gd name="csX15" fmla="*/ 325544 w 4495151"/>
                <a:gd name="csY15" fmla="*/ 1360912 h 4867292"/>
                <a:gd name="csX16" fmla="*/ 424499 w 4495151"/>
                <a:gd name="csY16" fmla="*/ 1311944 h 4867292"/>
                <a:gd name="csX17" fmla="*/ 473458 w 4495151"/>
                <a:gd name="csY17" fmla="*/ 1410908 h 4867292"/>
                <a:gd name="csX18" fmla="*/ 1755456 w 4495151"/>
                <a:gd name="csY18" fmla="*/ 1856040 h 4867292"/>
                <a:gd name="csX19" fmla="*/ 2131018 w 4495151"/>
                <a:gd name="csY19" fmla="*/ 1239268 h 4867292"/>
                <a:gd name="csX20" fmla="*/ 2044959 w 4495151"/>
                <a:gd name="csY20" fmla="*/ 584672 h 4867292"/>
                <a:gd name="csX21" fmla="*/ 2090451 w 4495151"/>
                <a:gd name="csY21" fmla="*/ 602731 h 4867292"/>
                <a:gd name="csX22" fmla="*/ 2191825 w 4495151"/>
                <a:gd name="csY22" fmla="*/ 558983 h 4867292"/>
                <a:gd name="csX23" fmla="*/ 2148077 w 4495151"/>
                <a:gd name="csY23" fmla="*/ 457608 h 4867292"/>
                <a:gd name="csX24" fmla="*/ 1918020 w 4495151"/>
                <a:gd name="csY24" fmla="*/ 366244 h 4867292"/>
                <a:gd name="csX25" fmla="*/ 1858241 w 4495151"/>
                <a:gd name="csY25" fmla="*/ 367140 h 4867292"/>
                <a:gd name="csX26" fmla="*/ 1816616 w 4495151"/>
                <a:gd name="csY26" fmla="*/ 410069 h 4867292"/>
                <a:gd name="csX27" fmla="*/ 1725538 w 4495151"/>
                <a:gd name="csY27" fmla="*/ 640126 h 4867292"/>
                <a:gd name="csX28" fmla="*/ 1769391 w 4495151"/>
                <a:gd name="csY28" fmla="*/ 741453 h 4867292"/>
                <a:gd name="csX29" fmla="*/ 1798100 w 4495151"/>
                <a:gd name="csY29" fmla="*/ 746959 h 4867292"/>
                <a:gd name="csX30" fmla="*/ 1870718 w 4495151"/>
                <a:gd name="csY30" fmla="*/ 697600 h 4867292"/>
                <a:gd name="csX31" fmla="*/ 1895512 w 4495151"/>
                <a:gd name="csY31" fmla="*/ 634973 h 4867292"/>
                <a:gd name="csX32" fmla="*/ 1658568 w 4495151"/>
                <a:gd name="csY32" fmla="*/ 1733596 h 4867292"/>
                <a:gd name="csX33" fmla="*/ 633716 w 4495151"/>
                <a:gd name="csY33" fmla="*/ 1785241 h 4867292"/>
                <a:gd name="csX34" fmla="*/ 525874 w 4495151"/>
                <a:gd name="csY34" fmla="*/ 1808910 h 4867292"/>
                <a:gd name="csX35" fmla="*/ 549544 w 4495151"/>
                <a:gd name="csY35" fmla="*/ 1916743 h 4867292"/>
                <a:gd name="csX36" fmla="*/ 1109766 w 4495151"/>
                <a:gd name="csY36" fmla="*/ 2080649 h 4867292"/>
                <a:gd name="csX37" fmla="*/ 1755456 w 4495151"/>
                <a:gd name="csY37" fmla="*/ 1856040 h 4867292"/>
                <a:gd name="csX38" fmla="*/ 3292801 w 4495151"/>
                <a:gd name="csY38" fmla="*/ 983931 h 4867292"/>
                <a:gd name="csX39" fmla="*/ 3325719 w 4495151"/>
                <a:gd name="csY39" fmla="*/ 985693 h 4867292"/>
                <a:gd name="csX40" fmla="*/ 3467042 w 4495151"/>
                <a:gd name="csY40" fmla="*/ 682932 h 4867292"/>
                <a:gd name="csX41" fmla="*/ 3118960 w 4495151"/>
                <a:gd name="csY41" fmla="*/ 24183 h 4867292"/>
                <a:gd name="csX42" fmla="*/ 3107340 w 4495151"/>
                <a:gd name="csY42" fmla="*/ 28869 h 4867292"/>
                <a:gd name="csX43" fmla="*/ 3260082 w 4495151"/>
                <a:gd name="csY43" fmla="*/ 985598 h 4867292"/>
                <a:gd name="csX44" fmla="*/ 3292801 w 4495151"/>
                <a:gd name="csY44" fmla="*/ 983931 h 4867292"/>
                <a:gd name="csX45" fmla="*/ 3608745 w 4495151"/>
                <a:gd name="csY45" fmla="*/ 1318440 h 4867292"/>
                <a:gd name="csX46" fmla="*/ 3588428 w 4495151"/>
                <a:gd name="csY46" fmla="*/ 1412880 h 4867292"/>
                <a:gd name="csX47" fmla="*/ 3748696 w 4495151"/>
                <a:gd name="csY47" fmla="*/ 1642099 h 4867292"/>
                <a:gd name="csX48" fmla="*/ 4493389 w 4495151"/>
                <a:gd name="csY48" fmla="*/ 1669836 h 4867292"/>
                <a:gd name="csX49" fmla="*/ 4495151 w 4495151"/>
                <a:gd name="csY49" fmla="*/ 1657530 h 4867292"/>
                <a:gd name="csX50" fmla="*/ 3292801 w 4495151"/>
                <a:gd name="csY50" fmla="*/ 1140103 h 4867292"/>
                <a:gd name="csX51" fmla="*/ 3132533 w 4495151"/>
                <a:gd name="csY51" fmla="*/ 1300076 h 4867292"/>
                <a:gd name="csX52" fmla="*/ 3292801 w 4495151"/>
                <a:gd name="csY52" fmla="*/ 1460343 h 4867292"/>
                <a:gd name="csX53" fmla="*/ 3453069 w 4495151"/>
                <a:gd name="csY53" fmla="*/ 1300076 h 4867292"/>
                <a:gd name="csX54" fmla="*/ 3292801 w 4495151"/>
                <a:gd name="csY54" fmla="*/ 1140103 h 4867292"/>
                <a:gd name="csX55" fmla="*/ 2199741 w 4495151"/>
                <a:gd name="csY55" fmla="*/ 1949252 h 4867292"/>
                <a:gd name="csX56" fmla="*/ 2993364 w 4495151"/>
                <a:gd name="csY56" fmla="*/ 1402622 h 4867292"/>
                <a:gd name="csX57" fmla="*/ 2978905 w 4495151"/>
                <a:gd name="csY57" fmla="*/ 1340214 h 4867292"/>
                <a:gd name="csX58" fmla="*/ 2635414 w 4495151"/>
                <a:gd name="csY58" fmla="*/ 1342947 h 4867292"/>
                <a:gd name="csX59" fmla="*/ 2190358 w 4495151"/>
                <a:gd name="csY59" fmla="*/ 1940660 h 4867292"/>
                <a:gd name="csX60" fmla="*/ 3360286 w 4495151"/>
                <a:gd name="csY60" fmla="*/ 1609181 h 4867292"/>
                <a:gd name="csX61" fmla="*/ 3292801 w 4495151"/>
                <a:gd name="csY61" fmla="*/ 1616505 h 4867292"/>
                <a:gd name="csX62" fmla="*/ 3225316 w 4495151"/>
                <a:gd name="csY62" fmla="*/ 1609276 h 4867292"/>
                <a:gd name="csX63" fmla="*/ 3172576 w 4495151"/>
                <a:gd name="csY63" fmla="*/ 2211189 h 4867292"/>
                <a:gd name="csX64" fmla="*/ 3413025 w 4495151"/>
                <a:gd name="csY64" fmla="*/ 2211189 h 4867292"/>
                <a:gd name="csX65" fmla="*/ 3360381 w 4495151"/>
                <a:gd name="csY65" fmla="*/ 1609181 h 4867292"/>
                <a:gd name="csX66" fmla="*/ 607703 w 4495151"/>
                <a:gd name="csY66" fmla="*/ 3768165 h 4867292"/>
                <a:gd name="csX67" fmla="*/ 1744226 w 4495151"/>
                <a:gd name="csY67" fmla="*/ 3768165 h 4867292"/>
                <a:gd name="csX68" fmla="*/ 1790223 w 4495151"/>
                <a:gd name="csY68" fmla="*/ 3145849 h 4867292"/>
                <a:gd name="csX69" fmla="*/ 748340 w 4495151"/>
                <a:gd name="csY69" fmla="*/ 3145849 h 4867292"/>
                <a:gd name="csX70" fmla="*/ 1847754 w 4495151"/>
                <a:gd name="csY70" fmla="*/ 2367361 h 4867292"/>
                <a:gd name="csX71" fmla="*/ 924238 w 4495151"/>
                <a:gd name="csY71" fmla="*/ 2367361 h 4867292"/>
                <a:gd name="csX72" fmla="*/ 783602 w 4495151"/>
                <a:gd name="csY72" fmla="*/ 2989677 h 4867292"/>
                <a:gd name="csX73" fmla="*/ 1801757 w 4495151"/>
                <a:gd name="csY73" fmla="*/ 2989677 h 4867292"/>
                <a:gd name="csX74" fmla="*/ 2004307 w 4495151"/>
                <a:gd name="csY74" fmla="*/ 2367361 h 4867292"/>
                <a:gd name="csX75" fmla="*/ 1958310 w 4495151"/>
                <a:gd name="csY75" fmla="*/ 2989677 h 4867292"/>
                <a:gd name="csX76" fmla="*/ 2948339 w 4495151"/>
                <a:gd name="csY76" fmla="*/ 2989677 h 4867292"/>
                <a:gd name="csX77" fmla="*/ 2902238 w 4495151"/>
                <a:gd name="csY77" fmla="*/ 2367361 h 4867292"/>
                <a:gd name="csX78" fmla="*/ 4123152 w 4495151"/>
                <a:gd name="csY78" fmla="*/ 2989677 h 4867292"/>
                <a:gd name="csX79" fmla="*/ 3982611 w 4495151"/>
                <a:gd name="csY79" fmla="*/ 2367361 h 4867292"/>
                <a:gd name="csX80" fmla="*/ 3058800 w 4495151"/>
                <a:gd name="csY80" fmla="*/ 2367361 h 4867292"/>
                <a:gd name="csX81" fmla="*/ 3104901 w 4495151"/>
                <a:gd name="csY81" fmla="*/ 2989677 h 4867292"/>
                <a:gd name="csX82" fmla="*/ 4298851 w 4495151"/>
                <a:gd name="csY82" fmla="*/ 3768165 h 4867292"/>
                <a:gd name="csX83" fmla="*/ 4158404 w 4495151"/>
                <a:gd name="csY83" fmla="*/ 3145849 h 4867292"/>
                <a:gd name="csX84" fmla="*/ 3116522 w 4495151"/>
                <a:gd name="csY84" fmla="*/ 3145849 h 4867292"/>
                <a:gd name="csX85" fmla="*/ 3162623 w 4495151"/>
                <a:gd name="csY85" fmla="*/ 3768165 h 4867292"/>
                <a:gd name="csX86" fmla="*/ 1900684 w 4495151"/>
                <a:gd name="csY86" fmla="*/ 3768165 h 4867292"/>
                <a:gd name="csX87" fmla="*/ 3006051 w 4495151"/>
                <a:gd name="csY87" fmla="*/ 3768165 h 4867292"/>
                <a:gd name="csX88" fmla="*/ 2959950 w 4495151"/>
                <a:gd name="csY88" fmla="*/ 3145849 h 4867292"/>
                <a:gd name="csX89" fmla="*/ 1946776 w 4495151"/>
                <a:gd name="csY89" fmla="*/ 3145849 h 4867292"/>
                <a:gd name="csX90" fmla="*/ 588072 w 4495151"/>
                <a:gd name="csY90" fmla="*/ 4044161 h 4867292"/>
                <a:gd name="csX91" fmla="*/ 4318482 w 4495151"/>
                <a:gd name="csY91" fmla="*/ 4044161 h 4867292"/>
                <a:gd name="csX92" fmla="*/ 4318482 w 4495151"/>
                <a:gd name="csY92" fmla="*/ 3924327 h 4867292"/>
                <a:gd name="csX93" fmla="*/ 588072 w 4495151"/>
                <a:gd name="csY93" fmla="*/ 3924327 h 4867292"/>
                <a:gd name="csX94" fmla="*/ 3049713 w 4495151"/>
                <a:gd name="csY94" fmla="*/ 4711121 h 4867292"/>
                <a:gd name="csX95" fmla="*/ 2891694 w 4495151"/>
                <a:gd name="csY95" fmla="*/ 4711121 h 4867292"/>
                <a:gd name="csX96" fmla="*/ 2807112 w 4495151"/>
                <a:gd name="csY96" fmla="*/ 4200333 h 4867292"/>
                <a:gd name="csX97" fmla="*/ 2648797 w 4495151"/>
                <a:gd name="csY97" fmla="*/ 4200333 h 4867292"/>
                <a:gd name="csX98" fmla="*/ 2279036 w 4495151"/>
                <a:gd name="csY98" fmla="*/ 4200333 h 4867292"/>
                <a:gd name="csX99" fmla="*/ 2120816 w 4495151"/>
                <a:gd name="csY99" fmla="*/ 4200333 h 4867292"/>
                <a:gd name="csX100" fmla="*/ 2036139 w 4495151"/>
                <a:gd name="csY100" fmla="*/ 4711121 h 4867292"/>
                <a:gd name="csX101" fmla="*/ 1857117 w 4495151"/>
                <a:gd name="csY101" fmla="*/ 4711121 h 4867292"/>
                <a:gd name="csX102" fmla="*/ 1778983 w 4495151"/>
                <a:gd name="csY102" fmla="*/ 4789159 h 4867292"/>
                <a:gd name="csX103" fmla="*/ 1857117 w 4495151"/>
                <a:gd name="csY103" fmla="*/ 4867293 h 4867292"/>
                <a:gd name="csX104" fmla="*/ 2102357 w 4495151"/>
                <a:gd name="csY104" fmla="*/ 4867293 h 4867292"/>
                <a:gd name="csX105" fmla="*/ 2825466 w 4495151"/>
                <a:gd name="csY105" fmla="*/ 4867293 h 4867292"/>
                <a:gd name="csX106" fmla="*/ 3049704 w 4495151"/>
                <a:gd name="csY106" fmla="*/ 4867293 h 4867292"/>
                <a:gd name="csX107" fmla="*/ 3127837 w 4495151"/>
                <a:gd name="csY107" fmla="*/ 4789159 h 4867292"/>
                <a:gd name="csX108" fmla="*/ 3049713 w 4495151"/>
                <a:gd name="csY108" fmla="*/ 4711121 h 48672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Lst>
              <a:rect l="l" t="t" r="r" b="b"/>
              <a:pathLst>
                <a:path w="4495151" h="4867292">
                  <a:moveTo>
                    <a:pt x="473458" y="1410908"/>
                  </a:moveTo>
                  <a:lnTo>
                    <a:pt x="399544" y="1629612"/>
                  </a:lnTo>
                  <a:cubicBezTo>
                    <a:pt x="388552" y="1662140"/>
                    <a:pt x="358196" y="1682704"/>
                    <a:pt x="325601" y="1682704"/>
                  </a:cubicBezTo>
                  <a:cubicBezTo>
                    <a:pt x="317639" y="1682704"/>
                    <a:pt x="309552" y="1681476"/>
                    <a:pt x="301570" y="1678894"/>
                  </a:cubicBezTo>
                  <a:lnTo>
                    <a:pt x="54072" y="1598884"/>
                  </a:lnTo>
                  <a:cubicBezTo>
                    <a:pt x="13048" y="1585616"/>
                    <a:pt x="-9459" y="1541610"/>
                    <a:pt x="3809" y="1500577"/>
                  </a:cubicBezTo>
                  <a:cubicBezTo>
                    <a:pt x="17068" y="1459543"/>
                    <a:pt x="61064" y="1437055"/>
                    <a:pt x="102107" y="1450304"/>
                  </a:cubicBezTo>
                  <a:lnTo>
                    <a:pt x="162867" y="1469944"/>
                  </a:lnTo>
                  <a:cubicBezTo>
                    <a:pt x="74341" y="1274472"/>
                    <a:pt x="48110" y="1054540"/>
                    <a:pt x="89429" y="841790"/>
                  </a:cubicBezTo>
                  <a:cubicBezTo>
                    <a:pt x="136730" y="598188"/>
                    <a:pt x="270061" y="379151"/>
                    <a:pt x="464857" y="225046"/>
                  </a:cubicBezTo>
                  <a:cubicBezTo>
                    <a:pt x="817368" y="-54103"/>
                    <a:pt x="1306591" y="-75525"/>
                    <a:pt x="1682162" y="171782"/>
                  </a:cubicBezTo>
                  <a:cubicBezTo>
                    <a:pt x="1718176" y="195490"/>
                    <a:pt x="1728139" y="243915"/>
                    <a:pt x="1704431" y="279929"/>
                  </a:cubicBezTo>
                  <a:cubicBezTo>
                    <a:pt x="1680723" y="315933"/>
                    <a:pt x="1632317" y="325916"/>
                    <a:pt x="1596294" y="302198"/>
                  </a:cubicBezTo>
                  <a:cubicBezTo>
                    <a:pt x="1277111" y="92020"/>
                    <a:pt x="861364" y="110222"/>
                    <a:pt x="561764" y="347471"/>
                  </a:cubicBezTo>
                  <a:cubicBezTo>
                    <a:pt x="237200" y="604255"/>
                    <a:pt x="136073" y="1043043"/>
                    <a:pt x="308190" y="1412261"/>
                  </a:cubicBezTo>
                  <a:lnTo>
                    <a:pt x="325544" y="1360912"/>
                  </a:lnTo>
                  <a:cubicBezTo>
                    <a:pt x="339346" y="1320068"/>
                    <a:pt x="383656" y="1298170"/>
                    <a:pt x="424499" y="1311944"/>
                  </a:cubicBezTo>
                  <a:cubicBezTo>
                    <a:pt x="465343" y="1325755"/>
                    <a:pt x="487269" y="1370056"/>
                    <a:pt x="473458" y="1410908"/>
                  </a:cubicBezTo>
                  <a:close/>
                  <a:moveTo>
                    <a:pt x="1755456" y="1856040"/>
                  </a:moveTo>
                  <a:cubicBezTo>
                    <a:pt x="1950366" y="1701964"/>
                    <a:pt x="2083745" y="1482917"/>
                    <a:pt x="2131018" y="1239268"/>
                  </a:cubicBezTo>
                  <a:cubicBezTo>
                    <a:pt x="2174166" y="1016897"/>
                    <a:pt x="2143448" y="786649"/>
                    <a:pt x="2044959" y="584672"/>
                  </a:cubicBezTo>
                  <a:lnTo>
                    <a:pt x="2090451" y="602731"/>
                  </a:lnTo>
                  <a:cubicBezTo>
                    <a:pt x="2130532" y="618609"/>
                    <a:pt x="2175909" y="599054"/>
                    <a:pt x="2191825" y="558983"/>
                  </a:cubicBezTo>
                  <a:cubicBezTo>
                    <a:pt x="2207741" y="518911"/>
                    <a:pt x="2188149" y="473525"/>
                    <a:pt x="2148077" y="457608"/>
                  </a:cubicBezTo>
                  <a:lnTo>
                    <a:pt x="1918020" y="366244"/>
                  </a:lnTo>
                  <a:cubicBezTo>
                    <a:pt x="1898760" y="358605"/>
                    <a:pt x="1877253" y="358920"/>
                    <a:pt x="1858241" y="367140"/>
                  </a:cubicBezTo>
                  <a:cubicBezTo>
                    <a:pt x="1839219" y="375360"/>
                    <a:pt x="1824246" y="390800"/>
                    <a:pt x="1816616" y="410069"/>
                  </a:cubicBezTo>
                  <a:lnTo>
                    <a:pt x="1725538" y="640126"/>
                  </a:lnTo>
                  <a:cubicBezTo>
                    <a:pt x="1709670" y="680217"/>
                    <a:pt x="1729301" y="725585"/>
                    <a:pt x="1769391" y="741453"/>
                  </a:cubicBezTo>
                  <a:cubicBezTo>
                    <a:pt x="1778821" y="745187"/>
                    <a:pt x="1788546" y="746959"/>
                    <a:pt x="1798100" y="746959"/>
                  </a:cubicBezTo>
                  <a:cubicBezTo>
                    <a:pt x="1829180" y="746959"/>
                    <a:pt x="1858574" y="728252"/>
                    <a:pt x="1870718" y="697600"/>
                  </a:cubicBezTo>
                  <a:lnTo>
                    <a:pt x="1895512" y="634973"/>
                  </a:lnTo>
                  <a:cubicBezTo>
                    <a:pt x="2090384" y="1011011"/>
                    <a:pt x="1993210" y="1469059"/>
                    <a:pt x="1658568" y="1733596"/>
                  </a:cubicBezTo>
                  <a:cubicBezTo>
                    <a:pt x="1363055" y="1967683"/>
                    <a:pt x="951194" y="1988428"/>
                    <a:pt x="633716" y="1785241"/>
                  </a:cubicBezTo>
                  <a:cubicBezTo>
                    <a:pt x="597397" y="1761990"/>
                    <a:pt x="549125" y="1772582"/>
                    <a:pt x="525874" y="1808910"/>
                  </a:cubicBezTo>
                  <a:cubicBezTo>
                    <a:pt x="502633" y="1845220"/>
                    <a:pt x="513234" y="1893502"/>
                    <a:pt x="549544" y="1916743"/>
                  </a:cubicBezTo>
                  <a:cubicBezTo>
                    <a:pt x="720899" y="2026414"/>
                    <a:pt x="915618" y="2080649"/>
                    <a:pt x="1109766" y="2080649"/>
                  </a:cubicBezTo>
                  <a:cubicBezTo>
                    <a:pt x="1338909" y="2080668"/>
                    <a:pt x="1567252" y="2005126"/>
                    <a:pt x="1755456" y="1856040"/>
                  </a:cubicBezTo>
                  <a:close/>
                  <a:moveTo>
                    <a:pt x="3292801" y="983931"/>
                  </a:moveTo>
                  <a:cubicBezTo>
                    <a:pt x="3303936" y="983931"/>
                    <a:pt x="3314870" y="984522"/>
                    <a:pt x="3325719" y="985693"/>
                  </a:cubicBezTo>
                  <a:lnTo>
                    <a:pt x="3467042" y="682932"/>
                  </a:lnTo>
                  <a:lnTo>
                    <a:pt x="3118960" y="24183"/>
                  </a:lnTo>
                  <a:lnTo>
                    <a:pt x="3107340" y="28869"/>
                  </a:lnTo>
                  <a:lnTo>
                    <a:pt x="3260082" y="985598"/>
                  </a:lnTo>
                  <a:cubicBezTo>
                    <a:pt x="3270827" y="984522"/>
                    <a:pt x="3281771" y="983931"/>
                    <a:pt x="3292801" y="983931"/>
                  </a:cubicBezTo>
                  <a:close/>
                  <a:moveTo>
                    <a:pt x="3608745" y="1318440"/>
                  </a:moveTo>
                  <a:cubicBezTo>
                    <a:pt x="3606793" y="1351549"/>
                    <a:pt x="3599763" y="1383286"/>
                    <a:pt x="3588428" y="1412880"/>
                  </a:cubicBezTo>
                  <a:lnTo>
                    <a:pt x="3748696" y="1642099"/>
                  </a:lnTo>
                  <a:lnTo>
                    <a:pt x="4493389" y="1669836"/>
                  </a:lnTo>
                  <a:lnTo>
                    <a:pt x="4495151" y="1657530"/>
                  </a:lnTo>
                  <a:close/>
                  <a:moveTo>
                    <a:pt x="3292801" y="1140103"/>
                  </a:moveTo>
                  <a:cubicBezTo>
                    <a:pt x="3204418" y="1140103"/>
                    <a:pt x="3132533" y="1211884"/>
                    <a:pt x="3132533" y="1300076"/>
                  </a:cubicBezTo>
                  <a:cubicBezTo>
                    <a:pt x="3132533" y="1388458"/>
                    <a:pt x="3204418" y="1460343"/>
                    <a:pt x="3292801" y="1460343"/>
                  </a:cubicBezTo>
                  <a:cubicBezTo>
                    <a:pt x="3381193" y="1460343"/>
                    <a:pt x="3453069" y="1388468"/>
                    <a:pt x="3453069" y="1300076"/>
                  </a:cubicBezTo>
                  <a:cubicBezTo>
                    <a:pt x="3453069" y="1211884"/>
                    <a:pt x="3381193" y="1140103"/>
                    <a:pt x="3292801" y="1140103"/>
                  </a:cubicBezTo>
                  <a:close/>
                  <a:moveTo>
                    <a:pt x="2199741" y="1949252"/>
                  </a:moveTo>
                  <a:lnTo>
                    <a:pt x="2993364" y="1402622"/>
                  </a:lnTo>
                  <a:cubicBezTo>
                    <a:pt x="2986524" y="1382600"/>
                    <a:pt x="2981648" y="1361797"/>
                    <a:pt x="2978905" y="1340214"/>
                  </a:cubicBezTo>
                  <a:lnTo>
                    <a:pt x="2635414" y="1342947"/>
                  </a:lnTo>
                  <a:lnTo>
                    <a:pt x="2190358" y="1940660"/>
                  </a:lnTo>
                  <a:close/>
                  <a:moveTo>
                    <a:pt x="3360286" y="1609181"/>
                  </a:moveTo>
                  <a:cubicBezTo>
                    <a:pt x="3338502" y="1613962"/>
                    <a:pt x="3315947" y="1616505"/>
                    <a:pt x="3292801" y="1616505"/>
                  </a:cubicBezTo>
                  <a:cubicBezTo>
                    <a:pt x="3269655" y="1616505"/>
                    <a:pt x="3247091" y="1613962"/>
                    <a:pt x="3225316" y="1609276"/>
                  </a:cubicBezTo>
                  <a:lnTo>
                    <a:pt x="3172576" y="2211189"/>
                  </a:lnTo>
                  <a:lnTo>
                    <a:pt x="3413025" y="2211189"/>
                  </a:lnTo>
                  <a:lnTo>
                    <a:pt x="3360381" y="1609181"/>
                  </a:lnTo>
                  <a:close/>
                  <a:moveTo>
                    <a:pt x="607703" y="3768165"/>
                  </a:moveTo>
                  <a:lnTo>
                    <a:pt x="1744226" y="3768165"/>
                  </a:lnTo>
                  <a:lnTo>
                    <a:pt x="1790223" y="3145849"/>
                  </a:lnTo>
                  <a:lnTo>
                    <a:pt x="748340" y="3145849"/>
                  </a:lnTo>
                  <a:close/>
                  <a:moveTo>
                    <a:pt x="1847754" y="2367361"/>
                  </a:moveTo>
                  <a:lnTo>
                    <a:pt x="924238" y="2367361"/>
                  </a:lnTo>
                  <a:lnTo>
                    <a:pt x="783602" y="2989677"/>
                  </a:lnTo>
                  <a:lnTo>
                    <a:pt x="1801757" y="2989677"/>
                  </a:lnTo>
                  <a:close/>
                  <a:moveTo>
                    <a:pt x="2004307" y="2367361"/>
                  </a:moveTo>
                  <a:lnTo>
                    <a:pt x="1958310" y="2989677"/>
                  </a:lnTo>
                  <a:lnTo>
                    <a:pt x="2948339" y="2989677"/>
                  </a:lnTo>
                  <a:lnTo>
                    <a:pt x="2902238" y="2367361"/>
                  </a:lnTo>
                  <a:close/>
                  <a:moveTo>
                    <a:pt x="4123152" y="2989677"/>
                  </a:moveTo>
                  <a:lnTo>
                    <a:pt x="3982611" y="2367361"/>
                  </a:lnTo>
                  <a:lnTo>
                    <a:pt x="3058800" y="2367361"/>
                  </a:lnTo>
                  <a:lnTo>
                    <a:pt x="3104901" y="2989677"/>
                  </a:lnTo>
                  <a:close/>
                  <a:moveTo>
                    <a:pt x="4298851" y="3768165"/>
                  </a:moveTo>
                  <a:lnTo>
                    <a:pt x="4158404" y="3145849"/>
                  </a:lnTo>
                  <a:lnTo>
                    <a:pt x="3116522" y="3145849"/>
                  </a:lnTo>
                  <a:lnTo>
                    <a:pt x="3162623" y="3768165"/>
                  </a:lnTo>
                  <a:close/>
                  <a:moveTo>
                    <a:pt x="1900684" y="3768165"/>
                  </a:moveTo>
                  <a:lnTo>
                    <a:pt x="3006051" y="3768165"/>
                  </a:lnTo>
                  <a:lnTo>
                    <a:pt x="2959950" y="3145849"/>
                  </a:lnTo>
                  <a:lnTo>
                    <a:pt x="1946776" y="3145849"/>
                  </a:lnTo>
                  <a:close/>
                  <a:moveTo>
                    <a:pt x="588072" y="4044161"/>
                  </a:moveTo>
                  <a:lnTo>
                    <a:pt x="4318482" y="4044161"/>
                  </a:lnTo>
                  <a:lnTo>
                    <a:pt x="4318482" y="3924327"/>
                  </a:lnTo>
                  <a:lnTo>
                    <a:pt x="588072" y="3924327"/>
                  </a:lnTo>
                  <a:close/>
                  <a:moveTo>
                    <a:pt x="3049713" y="4711121"/>
                  </a:moveTo>
                  <a:lnTo>
                    <a:pt x="2891694" y="4711121"/>
                  </a:lnTo>
                  <a:lnTo>
                    <a:pt x="2807112" y="4200333"/>
                  </a:lnTo>
                  <a:lnTo>
                    <a:pt x="2648797" y="4200333"/>
                  </a:lnTo>
                  <a:lnTo>
                    <a:pt x="2279036" y="4200333"/>
                  </a:lnTo>
                  <a:lnTo>
                    <a:pt x="2120816" y="4200333"/>
                  </a:lnTo>
                  <a:lnTo>
                    <a:pt x="2036139" y="4711121"/>
                  </a:lnTo>
                  <a:lnTo>
                    <a:pt x="1857117" y="4711121"/>
                  </a:lnTo>
                  <a:cubicBezTo>
                    <a:pt x="1813949" y="4711121"/>
                    <a:pt x="1778983" y="4746087"/>
                    <a:pt x="1778983" y="4789159"/>
                  </a:cubicBezTo>
                  <a:cubicBezTo>
                    <a:pt x="1778983" y="4832327"/>
                    <a:pt x="1813949" y="4867293"/>
                    <a:pt x="1857117" y="4867293"/>
                  </a:cubicBezTo>
                  <a:lnTo>
                    <a:pt x="2102357" y="4867293"/>
                  </a:lnTo>
                  <a:lnTo>
                    <a:pt x="2825466" y="4867293"/>
                  </a:lnTo>
                  <a:lnTo>
                    <a:pt x="3049704" y="4867293"/>
                  </a:lnTo>
                  <a:cubicBezTo>
                    <a:pt x="3092871" y="4867293"/>
                    <a:pt x="3127837" y="4832327"/>
                    <a:pt x="3127837" y="4789159"/>
                  </a:cubicBezTo>
                  <a:cubicBezTo>
                    <a:pt x="3127847" y="4746078"/>
                    <a:pt x="3092881" y="4711121"/>
                    <a:pt x="3049713" y="4711121"/>
                  </a:cubicBezTo>
                  <a:close/>
                </a:path>
              </a:pathLst>
            </a:custGeom>
            <a:solidFill>
              <a:srgbClr val="2B660F"/>
            </a:solidFill>
            <a:ln w="9525" cap="flat">
              <a:noFill/>
              <a:prstDash val="solid"/>
              <a:miter/>
            </a:ln>
          </p:spPr>
          <p:txBody>
            <a:bodyPr/>
            <a:lstStyle/>
            <a:p>
              <a:endParaRPr lang="en-US"/>
            </a:p>
          </p:txBody>
        </p:sp>
      </p:grpSp>
      <p:grpSp>
        <p:nvGrpSpPr>
          <p:cNvPr id="272" name="Group 271">
            <a:extLst>
              <a:ext uri="{FF2B5EF4-FFF2-40B4-BE49-F238E27FC236}">
                <a16:creationId xmlns:a16="http://schemas.microsoft.com/office/drawing/2014/main" id="{CD097D8E-C297-C168-4FB6-439C5D98E01A}"/>
              </a:ext>
            </a:extLst>
          </p:cNvPr>
          <p:cNvGrpSpPr/>
          <p:nvPr/>
        </p:nvGrpSpPr>
        <p:grpSpPr>
          <a:xfrm>
            <a:off x="6250778" y="4913000"/>
            <a:ext cx="354334" cy="354334"/>
            <a:chOff x="6250778" y="4913000"/>
            <a:chExt cx="354334" cy="354334"/>
          </a:xfrm>
        </p:grpSpPr>
        <p:sp>
          <p:nvSpPr>
            <p:cNvPr id="109" name="Oval 108">
              <a:extLst>
                <a:ext uri="{FF2B5EF4-FFF2-40B4-BE49-F238E27FC236}">
                  <a16:creationId xmlns:a16="http://schemas.microsoft.com/office/drawing/2014/main" id="{3D6CD5A1-2EAC-AF72-6B6E-4C9AC384BA3B}"/>
                </a:ext>
              </a:extLst>
            </p:cNvPr>
            <p:cNvSpPr/>
            <p:nvPr/>
          </p:nvSpPr>
          <p:spPr>
            <a:xfrm>
              <a:off x="6250778" y="4913000"/>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Graphic 269">
              <a:extLst>
                <a:ext uri="{FF2B5EF4-FFF2-40B4-BE49-F238E27FC236}">
                  <a16:creationId xmlns:a16="http://schemas.microsoft.com/office/drawing/2014/main" id="{49C8247A-CA11-1F79-E369-47E4947ADB0E}"/>
                </a:ext>
              </a:extLst>
            </p:cNvPr>
            <p:cNvSpPr/>
            <p:nvPr/>
          </p:nvSpPr>
          <p:spPr>
            <a:xfrm>
              <a:off x="6317712" y="4979933"/>
              <a:ext cx="220467" cy="220468"/>
            </a:xfrm>
            <a:custGeom>
              <a:avLst/>
              <a:gdLst>
                <a:gd name="csX0" fmla="*/ 2277035 w 4554070"/>
                <a:gd name="csY0" fmla="*/ -271 h 4554079"/>
                <a:gd name="csX1" fmla="*/ 1336869 w 4554070"/>
                <a:gd name="csY1" fmla="*/ 201934 h 4554079"/>
                <a:gd name="csX2" fmla="*/ 1300401 w 4554070"/>
                <a:gd name="csY2" fmla="*/ 305107 h 4554079"/>
                <a:gd name="csX3" fmla="*/ 1436044 w 4554070"/>
                <a:gd name="csY3" fmla="*/ 576840 h 4554079"/>
                <a:gd name="csX4" fmla="*/ 1535220 w 4554070"/>
                <a:gd name="csY4" fmla="*/ 612121 h 4554079"/>
                <a:gd name="csX5" fmla="*/ 2277035 w 4554070"/>
                <a:gd name="csY5" fmla="*/ 455283 h 4554079"/>
                <a:gd name="csX6" fmla="*/ 4098516 w 4554070"/>
                <a:gd name="csY6" fmla="*/ 2276764 h 4554079"/>
                <a:gd name="csX7" fmla="*/ 3784237 w 4554070"/>
                <a:gd name="csY7" fmla="*/ 3297130 h 4554079"/>
                <a:gd name="csX8" fmla="*/ 3544971 w 4554070"/>
                <a:gd name="csY8" fmla="*/ 3057709 h 4554079"/>
                <a:gd name="csX9" fmla="*/ 3482708 w 4554070"/>
                <a:gd name="csY9" fmla="*/ 3035910 h 4554079"/>
                <a:gd name="csX10" fmla="*/ 3415553 w 4554070"/>
                <a:gd name="csY10" fmla="*/ 3111515 h 4554079"/>
                <a:gd name="csX11" fmla="*/ 3415553 w 4554070"/>
                <a:gd name="csY11" fmla="*/ 3946432 h 4554079"/>
                <a:gd name="csX12" fmla="*/ 3491158 w 4554070"/>
                <a:gd name="csY12" fmla="*/ 4022632 h 4554079"/>
                <a:gd name="csX13" fmla="*/ 4325923 w 4554070"/>
                <a:gd name="csY13" fmla="*/ 4022632 h 4554079"/>
                <a:gd name="csX14" fmla="*/ 4379735 w 4554070"/>
                <a:gd name="csY14" fmla="*/ 3892617 h 4554079"/>
                <a:gd name="csX15" fmla="*/ 4110671 w 4554070"/>
                <a:gd name="csY15" fmla="*/ 3623554 h 4554079"/>
                <a:gd name="csX16" fmla="*/ 4554071 w 4554070"/>
                <a:gd name="csY16" fmla="*/ 2276755 h 4554079"/>
                <a:gd name="csX17" fmla="*/ 2277035 w 4554070"/>
                <a:gd name="csY17" fmla="*/ -280 h 4554079"/>
                <a:gd name="csX18" fmla="*/ 227407 w 4554070"/>
                <a:gd name="csY18" fmla="*/ 530888 h 4554079"/>
                <a:gd name="csX19" fmla="*/ 173594 w 4554070"/>
                <a:gd name="csY19" fmla="*/ 660298 h 4554079"/>
                <a:gd name="csX20" fmla="*/ 442806 w 4554070"/>
                <a:gd name="csY20" fmla="*/ 929519 h 4554079"/>
                <a:gd name="csX21" fmla="*/ 0 w 4554070"/>
                <a:gd name="csY21" fmla="*/ 2276764 h 4554079"/>
                <a:gd name="csX22" fmla="*/ 2277035 w 4554070"/>
                <a:gd name="csY22" fmla="*/ 4553800 h 4554079"/>
                <a:gd name="csX23" fmla="*/ 3217202 w 4554070"/>
                <a:gd name="csY23" fmla="*/ 4350999 h 4554079"/>
                <a:gd name="csX24" fmla="*/ 3253521 w 4554070"/>
                <a:gd name="csY24" fmla="*/ 4247818 h 4554079"/>
                <a:gd name="csX25" fmla="*/ 3117434 w 4554070"/>
                <a:gd name="csY25" fmla="*/ 3976084 h 4554079"/>
                <a:gd name="csX26" fmla="*/ 3018851 w 4554070"/>
                <a:gd name="csY26" fmla="*/ 3940803 h 4554079"/>
                <a:gd name="csX27" fmla="*/ 2277035 w 4554070"/>
                <a:gd name="csY27" fmla="*/ 4098245 h 4554079"/>
                <a:gd name="csX28" fmla="*/ 455555 w 4554070"/>
                <a:gd name="csY28" fmla="*/ 2276764 h 4554079"/>
                <a:gd name="csX29" fmla="*/ 768944 w 4554070"/>
                <a:gd name="csY29" fmla="*/ 1256101 h 4554079"/>
                <a:gd name="csX30" fmla="*/ 1009100 w 4554070"/>
                <a:gd name="csY30" fmla="*/ 1495662 h 4554079"/>
                <a:gd name="csX31" fmla="*/ 1138518 w 4554070"/>
                <a:gd name="csY31" fmla="*/ 1441847 h 4554079"/>
                <a:gd name="csX32" fmla="*/ 1138518 w 4554070"/>
                <a:gd name="csY32" fmla="*/ 607088 h 4554079"/>
                <a:gd name="csX33" fmla="*/ 1062320 w 4554070"/>
                <a:gd name="csY33" fmla="*/ 530888 h 4554079"/>
                <a:gd name="csX34" fmla="*/ 2277035 w 4554070"/>
                <a:gd name="csY34" fmla="*/ 986442 h 4554079"/>
                <a:gd name="csX35" fmla="*/ 1366221 w 4554070"/>
                <a:gd name="csY35" fmla="*/ 1897401 h 4554079"/>
                <a:gd name="csX36" fmla="*/ 1821628 w 4554070"/>
                <a:gd name="csY36" fmla="*/ 2684579 h 4554079"/>
                <a:gd name="csX37" fmla="*/ 1821628 w 4554070"/>
                <a:gd name="csY37" fmla="*/ 2808369 h 4554079"/>
                <a:gd name="csX38" fmla="*/ 2732442 w 4554070"/>
                <a:gd name="csY38" fmla="*/ 2808369 h 4554079"/>
                <a:gd name="csX39" fmla="*/ 2732442 w 4554070"/>
                <a:gd name="csY39" fmla="*/ 2685472 h 4554079"/>
                <a:gd name="csX40" fmla="*/ 3187850 w 4554070"/>
                <a:gd name="csY40" fmla="*/ 1897252 h 4554079"/>
                <a:gd name="csX41" fmla="*/ 2277035 w 4554070"/>
                <a:gd name="csY41" fmla="*/ 986442 h 4554079"/>
                <a:gd name="csX42" fmla="*/ 2351602 w 4554070"/>
                <a:gd name="csY42" fmla="*/ 1441252 h 4554079"/>
                <a:gd name="csX43" fmla="*/ 2416089 w 4554070"/>
                <a:gd name="csY43" fmla="*/ 1559999 h 4554079"/>
                <a:gd name="csX44" fmla="*/ 2191350 w 4554070"/>
                <a:gd name="csY44" fmla="*/ 1897252 h 4554079"/>
                <a:gd name="csX45" fmla="*/ 2504591 w 4554070"/>
                <a:gd name="csY45" fmla="*/ 1897252 h 4554079"/>
                <a:gd name="csX46" fmla="*/ 2567891 w 4554070"/>
                <a:gd name="csY46" fmla="*/ 2015404 h 4554079"/>
                <a:gd name="csX47" fmla="*/ 2264138 w 4554070"/>
                <a:gd name="csY47" fmla="*/ 2470372 h 4554079"/>
                <a:gd name="csX48" fmla="*/ 2138130 w 4554070"/>
                <a:gd name="csY48" fmla="*/ 2386459 h 4554079"/>
                <a:gd name="csX49" fmla="*/ 2362869 w 4554070"/>
                <a:gd name="csY49" fmla="*/ 2049206 h 4554079"/>
                <a:gd name="csX50" fmla="*/ 2049629 w 4554070"/>
                <a:gd name="csY50" fmla="*/ 2049206 h 4554079"/>
                <a:gd name="csX51" fmla="*/ 1986328 w 4554070"/>
                <a:gd name="csY51" fmla="*/ 1931054 h 4554079"/>
                <a:gd name="csX52" fmla="*/ 2289933 w 4554070"/>
                <a:gd name="csY52" fmla="*/ 1476095 h 4554079"/>
                <a:gd name="csX53" fmla="*/ 2351602 w 4554070"/>
                <a:gd name="csY53" fmla="*/ 1441252 h 4554079"/>
                <a:gd name="csX54" fmla="*/ 1821628 w 4554070"/>
                <a:gd name="csY54" fmla="*/ 2960165 h 4554079"/>
                <a:gd name="csX55" fmla="*/ 1821628 w 4554070"/>
                <a:gd name="csY55" fmla="*/ 3187575 h 4554079"/>
                <a:gd name="csX56" fmla="*/ 1897529 w 4554070"/>
                <a:gd name="csY56" fmla="*/ 3263477 h 4554079"/>
                <a:gd name="csX57" fmla="*/ 2656541 w 4554070"/>
                <a:gd name="csY57" fmla="*/ 3263477 h 4554079"/>
                <a:gd name="csX58" fmla="*/ 2732442 w 4554070"/>
                <a:gd name="csY58" fmla="*/ 3187575 h 4554079"/>
                <a:gd name="csX59" fmla="*/ 2732442 w 4554070"/>
                <a:gd name="csY59" fmla="*/ 2960165 h 4554079"/>
                <a:gd name="csX60" fmla="*/ 1952083 w 4554070"/>
                <a:gd name="csY60" fmla="*/ 3415282 h 4554079"/>
                <a:gd name="csX61" fmla="*/ 1975655 w 4554070"/>
                <a:gd name="csY61" fmla="*/ 3509709 h 4554079"/>
                <a:gd name="csX62" fmla="*/ 2049629 w 4554070"/>
                <a:gd name="csY62" fmla="*/ 3566929 h 4554079"/>
                <a:gd name="csX63" fmla="*/ 2504591 w 4554070"/>
                <a:gd name="csY63" fmla="*/ 3566929 h 4554079"/>
                <a:gd name="csX64" fmla="*/ 2578565 w 4554070"/>
                <a:gd name="csY64" fmla="*/ 3509709 h 4554079"/>
                <a:gd name="csX65" fmla="*/ 2602135 w 4554070"/>
                <a:gd name="csY65" fmla="*/ 3415282 h 45540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Lst>
              <a:rect l="l" t="t" r="r" b="b"/>
              <a:pathLst>
                <a:path w="4554070" h="4554079">
                  <a:moveTo>
                    <a:pt x="2277035" y="-271"/>
                  </a:moveTo>
                  <a:cubicBezTo>
                    <a:pt x="1942080" y="-271"/>
                    <a:pt x="1623501" y="71840"/>
                    <a:pt x="1336869" y="201934"/>
                  </a:cubicBezTo>
                  <a:cubicBezTo>
                    <a:pt x="1297632" y="219749"/>
                    <a:pt x="1281068" y="266604"/>
                    <a:pt x="1300401" y="305107"/>
                  </a:cubicBezTo>
                  <a:lnTo>
                    <a:pt x="1436044" y="576840"/>
                  </a:lnTo>
                  <a:cubicBezTo>
                    <a:pt x="1454256" y="613338"/>
                    <a:pt x="1498051" y="628922"/>
                    <a:pt x="1535220" y="612121"/>
                  </a:cubicBezTo>
                  <a:cubicBezTo>
                    <a:pt x="1761790" y="510962"/>
                    <a:pt x="2012562" y="455283"/>
                    <a:pt x="2277035" y="455283"/>
                  </a:cubicBezTo>
                  <a:cubicBezTo>
                    <a:pt x="3283991" y="455283"/>
                    <a:pt x="4098516" y="1269802"/>
                    <a:pt x="4098516" y="2276764"/>
                  </a:cubicBezTo>
                  <a:cubicBezTo>
                    <a:pt x="4098516" y="2655558"/>
                    <a:pt x="3981922" y="3005602"/>
                    <a:pt x="3784237" y="3297130"/>
                  </a:cubicBezTo>
                  <a:lnTo>
                    <a:pt x="3544971" y="3057709"/>
                  </a:lnTo>
                  <a:cubicBezTo>
                    <a:pt x="3528622" y="3041329"/>
                    <a:pt x="3505699" y="3033301"/>
                    <a:pt x="3482708" y="3035910"/>
                  </a:cubicBezTo>
                  <a:cubicBezTo>
                    <a:pt x="3444351" y="3040357"/>
                    <a:pt x="3415450" y="3072907"/>
                    <a:pt x="3415553" y="3111515"/>
                  </a:cubicBezTo>
                  <a:lnTo>
                    <a:pt x="3415553" y="3946432"/>
                  </a:lnTo>
                  <a:cubicBezTo>
                    <a:pt x="3415401" y="3988349"/>
                    <a:pt x="3449240" y="4022457"/>
                    <a:pt x="3491158" y="4022632"/>
                  </a:cubicBezTo>
                  <a:lnTo>
                    <a:pt x="4325923" y="4022632"/>
                  </a:lnTo>
                  <a:cubicBezTo>
                    <a:pt x="4394117" y="4023201"/>
                    <a:pt x="4428341" y="3940452"/>
                    <a:pt x="4379735" y="3892617"/>
                  </a:cubicBezTo>
                  <a:lnTo>
                    <a:pt x="4110671" y="3623554"/>
                  </a:lnTo>
                  <a:cubicBezTo>
                    <a:pt x="4388259" y="3246187"/>
                    <a:pt x="4554071" y="2780784"/>
                    <a:pt x="4554071" y="2276755"/>
                  </a:cubicBezTo>
                  <a:cubicBezTo>
                    <a:pt x="4554071" y="1020077"/>
                    <a:pt x="3533708" y="-280"/>
                    <a:pt x="2277035" y="-280"/>
                  </a:cubicBezTo>
                  <a:close/>
                  <a:moveTo>
                    <a:pt x="227407" y="530888"/>
                  </a:moveTo>
                  <a:cubicBezTo>
                    <a:pt x="159908" y="530914"/>
                    <a:pt x="126014" y="612428"/>
                    <a:pt x="173594" y="660298"/>
                  </a:cubicBezTo>
                  <a:lnTo>
                    <a:pt x="442806" y="929519"/>
                  </a:lnTo>
                  <a:cubicBezTo>
                    <a:pt x="165175" y="1306921"/>
                    <a:pt x="0" y="1772639"/>
                    <a:pt x="0" y="2276764"/>
                  </a:cubicBezTo>
                  <a:cubicBezTo>
                    <a:pt x="0" y="3533434"/>
                    <a:pt x="1020364" y="4553800"/>
                    <a:pt x="2277035" y="4553800"/>
                  </a:cubicBezTo>
                  <a:cubicBezTo>
                    <a:pt x="2611993" y="4553800"/>
                    <a:pt x="2930570" y="4481093"/>
                    <a:pt x="3217202" y="4350999"/>
                  </a:cubicBezTo>
                  <a:cubicBezTo>
                    <a:pt x="3256382" y="4333122"/>
                    <a:pt x="3272872" y="4286285"/>
                    <a:pt x="3253521" y="4247818"/>
                  </a:cubicBezTo>
                  <a:lnTo>
                    <a:pt x="3117434" y="3976084"/>
                  </a:lnTo>
                  <a:cubicBezTo>
                    <a:pt x="3099240" y="3939918"/>
                    <a:pt x="3055863" y="3924397"/>
                    <a:pt x="3018851" y="3940803"/>
                  </a:cubicBezTo>
                  <a:cubicBezTo>
                    <a:pt x="2792284" y="4041962"/>
                    <a:pt x="2541509" y="4098245"/>
                    <a:pt x="2277035" y="4098245"/>
                  </a:cubicBezTo>
                  <a:cubicBezTo>
                    <a:pt x="1270080" y="4098245"/>
                    <a:pt x="455555" y="3283718"/>
                    <a:pt x="455555" y="2276764"/>
                  </a:cubicBezTo>
                  <a:cubicBezTo>
                    <a:pt x="455555" y="1898093"/>
                    <a:pt x="571462" y="1547629"/>
                    <a:pt x="768944" y="1256101"/>
                  </a:cubicBezTo>
                  <a:lnTo>
                    <a:pt x="1009100" y="1495662"/>
                  </a:lnTo>
                  <a:cubicBezTo>
                    <a:pt x="1056978" y="1543243"/>
                    <a:pt x="1138491" y="1509345"/>
                    <a:pt x="1138518" y="1441847"/>
                  </a:cubicBezTo>
                  <a:lnTo>
                    <a:pt x="1138518" y="607088"/>
                  </a:lnTo>
                  <a:cubicBezTo>
                    <a:pt x="1138669" y="564934"/>
                    <a:pt x="1104469" y="530721"/>
                    <a:pt x="1062320" y="530888"/>
                  </a:cubicBezTo>
                  <a:close/>
                  <a:moveTo>
                    <a:pt x="2277035" y="986442"/>
                  </a:moveTo>
                  <a:cubicBezTo>
                    <a:pt x="1774906" y="986442"/>
                    <a:pt x="1366221" y="1395194"/>
                    <a:pt x="1366221" y="1897401"/>
                  </a:cubicBezTo>
                  <a:cubicBezTo>
                    <a:pt x="1366600" y="2223396"/>
                    <a:pt x="1541437" y="2522759"/>
                    <a:pt x="1821628" y="2684579"/>
                  </a:cubicBezTo>
                  <a:lnTo>
                    <a:pt x="1821628" y="2808369"/>
                  </a:lnTo>
                  <a:lnTo>
                    <a:pt x="2732442" y="2808369"/>
                  </a:lnTo>
                  <a:lnTo>
                    <a:pt x="2732442" y="2685472"/>
                  </a:lnTo>
                  <a:cubicBezTo>
                    <a:pt x="3012907" y="2523460"/>
                    <a:pt x="3187818" y="2223501"/>
                    <a:pt x="3187850" y="1897252"/>
                  </a:cubicBezTo>
                  <a:cubicBezTo>
                    <a:pt x="3187850" y="1395124"/>
                    <a:pt x="2779166" y="986442"/>
                    <a:pt x="2277035" y="986442"/>
                  </a:cubicBezTo>
                  <a:close/>
                  <a:moveTo>
                    <a:pt x="2351602" y="1441252"/>
                  </a:moveTo>
                  <a:cubicBezTo>
                    <a:pt x="2413589" y="1439825"/>
                    <a:pt x="2451220" y="1508907"/>
                    <a:pt x="2416089" y="1559999"/>
                  </a:cubicBezTo>
                  <a:lnTo>
                    <a:pt x="2191350" y="1897252"/>
                  </a:lnTo>
                  <a:lnTo>
                    <a:pt x="2504591" y="1897252"/>
                  </a:lnTo>
                  <a:cubicBezTo>
                    <a:pt x="2565397" y="1897103"/>
                    <a:pt x="2601729" y="1964882"/>
                    <a:pt x="2567891" y="2015404"/>
                  </a:cubicBezTo>
                  <a:lnTo>
                    <a:pt x="2264138" y="2470372"/>
                  </a:lnTo>
                  <a:cubicBezTo>
                    <a:pt x="2210654" y="2565491"/>
                    <a:pt x="2070986" y="2472377"/>
                    <a:pt x="2138130" y="2386459"/>
                  </a:cubicBezTo>
                  <a:lnTo>
                    <a:pt x="2362869" y="2049206"/>
                  </a:lnTo>
                  <a:lnTo>
                    <a:pt x="2049629" y="2049206"/>
                  </a:lnTo>
                  <a:cubicBezTo>
                    <a:pt x="1988822" y="2049355"/>
                    <a:pt x="1952490" y="1981577"/>
                    <a:pt x="1986328" y="1931054"/>
                  </a:cubicBezTo>
                  <a:lnTo>
                    <a:pt x="2289933" y="1476095"/>
                  </a:lnTo>
                  <a:cubicBezTo>
                    <a:pt x="2303479" y="1455005"/>
                    <a:pt x="2326556" y="1441978"/>
                    <a:pt x="2351602" y="1441252"/>
                  </a:cubicBezTo>
                  <a:close/>
                  <a:moveTo>
                    <a:pt x="1821628" y="2960165"/>
                  </a:moveTo>
                  <a:lnTo>
                    <a:pt x="1821628" y="3187575"/>
                  </a:lnTo>
                  <a:cubicBezTo>
                    <a:pt x="1821633" y="3229492"/>
                    <a:pt x="1855612" y="3263468"/>
                    <a:pt x="1897529" y="3263477"/>
                  </a:cubicBezTo>
                  <a:lnTo>
                    <a:pt x="2656541" y="3263477"/>
                  </a:lnTo>
                  <a:cubicBezTo>
                    <a:pt x="2698458" y="3263468"/>
                    <a:pt x="2732439" y="3229492"/>
                    <a:pt x="2732442" y="3187575"/>
                  </a:cubicBezTo>
                  <a:lnTo>
                    <a:pt x="2732442" y="2960165"/>
                  </a:lnTo>
                  <a:close/>
                  <a:moveTo>
                    <a:pt x="1952083" y="3415282"/>
                  </a:moveTo>
                  <a:lnTo>
                    <a:pt x="1975655" y="3509709"/>
                  </a:lnTo>
                  <a:cubicBezTo>
                    <a:pt x="1984241" y="3543510"/>
                    <a:pt x="2014753" y="3567121"/>
                    <a:pt x="2049629" y="3566929"/>
                  </a:cubicBezTo>
                  <a:lnTo>
                    <a:pt x="2504591" y="3566929"/>
                  </a:lnTo>
                  <a:cubicBezTo>
                    <a:pt x="2539466" y="3567086"/>
                    <a:pt x="2569980" y="3543519"/>
                    <a:pt x="2578565" y="3509709"/>
                  </a:cubicBezTo>
                  <a:lnTo>
                    <a:pt x="2602135" y="3415282"/>
                  </a:lnTo>
                  <a:close/>
                </a:path>
              </a:pathLst>
            </a:custGeom>
            <a:solidFill>
              <a:srgbClr val="2B660F"/>
            </a:solidFill>
            <a:ln w="286871" cap="flat">
              <a:noFill/>
              <a:prstDash val="solid"/>
              <a:miter/>
            </a:ln>
          </p:spPr>
          <p:txBody>
            <a:bodyPr/>
            <a:lstStyle/>
            <a:p>
              <a:endParaRPr lang="en-US"/>
            </a:p>
          </p:txBody>
        </p:sp>
      </p:grpSp>
    </p:spTree>
    <p:extLst>
      <p:ext uri="{BB962C8B-B14F-4D97-AF65-F5344CB8AC3E}">
        <p14:creationId xmlns:p14="http://schemas.microsoft.com/office/powerpoint/2010/main" val="11257249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5D910A"/>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FDC0585-EC20-C947-3883-F2CE5D8B3A2E}"/>
              </a:ext>
            </a:extLst>
          </p:cNvPr>
          <p:cNvGraphicFramePr>
            <a:graphicFrameLocks/>
          </p:cNvGraphicFramePr>
          <p:nvPr>
            <p:custDataLst>
              <p:tags r:id="rId1"/>
            </p:custDataLst>
            <p:extLst>
              <p:ext uri="{D42A27DB-BD31-4B8C-83A1-F6EECF244321}">
                <p14:modId xmlns:p14="http://schemas.microsoft.com/office/powerpoint/2010/main" val="4045619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2" name="think-cell data - do not delete" hidden="1">
                        <a:extLst>
                          <a:ext uri="{FF2B5EF4-FFF2-40B4-BE49-F238E27FC236}">
                            <a16:creationId xmlns:a16="http://schemas.microsoft.com/office/drawing/2014/main" id="{5FDC0585-EC20-C947-3883-F2CE5D8B3A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Rectangle: Rounded Corners 39">
            <a:extLst>
              <a:ext uri="{FF2B5EF4-FFF2-40B4-BE49-F238E27FC236}">
                <a16:creationId xmlns:a16="http://schemas.microsoft.com/office/drawing/2014/main" id="{EFAEEE27-36E8-42E8-874F-64AD86D0C867}"/>
              </a:ext>
            </a:extLst>
          </p:cNvPr>
          <p:cNvSpPr/>
          <p:nvPr/>
        </p:nvSpPr>
        <p:spPr>
          <a:xfrm>
            <a:off x="304800" y="1371601"/>
            <a:ext cx="11582400" cy="4762500"/>
          </a:xfrm>
          <a:prstGeom prst="roundRect">
            <a:avLst>
              <a:gd name="adj" fmla="val 4065"/>
            </a:avLst>
          </a:prstGeom>
          <a:solidFill>
            <a:srgbClr val="2B660F"/>
          </a:solidFill>
          <a:ln w="6350">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14151" tIns="214151" rIns="214151" bIns="214151" numCol="1" spcCol="1270" anchor="ctr" anchorCtr="0">
            <a:noAutofit/>
          </a:bodyPr>
          <a:lstStyle/>
          <a:p>
            <a:pPr defTabSz="1911350">
              <a:lnSpc>
                <a:spcPct val="90000"/>
              </a:lnSpc>
              <a:spcBef>
                <a:spcPct val="0"/>
              </a:spcBef>
              <a:spcAft>
                <a:spcPct val="35000"/>
              </a:spcAft>
            </a:pPr>
            <a:endParaRPr lang="en-US" sz="2000">
              <a:solidFill>
                <a:schemeClr val="bg1"/>
              </a:solidFill>
            </a:endParaRPr>
          </a:p>
        </p:txBody>
      </p:sp>
      <p:sp>
        <p:nvSpPr>
          <p:cNvPr id="41" name="Rectangle: Rounded Corners 40">
            <a:extLst>
              <a:ext uri="{FF2B5EF4-FFF2-40B4-BE49-F238E27FC236}">
                <a16:creationId xmlns:a16="http://schemas.microsoft.com/office/drawing/2014/main" id="{0FAE2569-8148-8D2D-503B-69CEC0782C1F}"/>
              </a:ext>
            </a:extLst>
          </p:cNvPr>
          <p:cNvSpPr/>
          <p:nvPr/>
        </p:nvSpPr>
        <p:spPr>
          <a:xfrm>
            <a:off x="6073140" y="1421131"/>
            <a:ext cx="45720" cy="4663440"/>
          </a:xfrm>
          <a:prstGeom prst="roundRect">
            <a:avLst>
              <a:gd name="adj" fmla="val 50000"/>
            </a:avLst>
          </a:prstGeom>
          <a:solidFill>
            <a:srgbClr val="5D91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Graphic 37">
            <a:extLst>
              <a:ext uri="{FF2B5EF4-FFF2-40B4-BE49-F238E27FC236}">
                <a16:creationId xmlns:a16="http://schemas.microsoft.com/office/drawing/2014/main" id="{4E13789D-2881-6B04-6AA9-D20FF357E906}"/>
              </a:ext>
            </a:extLst>
          </p:cNvPr>
          <p:cNvPicPr/>
          <p:nvPr/>
        </p:nvPicPr>
        <p:blipFill>
          <a:blip r:embed="rId5">
            <a:extLst>
              <a:ext uri="{96DAC541-7B7A-43D3-8B79-37D633B846F1}">
                <asvg:svgBlip xmlns:asvg="http://schemas.microsoft.com/office/drawing/2016/SVG/main" r:embed="rId6"/>
              </a:ext>
            </a:extLst>
          </a:blip>
          <a:srcRect l="8611" t="11392" r="56210" b="6663"/>
          <a:stretch>
            <a:fillRect/>
          </a:stretch>
        </p:blipFill>
        <p:spPr>
          <a:xfrm flipH="1">
            <a:off x="10833100" y="5245492"/>
            <a:ext cx="1357471" cy="1610737"/>
          </a:xfrm>
          <a:prstGeom prst="rect">
            <a:avLst/>
          </a:prstGeom>
        </p:spPr>
      </p:pic>
      <p:pic>
        <p:nvPicPr>
          <p:cNvPr id="5" name="Picture 4">
            <a:extLst>
              <a:ext uri="{FF2B5EF4-FFF2-40B4-BE49-F238E27FC236}">
                <a16:creationId xmlns:a16="http://schemas.microsoft.com/office/drawing/2014/main" id="{8FFF0B72-798D-E88B-A7E2-3365AD0C5E90}"/>
              </a:ext>
            </a:extLst>
          </p:cNvPr>
          <p:cNvPicPr>
            <a:picLocks noChangeAspect="1"/>
          </p:cNvPicPr>
          <p:nvPr/>
        </p:nvPicPr>
        <p:blipFill rotWithShape="1">
          <a:blip r:embed="rId7"/>
          <a:srcRect t="7964" b="74305"/>
          <a:stretch>
            <a:fillRect/>
          </a:stretch>
        </p:blipFill>
        <p:spPr>
          <a:xfrm>
            <a:off x="0" y="0"/>
            <a:ext cx="12192000" cy="1216025"/>
          </a:xfrm>
          <a:prstGeom prst="rect">
            <a:avLst/>
          </a:prstGeom>
        </p:spPr>
      </p:pic>
      <p:sp>
        <p:nvSpPr>
          <p:cNvPr id="6" name="Rectangle 5">
            <a:extLst>
              <a:ext uri="{FF2B5EF4-FFF2-40B4-BE49-F238E27FC236}">
                <a16:creationId xmlns:a16="http://schemas.microsoft.com/office/drawing/2014/main" id="{AFF7D48D-2F45-DBFD-F5C7-BC5947375072}"/>
              </a:ext>
            </a:extLst>
          </p:cNvPr>
          <p:cNvSpPr/>
          <p:nvPr/>
        </p:nvSpPr>
        <p:spPr>
          <a:xfrm>
            <a:off x="0" y="0"/>
            <a:ext cx="12192000" cy="1219200"/>
          </a:xfrm>
          <a:prstGeom prst="rect">
            <a:avLst/>
          </a:prstGeom>
          <a:solidFill>
            <a:schemeClr val="accent3">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F897CA7B-22EB-08CA-AA51-001F5F50C2E3}"/>
              </a:ext>
            </a:extLst>
          </p:cNvPr>
          <p:cNvSpPr txBox="1"/>
          <p:nvPr/>
        </p:nvSpPr>
        <p:spPr>
          <a:xfrm>
            <a:off x="6610350" y="1463675"/>
            <a:ext cx="5191124" cy="1851789"/>
          </a:xfrm>
          <a:prstGeom prst="rect">
            <a:avLst/>
          </a:prstGeom>
          <a:noFill/>
        </p:spPr>
        <p:txBody>
          <a:bodyPr wrap="square" rtlCol="0">
            <a:noAutofit/>
          </a:bodyPr>
          <a:lstStyle/>
          <a:p>
            <a:pPr>
              <a:spcBef>
                <a:spcPts val="400"/>
              </a:spcBef>
            </a:pPr>
            <a:r>
              <a:rPr lang="en-US" sz="1200" b="1">
                <a:solidFill>
                  <a:schemeClr val="accent4"/>
                </a:solidFill>
                <a:latin typeface="+mj-lt"/>
              </a:rPr>
              <a:t>RENEWABLE FUEL</a:t>
            </a:r>
          </a:p>
          <a:p>
            <a:pPr>
              <a:spcBef>
                <a:spcPts val="400"/>
              </a:spcBef>
            </a:pPr>
            <a:r>
              <a:rPr lang="en-US" sz="1100">
                <a:solidFill>
                  <a:schemeClr val="bg1"/>
                </a:solidFill>
                <a:ea typeface="Calibri" panose="020F0502020204030204" pitchFamily="34" charset="0"/>
                <a:cs typeface="Times New Roman" panose="02020603050405020304" pitchFamily="18" charset="0"/>
              </a:rPr>
              <a:t>Commonly referred to as green electricity or green energy, clean electricity also refers to electrical power generated by renewable energy sources, such as geothermal, rain, solar, tidal, waste and wind.</a:t>
            </a:r>
          </a:p>
        </p:txBody>
      </p:sp>
      <p:sp>
        <p:nvSpPr>
          <p:cNvPr id="22" name="TextBox 21">
            <a:extLst>
              <a:ext uri="{FF2B5EF4-FFF2-40B4-BE49-F238E27FC236}">
                <a16:creationId xmlns:a16="http://schemas.microsoft.com/office/drawing/2014/main" id="{8338EC9E-0EB2-A8D4-1E85-0AD9A90A42B9}"/>
              </a:ext>
            </a:extLst>
          </p:cNvPr>
          <p:cNvSpPr txBox="1"/>
          <p:nvPr/>
        </p:nvSpPr>
        <p:spPr>
          <a:xfrm>
            <a:off x="731996" y="1463675"/>
            <a:ext cx="5191124" cy="497572"/>
          </a:xfrm>
          <a:prstGeom prst="rect">
            <a:avLst/>
          </a:prstGeom>
          <a:noFill/>
        </p:spPr>
        <p:txBody>
          <a:bodyPr wrap="square" rtlCol="0">
            <a:noAutofit/>
          </a:bodyPr>
          <a:lstStyle/>
          <a:p>
            <a:pPr>
              <a:spcBef>
                <a:spcPts val="400"/>
              </a:spcBef>
            </a:pPr>
            <a:r>
              <a:rPr lang="en-US" sz="1200" b="1">
                <a:solidFill>
                  <a:schemeClr val="accent4"/>
                </a:solidFill>
                <a:latin typeface="+mj-lt"/>
              </a:rPr>
              <a:t>CLEAN ELECTRICITY</a:t>
            </a:r>
          </a:p>
          <a:p>
            <a:pPr>
              <a:spcBef>
                <a:spcPts val="400"/>
              </a:spcBef>
            </a:pPr>
            <a:r>
              <a:rPr lang="en-US" sz="1100">
                <a:solidFill>
                  <a:schemeClr val="bg1"/>
                </a:solidFill>
                <a:ea typeface="Calibri" panose="020F0502020204030204" pitchFamily="34" charset="0"/>
                <a:cs typeface="Times New Roman" panose="02020603050405020304" pitchFamily="18" charset="0"/>
              </a:rPr>
              <a:t>Emissions generated from the energy purchased for direct operations, such as any non-renewable electricity purchased from a utility company. </a:t>
            </a:r>
          </a:p>
        </p:txBody>
      </p:sp>
      <p:sp>
        <p:nvSpPr>
          <p:cNvPr id="4" name="Title 3">
            <a:extLst>
              <a:ext uri="{FF2B5EF4-FFF2-40B4-BE49-F238E27FC236}">
                <a16:creationId xmlns:a16="http://schemas.microsoft.com/office/drawing/2014/main" id="{B15D0B8F-4376-9D46-9B62-21EEFCE8C7CD}"/>
              </a:ext>
            </a:extLst>
          </p:cNvPr>
          <p:cNvSpPr>
            <a:spLocks noGrp="1"/>
          </p:cNvSpPr>
          <p:nvPr>
            <p:ph type="title"/>
          </p:nvPr>
        </p:nvSpPr>
        <p:spPr>
          <a:xfrm>
            <a:off x="304798" y="246888"/>
            <a:ext cx="11585448" cy="969264"/>
          </a:xfrm>
        </p:spPr>
        <p:txBody>
          <a:bodyPr vert="horz" lIns="822960" rIns="91440"/>
          <a:lstStyle/>
          <a:p>
            <a:r>
              <a:rPr lang="en-US" b="1" cap="none">
                <a:solidFill>
                  <a:srgbClr val="8DBD29"/>
                </a:solidFill>
              </a:rPr>
              <a:t>CARBON &amp; ENERGY</a:t>
            </a:r>
            <a:endParaRPr lang="en-MX" b="1" cap="none">
              <a:solidFill>
                <a:srgbClr val="8DBD29"/>
              </a:solidFill>
            </a:endParaRPr>
          </a:p>
        </p:txBody>
      </p:sp>
      <p:pic>
        <p:nvPicPr>
          <p:cNvPr id="39" name="Graphic 38">
            <a:extLst>
              <a:ext uri="{FF2B5EF4-FFF2-40B4-BE49-F238E27FC236}">
                <a16:creationId xmlns:a16="http://schemas.microsoft.com/office/drawing/2014/main" id="{C7F6FF56-016F-9B14-BC3E-81B8D5283CB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4800" y="140391"/>
            <a:ext cx="618170" cy="618170"/>
          </a:xfrm>
          <a:prstGeom prst="rect">
            <a:avLst/>
          </a:prstGeom>
        </p:spPr>
      </p:pic>
      <p:grpSp>
        <p:nvGrpSpPr>
          <p:cNvPr id="53" name="Group 52">
            <a:extLst>
              <a:ext uri="{FF2B5EF4-FFF2-40B4-BE49-F238E27FC236}">
                <a16:creationId xmlns:a16="http://schemas.microsoft.com/office/drawing/2014/main" id="{1845D4D1-3B00-2333-53E1-EFF904B33C02}"/>
              </a:ext>
            </a:extLst>
          </p:cNvPr>
          <p:cNvGrpSpPr/>
          <p:nvPr/>
        </p:nvGrpSpPr>
        <p:grpSpPr>
          <a:xfrm>
            <a:off x="372424" y="1440815"/>
            <a:ext cx="354334" cy="354334"/>
            <a:chOff x="372424" y="1440815"/>
            <a:chExt cx="354334" cy="354334"/>
          </a:xfrm>
        </p:grpSpPr>
        <p:sp>
          <p:nvSpPr>
            <p:cNvPr id="26" name="Oval 25">
              <a:extLst>
                <a:ext uri="{FF2B5EF4-FFF2-40B4-BE49-F238E27FC236}">
                  <a16:creationId xmlns:a16="http://schemas.microsoft.com/office/drawing/2014/main" id="{D8C10753-9397-1DED-6AB1-93AE87451460}"/>
                </a:ext>
              </a:extLst>
            </p:cNvPr>
            <p:cNvSpPr/>
            <p:nvPr/>
          </p:nvSpPr>
          <p:spPr>
            <a:xfrm>
              <a:off x="372424"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2" name="Group 51">
              <a:extLst>
                <a:ext uri="{FF2B5EF4-FFF2-40B4-BE49-F238E27FC236}">
                  <a16:creationId xmlns:a16="http://schemas.microsoft.com/office/drawing/2014/main" id="{67BCB89C-4064-A038-5503-71A59408C8E7}"/>
                </a:ext>
              </a:extLst>
            </p:cNvPr>
            <p:cNvGrpSpPr/>
            <p:nvPr/>
          </p:nvGrpSpPr>
          <p:grpSpPr>
            <a:xfrm>
              <a:off x="445213" y="1506146"/>
              <a:ext cx="208756" cy="223672"/>
              <a:chOff x="5829300" y="3143237"/>
              <a:chExt cx="533400" cy="571512"/>
            </a:xfrm>
            <a:solidFill>
              <a:srgbClr val="2B660F"/>
            </a:solidFill>
          </p:grpSpPr>
          <p:sp>
            <p:nvSpPr>
              <p:cNvPr id="45" name="Freeform: Shape 44">
                <a:extLst>
                  <a:ext uri="{FF2B5EF4-FFF2-40B4-BE49-F238E27FC236}">
                    <a16:creationId xmlns:a16="http://schemas.microsoft.com/office/drawing/2014/main" id="{B2CF8E6F-E224-2F73-529C-D27D3C08CEA1}"/>
                  </a:ext>
                </a:extLst>
              </p:cNvPr>
              <p:cNvSpPr/>
              <p:nvPr/>
            </p:nvSpPr>
            <p:spPr>
              <a:xfrm>
                <a:off x="5978872" y="3527138"/>
                <a:ext cx="234255" cy="72237"/>
              </a:xfrm>
              <a:custGeom>
                <a:avLst/>
                <a:gdLst>
                  <a:gd name="csX0" fmla="*/ 198137 w 234255"/>
                  <a:gd name="csY0" fmla="*/ 0 h 72237"/>
                  <a:gd name="csX1" fmla="*/ 36119 w 234255"/>
                  <a:gd name="csY1" fmla="*/ 0 h 72237"/>
                  <a:gd name="csX2" fmla="*/ 0 w 234255"/>
                  <a:gd name="csY2" fmla="*/ 36119 h 72237"/>
                  <a:gd name="csX3" fmla="*/ 36119 w 234255"/>
                  <a:gd name="csY3" fmla="*/ 72237 h 72237"/>
                  <a:gd name="csX4" fmla="*/ 198137 w 234255"/>
                  <a:gd name="csY4" fmla="*/ 72237 h 72237"/>
                  <a:gd name="csX5" fmla="*/ 234255 w 234255"/>
                  <a:gd name="csY5" fmla="*/ 36119 h 72237"/>
                  <a:gd name="csX6" fmla="*/ 198137 w 234255"/>
                  <a:gd name="csY6" fmla="*/ 0 h 7223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34255" h="72237">
                    <a:moveTo>
                      <a:pt x="198137" y="0"/>
                    </a:moveTo>
                    <a:lnTo>
                      <a:pt x="36119" y="0"/>
                    </a:lnTo>
                    <a:cubicBezTo>
                      <a:pt x="16204" y="0"/>
                      <a:pt x="0" y="16204"/>
                      <a:pt x="0" y="36119"/>
                    </a:cubicBezTo>
                    <a:cubicBezTo>
                      <a:pt x="0" y="56034"/>
                      <a:pt x="16204" y="72237"/>
                      <a:pt x="36119" y="72237"/>
                    </a:cubicBezTo>
                    <a:lnTo>
                      <a:pt x="198137" y="72237"/>
                    </a:lnTo>
                    <a:cubicBezTo>
                      <a:pt x="218052" y="72237"/>
                      <a:pt x="234255" y="56034"/>
                      <a:pt x="234255" y="36119"/>
                    </a:cubicBezTo>
                    <a:cubicBezTo>
                      <a:pt x="234255" y="16204"/>
                      <a:pt x="218052" y="0"/>
                      <a:pt x="198137" y="0"/>
                    </a:cubicBezTo>
                    <a:close/>
                  </a:path>
                </a:pathLst>
              </a:custGeom>
              <a:grpFill/>
              <a:ln w="9525" cap="flat">
                <a:noFill/>
                <a:prstDash val="solid"/>
                <a:miter/>
              </a:ln>
            </p:spPr>
            <p:txBody>
              <a:bodyPr/>
              <a:lstStyle/>
              <a:p>
                <a:endParaRPr lang="en-US"/>
              </a:p>
            </p:txBody>
          </p:sp>
          <p:sp>
            <p:nvSpPr>
              <p:cNvPr id="46" name="Freeform: Shape 45">
                <a:extLst>
                  <a:ext uri="{FF2B5EF4-FFF2-40B4-BE49-F238E27FC236}">
                    <a16:creationId xmlns:a16="http://schemas.microsoft.com/office/drawing/2014/main" id="{7F883000-10C9-9C26-E941-9D805510009D}"/>
                  </a:ext>
                </a:extLst>
              </p:cNvPr>
              <p:cNvSpPr/>
              <p:nvPr/>
            </p:nvSpPr>
            <p:spPr>
              <a:xfrm>
                <a:off x="5829300" y="3151644"/>
                <a:ext cx="95250" cy="95249"/>
              </a:xfrm>
              <a:custGeom>
                <a:avLst/>
                <a:gdLst>
                  <a:gd name="csX0" fmla="*/ 95250 w 95250"/>
                  <a:gd name="csY0" fmla="*/ 47625 h 95249"/>
                  <a:gd name="csX1" fmla="*/ 85725 w 95250"/>
                  <a:gd name="csY1" fmla="*/ 38100 h 95249"/>
                  <a:gd name="csX2" fmla="*/ 57150 w 95250"/>
                  <a:gd name="csY2" fmla="*/ 9525 h 95249"/>
                  <a:gd name="csX3" fmla="*/ 47625 w 95250"/>
                  <a:gd name="csY3" fmla="*/ 0 h 95249"/>
                  <a:gd name="csX4" fmla="*/ 38100 w 95250"/>
                  <a:gd name="csY4" fmla="*/ 9525 h 95249"/>
                  <a:gd name="csX5" fmla="*/ 9525 w 95250"/>
                  <a:gd name="csY5" fmla="*/ 38100 h 95249"/>
                  <a:gd name="csX6" fmla="*/ 0 w 95250"/>
                  <a:gd name="csY6" fmla="*/ 47625 h 95249"/>
                  <a:gd name="csX7" fmla="*/ 9525 w 95250"/>
                  <a:gd name="csY7" fmla="*/ 57150 h 95249"/>
                  <a:gd name="csX8" fmla="*/ 38100 w 95250"/>
                  <a:gd name="csY8" fmla="*/ 85725 h 95249"/>
                  <a:gd name="csX9" fmla="*/ 47625 w 95250"/>
                  <a:gd name="csY9" fmla="*/ 95250 h 95249"/>
                  <a:gd name="csX10" fmla="*/ 57150 w 95250"/>
                  <a:gd name="csY10" fmla="*/ 85725 h 95249"/>
                  <a:gd name="csX11" fmla="*/ 85725 w 95250"/>
                  <a:gd name="csY11" fmla="*/ 57150 h 95249"/>
                  <a:gd name="csX12" fmla="*/ 95250 w 95250"/>
                  <a:gd name="csY12" fmla="*/ 47625 h 9524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95250" h="95249">
                    <a:moveTo>
                      <a:pt x="95250" y="47625"/>
                    </a:moveTo>
                    <a:cubicBezTo>
                      <a:pt x="95250" y="42365"/>
                      <a:pt x="90985" y="38100"/>
                      <a:pt x="85725" y="38100"/>
                    </a:cubicBezTo>
                    <a:cubicBezTo>
                      <a:pt x="69968" y="38100"/>
                      <a:pt x="57150" y="25282"/>
                      <a:pt x="57150" y="9525"/>
                    </a:cubicBezTo>
                    <a:cubicBezTo>
                      <a:pt x="57150" y="4265"/>
                      <a:pt x="52885" y="0"/>
                      <a:pt x="47625" y="0"/>
                    </a:cubicBezTo>
                    <a:cubicBezTo>
                      <a:pt x="42365" y="0"/>
                      <a:pt x="38100" y="4265"/>
                      <a:pt x="38100" y="9525"/>
                    </a:cubicBezTo>
                    <a:cubicBezTo>
                      <a:pt x="38100" y="25282"/>
                      <a:pt x="25282" y="38100"/>
                      <a:pt x="9525" y="38100"/>
                    </a:cubicBezTo>
                    <a:cubicBezTo>
                      <a:pt x="4265" y="38100"/>
                      <a:pt x="0" y="42365"/>
                      <a:pt x="0" y="47625"/>
                    </a:cubicBezTo>
                    <a:cubicBezTo>
                      <a:pt x="0" y="52885"/>
                      <a:pt x="4265" y="57150"/>
                      <a:pt x="9525" y="57150"/>
                    </a:cubicBezTo>
                    <a:cubicBezTo>
                      <a:pt x="25282" y="57150"/>
                      <a:pt x="38100" y="69968"/>
                      <a:pt x="38100" y="85725"/>
                    </a:cubicBezTo>
                    <a:cubicBezTo>
                      <a:pt x="38100" y="90985"/>
                      <a:pt x="42365" y="95250"/>
                      <a:pt x="47625" y="95250"/>
                    </a:cubicBezTo>
                    <a:cubicBezTo>
                      <a:pt x="52885" y="95250"/>
                      <a:pt x="57150" y="90985"/>
                      <a:pt x="57150" y="85725"/>
                    </a:cubicBezTo>
                    <a:cubicBezTo>
                      <a:pt x="57150" y="69968"/>
                      <a:pt x="69968" y="57150"/>
                      <a:pt x="85725" y="57150"/>
                    </a:cubicBezTo>
                    <a:cubicBezTo>
                      <a:pt x="90985" y="57150"/>
                      <a:pt x="95250" y="52885"/>
                      <a:pt x="95250" y="47625"/>
                    </a:cubicBezTo>
                    <a:close/>
                  </a:path>
                </a:pathLst>
              </a:custGeom>
              <a:grpFill/>
              <a:ln w="9525" cap="flat">
                <a:noFill/>
                <a:prstDash val="solid"/>
                <a:miter/>
              </a:ln>
            </p:spPr>
            <p:txBody>
              <a:bodyPr/>
              <a:lstStyle/>
              <a:p>
                <a:endParaRPr lang="en-US"/>
              </a:p>
            </p:txBody>
          </p:sp>
          <p:sp>
            <p:nvSpPr>
              <p:cNvPr id="47" name="Freeform: Shape 46">
                <a:extLst>
                  <a:ext uri="{FF2B5EF4-FFF2-40B4-BE49-F238E27FC236}">
                    <a16:creationId xmlns:a16="http://schemas.microsoft.com/office/drawing/2014/main" id="{A015F8E3-E1B9-6119-4E8B-6D2E1C9DCD02}"/>
                  </a:ext>
                </a:extLst>
              </p:cNvPr>
              <p:cNvSpPr/>
              <p:nvPr/>
            </p:nvSpPr>
            <p:spPr>
              <a:xfrm>
                <a:off x="6267450" y="3506716"/>
                <a:ext cx="95250" cy="95250"/>
              </a:xfrm>
              <a:custGeom>
                <a:avLst/>
                <a:gdLst>
                  <a:gd name="csX0" fmla="*/ 85725 w 95250"/>
                  <a:gd name="csY0" fmla="*/ 38100 h 95250"/>
                  <a:gd name="csX1" fmla="*/ 57150 w 95250"/>
                  <a:gd name="csY1" fmla="*/ 9525 h 95250"/>
                  <a:gd name="csX2" fmla="*/ 47625 w 95250"/>
                  <a:gd name="csY2" fmla="*/ 0 h 95250"/>
                  <a:gd name="csX3" fmla="*/ 38100 w 95250"/>
                  <a:gd name="csY3" fmla="*/ 9525 h 95250"/>
                  <a:gd name="csX4" fmla="*/ 9525 w 95250"/>
                  <a:gd name="csY4" fmla="*/ 38100 h 95250"/>
                  <a:gd name="csX5" fmla="*/ 0 w 95250"/>
                  <a:gd name="csY5" fmla="*/ 47625 h 95250"/>
                  <a:gd name="csX6" fmla="*/ 9525 w 95250"/>
                  <a:gd name="csY6" fmla="*/ 57150 h 95250"/>
                  <a:gd name="csX7" fmla="*/ 38100 w 95250"/>
                  <a:gd name="csY7" fmla="*/ 85725 h 95250"/>
                  <a:gd name="csX8" fmla="*/ 47625 w 95250"/>
                  <a:gd name="csY8" fmla="*/ 95250 h 95250"/>
                  <a:gd name="csX9" fmla="*/ 57150 w 95250"/>
                  <a:gd name="csY9" fmla="*/ 85725 h 95250"/>
                  <a:gd name="csX10" fmla="*/ 85725 w 95250"/>
                  <a:gd name="csY10" fmla="*/ 57150 h 95250"/>
                  <a:gd name="csX11" fmla="*/ 95250 w 95250"/>
                  <a:gd name="csY11" fmla="*/ 47625 h 95250"/>
                  <a:gd name="csX12" fmla="*/ 85725 w 95250"/>
                  <a:gd name="csY12" fmla="*/ 38100 h 952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95250" h="95250">
                    <a:moveTo>
                      <a:pt x="85725" y="38100"/>
                    </a:moveTo>
                    <a:cubicBezTo>
                      <a:pt x="69968" y="38100"/>
                      <a:pt x="57150" y="25282"/>
                      <a:pt x="57150" y="9525"/>
                    </a:cubicBezTo>
                    <a:cubicBezTo>
                      <a:pt x="57150" y="4265"/>
                      <a:pt x="52885" y="0"/>
                      <a:pt x="47625" y="0"/>
                    </a:cubicBezTo>
                    <a:cubicBezTo>
                      <a:pt x="42365" y="0"/>
                      <a:pt x="38100" y="4265"/>
                      <a:pt x="38100" y="9525"/>
                    </a:cubicBezTo>
                    <a:cubicBezTo>
                      <a:pt x="38100" y="25282"/>
                      <a:pt x="25282" y="38100"/>
                      <a:pt x="9525" y="38100"/>
                    </a:cubicBezTo>
                    <a:cubicBezTo>
                      <a:pt x="4265" y="38100"/>
                      <a:pt x="0" y="42365"/>
                      <a:pt x="0" y="47625"/>
                    </a:cubicBezTo>
                    <a:cubicBezTo>
                      <a:pt x="0" y="52885"/>
                      <a:pt x="4265" y="57150"/>
                      <a:pt x="9525" y="57150"/>
                    </a:cubicBezTo>
                    <a:cubicBezTo>
                      <a:pt x="25282" y="57150"/>
                      <a:pt x="38100" y="69968"/>
                      <a:pt x="38100" y="85725"/>
                    </a:cubicBezTo>
                    <a:cubicBezTo>
                      <a:pt x="38100" y="90985"/>
                      <a:pt x="42365" y="95250"/>
                      <a:pt x="47625" y="95250"/>
                    </a:cubicBezTo>
                    <a:cubicBezTo>
                      <a:pt x="52885" y="95250"/>
                      <a:pt x="57150" y="90985"/>
                      <a:pt x="57150" y="85725"/>
                    </a:cubicBezTo>
                    <a:cubicBezTo>
                      <a:pt x="57150" y="69968"/>
                      <a:pt x="69968" y="57150"/>
                      <a:pt x="85725" y="57150"/>
                    </a:cubicBezTo>
                    <a:cubicBezTo>
                      <a:pt x="90985" y="57150"/>
                      <a:pt x="95250" y="52885"/>
                      <a:pt x="95250" y="47625"/>
                    </a:cubicBezTo>
                    <a:cubicBezTo>
                      <a:pt x="95250" y="42365"/>
                      <a:pt x="90985" y="38100"/>
                      <a:pt x="85725" y="38100"/>
                    </a:cubicBezTo>
                    <a:close/>
                  </a:path>
                </a:pathLst>
              </a:custGeom>
              <a:grpFill/>
              <a:ln w="9525" cap="flat">
                <a:noFill/>
                <a:prstDash val="solid"/>
                <a:miter/>
              </a:ln>
            </p:spPr>
            <p:txBody>
              <a:bodyPr/>
              <a:lstStyle/>
              <a:p>
                <a:endParaRPr lang="en-US"/>
              </a:p>
            </p:txBody>
          </p:sp>
          <p:sp>
            <p:nvSpPr>
              <p:cNvPr id="48" name="Freeform: Shape 47">
                <a:extLst>
                  <a:ext uri="{FF2B5EF4-FFF2-40B4-BE49-F238E27FC236}">
                    <a16:creationId xmlns:a16="http://schemas.microsoft.com/office/drawing/2014/main" id="{71F3D65F-7A91-9F0E-B6D1-6EB54EA98F1A}"/>
                  </a:ext>
                </a:extLst>
              </p:cNvPr>
              <p:cNvSpPr/>
              <p:nvPr/>
            </p:nvSpPr>
            <p:spPr>
              <a:xfrm>
                <a:off x="6020008" y="3671617"/>
                <a:ext cx="151983" cy="43132"/>
              </a:xfrm>
              <a:custGeom>
                <a:avLst/>
                <a:gdLst>
                  <a:gd name="csX0" fmla="*/ 2899 w 151983"/>
                  <a:gd name="csY0" fmla="*/ 9460 h 43132"/>
                  <a:gd name="csX1" fmla="*/ 48431 w 151983"/>
                  <a:gd name="csY1" fmla="*/ 43132 h 43132"/>
                  <a:gd name="csX2" fmla="*/ 103553 w 151983"/>
                  <a:gd name="csY2" fmla="*/ 43132 h 43132"/>
                  <a:gd name="csX3" fmla="*/ 149085 w 151983"/>
                  <a:gd name="csY3" fmla="*/ 9460 h 43132"/>
                  <a:gd name="csX4" fmla="*/ 151984 w 151983"/>
                  <a:gd name="csY4" fmla="*/ 0 h 43132"/>
                  <a:gd name="csX5" fmla="*/ 0 w 151983"/>
                  <a:gd name="csY5" fmla="*/ 0 h 43132"/>
                  <a:gd name="csX6" fmla="*/ 2899 w 151983"/>
                  <a:gd name="csY6" fmla="*/ 9460 h 4313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1983" h="43132">
                    <a:moveTo>
                      <a:pt x="2899" y="9460"/>
                    </a:moveTo>
                    <a:cubicBezTo>
                      <a:pt x="9066" y="29598"/>
                      <a:pt x="27362" y="43132"/>
                      <a:pt x="48431" y="43132"/>
                    </a:cubicBezTo>
                    <a:lnTo>
                      <a:pt x="103553" y="43132"/>
                    </a:lnTo>
                    <a:cubicBezTo>
                      <a:pt x="124622" y="43132"/>
                      <a:pt x="142918" y="29598"/>
                      <a:pt x="149085" y="9460"/>
                    </a:cubicBezTo>
                    <a:lnTo>
                      <a:pt x="151984" y="0"/>
                    </a:lnTo>
                    <a:lnTo>
                      <a:pt x="0" y="0"/>
                    </a:lnTo>
                    <a:lnTo>
                      <a:pt x="2899" y="9460"/>
                    </a:lnTo>
                    <a:close/>
                  </a:path>
                </a:pathLst>
              </a:custGeom>
              <a:grpFill/>
              <a:ln w="9525" cap="flat">
                <a:noFill/>
                <a:prstDash val="solid"/>
                <a:miter/>
              </a:ln>
            </p:spPr>
            <p:txBody>
              <a:bodyPr/>
              <a:lstStyle/>
              <a:p>
                <a:endParaRPr lang="en-US"/>
              </a:p>
            </p:txBody>
          </p:sp>
          <p:sp>
            <p:nvSpPr>
              <p:cNvPr id="49" name="Freeform: Shape 48">
                <a:extLst>
                  <a:ext uri="{FF2B5EF4-FFF2-40B4-BE49-F238E27FC236}">
                    <a16:creationId xmlns:a16="http://schemas.microsoft.com/office/drawing/2014/main" id="{303A3DF4-52D4-E7C5-9B5C-598480D7068D}"/>
                  </a:ext>
                </a:extLst>
              </p:cNvPr>
              <p:cNvSpPr/>
              <p:nvPr/>
            </p:nvSpPr>
            <p:spPr>
              <a:xfrm>
                <a:off x="5978872" y="3606259"/>
                <a:ext cx="234255" cy="46308"/>
              </a:xfrm>
              <a:custGeom>
                <a:avLst/>
                <a:gdLst>
                  <a:gd name="csX0" fmla="*/ 198137 w 234255"/>
                  <a:gd name="csY0" fmla="*/ 12167 h 46308"/>
                  <a:gd name="csX1" fmla="*/ 36119 w 234255"/>
                  <a:gd name="csY1" fmla="*/ 12167 h 46308"/>
                  <a:gd name="csX2" fmla="*/ 1642 w 234255"/>
                  <a:gd name="csY2" fmla="*/ 0 h 46308"/>
                  <a:gd name="csX3" fmla="*/ 0 w 234255"/>
                  <a:gd name="csY3" fmla="*/ 10185 h 46308"/>
                  <a:gd name="csX4" fmla="*/ 36119 w 234255"/>
                  <a:gd name="csY4" fmla="*/ 46309 h 46308"/>
                  <a:gd name="csX5" fmla="*/ 198137 w 234255"/>
                  <a:gd name="csY5" fmla="*/ 46309 h 46308"/>
                  <a:gd name="csX6" fmla="*/ 234255 w 234255"/>
                  <a:gd name="csY6" fmla="*/ 10185 h 46308"/>
                  <a:gd name="csX7" fmla="*/ 232613 w 234255"/>
                  <a:gd name="csY7" fmla="*/ 0 h 46308"/>
                  <a:gd name="csX8" fmla="*/ 198137 w 234255"/>
                  <a:gd name="csY8" fmla="*/ 12167 h 463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34255" h="46308">
                    <a:moveTo>
                      <a:pt x="198137" y="12167"/>
                    </a:moveTo>
                    <a:lnTo>
                      <a:pt x="36119" y="12167"/>
                    </a:lnTo>
                    <a:cubicBezTo>
                      <a:pt x="23076" y="12167"/>
                      <a:pt x="11096" y="7594"/>
                      <a:pt x="1642" y="0"/>
                    </a:cubicBezTo>
                    <a:cubicBezTo>
                      <a:pt x="678" y="3252"/>
                      <a:pt x="0" y="6625"/>
                      <a:pt x="0" y="10185"/>
                    </a:cubicBezTo>
                    <a:cubicBezTo>
                      <a:pt x="0" y="30105"/>
                      <a:pt x="16204" y="46309"/>
                      <a:pt x="36119" y="46309"/>
                    </a:cubicBezTo>
                    <a:lnTo>
                      <a:pt x="198137" y="46309"/>
                    </a:lnTo>
                    <a:cubicBezTo>
                      <a:pt x="218052" y="46309"/>
                      <a:pt x="234255" y="30105"/>
                      <a:pt x="234255" y="10185"/>
                    </a:cubicBezTo>
                    <a:cubicBezTo>
                      <a:pt x="234255" y="6625"/>
                      <a:pt x="233578" y="3252"/>
                      <a:pt x="232613" y="0"/>
                    </a:cubicBezTo>
                    <a:cubicBezTo>
                      <a:pt x="223160" y="7594"/>
                      <a:pt x="211179" y="12167"/>
                      <a:pt x="198137" y="12167"/>
                    </a:cubicBezTo>
                    <a:close/>
                  </a:path>
                </a:pathLst>
              </a:custGeom>
              <a:grpFill/>
              <a:ln w="9525" cap="flat">
                <a:noFill/>
                <a:prstDash val="solid"/>
                <a:miter/>
              </a:ln>
            </p:spPr>
            <p:txBody>
              <a:bodyPr/>
              <a:lstStyle/>
              <a:p>
                <a:endParaRPr lang="en-US"/>
              </a:p>
            </p:txBody>
          </p:sp>
          <p:sp>
            <p:nvSpPr>
              <p:cNvPr id="50" name="Freeform: Shape 49">
                <a:extLst>
                  <a:ext uri="{FF2B5EF4-FFF2-40B4-BE49-F238E27FC236}">
                    <a16:creationId xmlns:a16="http://schemas.microsoft.com/office/drawing/2014/main" id="{C3742A56-3158-4689-7480-27B67F36C168}"/>
                  </a:ext>
                </a:extLst>
              </p:cNvPr>
              <p:cNvSpPr/>
              <p:nvPr/>
            </p:nvSpPr>
            <p:spPr>
              <a:xfrm>
                <a:off x="6025609" y="3208818"/>
                <a:ext cx="140779" cy="277444"/>
              </a:xfrm>
              <a:custGeom>
                <a:avLst/>
                <a:gdLst>
                  <a:gd name="csX0" fmla="*/ 131112 w 140779"/>
                  <a:gd name="csY0" fmla="*/ 120280 h 277444"/>
                  <a:gd name="csX1" fmla="*/ 92064 w 140779"/>
                  <a:gd name="csY1" fmla="*/ 120782 h 277444"/>
                  <a:gd name="csX2" fmla="*/ 85250 w 140779"/>
                  <a:gd name="csY2" fmla="*/ 118034 h 277444"/>
                  <a:gd name="csX3" fmla="*/ 82418 w 140779"/>
                  <a:gd name="csY3" fmla="*/ 111257 h 277444"/>
                  <a:gd name="csX4" fmla="*/ 82418 w 140779"/>
                  <a:gd name="csY4" fmla="*/ 9529 h 277444"/>
                  <a:gd name="csX5" fmla="*/ 74893 w 140779"/>
                  <a:gd name="csY5" fmla="*/ 213 h 277444"/>
                  <a:gd name="csX6" fmla="*/ 64210 w 140779"/>
                  <a:gd name="csY6" fmla="*/ 5613 h 277444"/>
                  <a:gd name="csX7" fmla="*/ 860 w 140779"/>
                  <a:gd name="csY7" fmla="*/ 146227 h 277444"/>
                  <a:gd name="csX8" fmla="*/ 1539 w 140779"/>
                  <a:gd name="csY8" fmla="*/ 155301 h 277444"/>
                  <a:gd name="csX9" fmla="*/ 9520 w 140779"/>
                  <a:gd name="csY9" fmla="*/ 159664 h 277444"/>
                  <a:gd name="csX10" fmla="*/ 55303 w 140779"/>
                  <a:gd name="csY10" fmla="*/ 159794 h 277444"/>
                  <a:gd name="csX11" fmla="*/ 64800 w 140779"/>
                  <a:gd name="csY11" fmla="*/ 169319 h 277444"/>
                  <a:gd name="csX12" fmla="*/ 64800 w 140779"/>
                  <a:gd name="csY12" fmla="*/ 267904 h 277444"/>
                  <a:gd name="csX13" fmla="*/ 72474 w 140779"/>
                  <a:gd name="csY13" fmla="*/ 277252 h 277444"/>
                  <a:gd name="csX14" fmla="*/ 83134 w 140779"/>
                  <a:gd name="csY14" fmla="*/ 271531 h 277444"/>
                  <a:gd name="csX15" fmla="*/ 140042 w 140779"/>
                  <a:gd name="csY15" fmla="*/ 133438 h 277444"/>
                  <a:gd name="csX16" fmla="*/ 139116 w 140779"/>
                  <a:gd name="csY16" fmla="*/ 124457 h 277444"/>
                  <a:gd name="csX17" fmla="*/ 131112 w 140779"/>
                  <a:gd name="csY17" fmla="*/ 120280 h 27744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140779" h="277444">
                    <a:moveTo>
                      <a:pt x="131112" y="120280"/>
                    </a:moveTo>
                    <a:lnTo>
                      <a:pt x="92064" y="120782"/>
                    </a:lnTo>
                    <a:cubicBezTo>
                      <a:pt x="89687" y="120834"/>
                      <a:pt x="87069" y="119824"/>
                      <a:pt x="85250" y="118034"/>
                    </a:cubicBezTo>
                    <a:cubicBezTo>
                      <a:pt x="83436" y="116248"/>
                      <a:pt x="82418" y="113806"/>
                      <a:pt x="82418" y="111257"/>
                    </a:cubicBezTo>
                    <a:lnTo>
                      <a:pt x="82418" y="9529"/>
                    </a:lnTo>
                    <a:cubicBezTo>
                      <a:pt x="82418" y="2385"/>
                      <a:pt x="76660" y="594"/>
                      <a:pt x="74893" y="213"/>
                    </a:cubicBezTo>
                    <a:cubicBezTo>
                      <a:pt x="71064" y="-392"/>
                      <a:pt x="66973" y="-28"/>
                      <a:pt x="64210" y="5613"/>
                    </a:cubicBezTo>
                    <a:lnTo>
                      <a:pt x="860" y="146227"/>
                    </a:lnTo>
                    <a:cubicBezTo>
                      <a:pt x="-489" y="149227"/>
                      <a:pt x="-242" y="152534"/>
                      <a:pt x="1539" y="155301"/>
                    </a:cubicBezTo>
                    <a:cubicBezTo>
                      <a:pt x="3320" y="158064"/>
                      <a:pt x="6227" y="159654"/>
                      <a:pt x="9520" y="159664"/>
                    </a:cubicBezTo>
                    <a:lnTo>
                      <a:pt x="55303" y="159794"/>
                    </a:lnTo>
                    <a:cubicBezTo>
                      <a:pt x="60554" y="159808"/>
                      <a:pt x="64800" y="164068"/>
                      <a:pt x="64800" y="169319"/>
                    </a:cubicBezTo>
                    <a:lnTo>
                      <a:pt x="64800" y="267904"/>
                    </a:lnTo>
                    <a:cubicBezTo>
                      <a:pt x="64800" y="275164"/>
                      <a:pt x="70674" y="276894"/>
                      <a:pt x="72474" y="277252"/>
                    </a:cubicBezTo>
                    <a:cubicBezTo>
                      <a:pt x="74265" y="277587"/>
                      <a:pt x="80357" y="278247"/>
                      <a:pt x="83134" y="271531"/>
                    </a:cubicBezTo>
                    <a:lnTo>
                      <a:pt x="140042" y="133438"/>
                    </a:lnTo>
                    <a:cubicBezTo>
                      <a:pt x="141284" y="130424"/>
                      <a:pt x="140944" y="127154"/>
                      <a:pt x="139116" y="124457"/>
                    </a:cubicBezTo>
                    <a:cubicBezTo>
                      <a:pt x="137289" y="121764"/>
                      <a:pt x="134586" y="120569"/>
                      <a:pt x="131112" y="120280"/>
                    </a:cubicBezTo>
                    <a:close/>
                  </a:path>
                </a:pathLst>
              </a:custGeom>
              <a:grpFill/>
              <a:ln w="9525" cap="flat">
                <a:noFill/>
                <a:prstDash val="solid"/>
                <a:miter/>
              </a:ln>
            </p:spPr>
            <p:txBody>
              <a:bodyPr/>
              <a:lstStyle/>
              <a:p>
                <a:endParaRPr lang="en-US"/>
              </a:p>
            </p:txBody>
          </p:sp>
          <p:sp>
            <p:nvSpPr>
              <p:cNvPr id="51" name="Freeform: Shape 50">
                <a:extLst>
                  <a:ext uri="{FF2B5EF4-FFF2-40B4-BE49-F238E27FC236}">
                    <a16:creationId xmlns:a16="http://schemas.microsoft.com/office/drawing/2014/main" id="{BBA088F9-5359-D852-ADA4-952F84A7EAF3}"/>
                  </a:ext>
                </a:extLst>
              </p:cNvPr>
              <p:cNvSpPr/>
              <p:nvPr/>
            </p:nvSpPr>
            <p:spPr>
              <a:xfrm>
                <a:off x="5905491" y="3143237"/>
                <a:ext cx="381008" cy="373762"/>
              </a:xfrm>
              <a:custGeom>
                <a:avLst/>
                <a:gdLst>
                  <a:gd name="csX0" fmla="*/ 317515 w 381008"/>
                  <a:gd name="csY0" fmla="*/ 48526 h 373762"/>
                  <a:gd name="csX1" fmla="*/ 168729 w 381008"/>
                  <a:gd name="csY1" fmla="*/ 1226 h 373762"/>
                  <a:gd name="csX2" fmla="*/ 841 w 381008"/>
                  <a:gd name="csY2" fmla="*/ 172537 h 373762"/>
                  <a:gd name="csX3" fmla="*/ 50275 w 381008"/>
                  <a:gd name="csY3" fmla="*/ 319249 h 373762"/>
                  <a:gd name="csX4" fmla="*/ 79740 w 381008"/>
                  <a:gd name="csY4" fmla="*/ 373637 h 373762"/>
                  <a:gd name="csX5" fmla="*/ 109500 w 381008"/>
                  <a:gd name="csY5" fmla="*/ 364850 h 373762"/>
                  <a:gd name="csX6" fmla="*/ 271518 w 381008"/>
                  <a:gd name="csY6" fmla="*/ 364850 h 373762"/>
                  <a:gd name="csX7" fmla="*/ 301484 w 381008"/>
                  <a:gd name="csY7" fmla="*/ 373763 h 373762"/>
                  <a:gd name="csX8" fmla="*/ 332267 w 381008"/>
                  <a:gd name="csY8" fmla="*/ 317569 h 373762"/>
                  <a:gd name="csX9" fmla="*/ 381009 w 381008"/>
                  <a:gd name="csY9" fmla="*/ 190512 h 373762"/>
                  <a:gd name="csX10" fmla="*/ 317515 w 381008"/>
                  <a:gd name="csY10" fmla="*/ 48525 h 373762"/>
                  <a:gd name="csX11" fmla="*/ 74000 w 381008"/>
                  <a:gd name="csY11" fmla="*/ 125419 h 373762"/>
                  <a:gd name="csX12" fmla="*/ 57749 w 381008"/>
                  <a:gd name="csY12" fmla="*/ 177769 h 373762"/>
                  <a:gd name="csX13" fmla="*/ 48276 w 381008"/>
                  <a:gd name="csY13" fmla="*/ 186424 h 373762"/>
                  <a:gd name="csX14" fmla="*/ 38783 w 381008"/>
                  <a:gd name="csY14" fmla="*/ 176029 h 373762"/>
                  <a:gd name="csX15" fmla="*/ 57377 w 381008"/>
                  <a:gd name="csY15" fmla="*/ 116117 h 373762"/>
                  <a:gd name="csX16" fmla="*/ 70339 w 381008"/>
                  <a:gd name="csY16" fmla="*/ 112456 h 373762"/>
                  <a:gd name="csX17" fmla="*/ 74000 w 381008"/>
                  <a:gd name="csY17" fmla="*/ 125418 h 373762"/>
                  <a:gd name="csX18" fmla="*/ 277778 w 381008"/>
                  <a:gd name="csY18" fmla="*/ 206274 h 373762"/>
                  <a:gd name="csX19" fmla="*/ 220865 w 381008"/>
                  <a:gd name="csY19" fmla="*/ 344373 h 373762"/>
                  <a:gd name="csX20" fmla="*/ 194829 w 381008"/>
                  <a:gd name="csY20" fmla="*/ 362111 h 373762"/>
                  <a:gd name="csX21" fmla="*/ 188890 w 381008"/>
                  <a:gd name="csY21" fmla="*/ 361520 h 373762"/>
                  <a:gd name="csX22" fmla="*/ 165868 w 381008"/>
                  <a:gd name="csY22" fmla="*/ 333485 h 373762"/>
                  <a:gd name="csX23" fmla="*/ 165868 w 381008"/>
                  <a:gd name="csY23" fmla="*/ 244397 h 373762"/>
                  <a:gd name="csX24" fmla="*/ 129582 w 381008"/>
                  <a:gd name="csY24" fmla="*/ 244295 h 373762"/>
                  <a:gd name="csX25" fmla="*/ 105644 w 381008"/>
                  <a:gd name="csY25" fmla="*/ 231198 h 373762"/>
                  <a:gd name="csX26" fmla="*/ 103612 w 381008"/>
                  <a:gd name="csY26" fmla="*/ 203986 h 373762"/>
                  <a:gd name="csX27" fmla="*/ 166961 w 381008"/>
                  <a:gd name="csY27" fmla="*/ 63371 h 373762"/>
                  <a:gd name="csX28" fmla="*/ 199010 w 381008"/>
                  <a:gd name="csY28" fmla="*/ 47172 h 373762"/>
                  <a:gd name="csX29" fmla="*/ 221586 w 381008"/>
                  <a:gd name="csY29" fmla="*/ 75110 h 373762"/>
                  <a:gd name="csX30" fmla="*/ 221586 w 381008"/>
                  <a:gd name="csY30" fmla="*/ 167188 h 373762"/>
                  <a:gd name="csX31" fmla="*/ 250989 w 381008"/>
                  <a:gd name="csY31" fmla="*/ 166811 h 373762"/>
                  <a:gd name="csX32" fmla="*/ 274997 w 381008"/>
                  <a:gd name="csY32" fmla="*/ 179341 h 373762"/>
                  <a:gd name="csX33" fmla="*/ 277778 w 381008"/>
                  <a:gd name="csY33" fmla="*/ 206274 h 37376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Lst>
                <a:rect l="l" t="t" r="r" b="b"/>
                <a:pathLst>
                  <a:path w="381008" h="373762">
                    <a:moveTo>
                      <a:pt x="317515" y="48526"/>
                    </a:moveTo>
                    <a:cubicBezTo>
                      <a:pt x="276601" y="11909"/>
                      <a:pt x="223753" y="-4871"/>
                      <a:pt x="168729" y="1226"/>
                    </a:cubicBezTo>
                    <a:cubicBezTo>
                      <a:pt x="79660" y="11119"/>
                      <a:pt x="9055" y="83165"/>
                      <a:pt x="841" y="172537"/>
                    </a:cubicBezTo>
                    <a:cubicBezTo>
                      <a:pt x="-4177" y="227073"/>
                      <a:pt x="13380" y="279177"/>
                      <a:pt x="50275" y="319249"/>
                    </a:cubicBezTo>
                    <a:cubicBezTo>
                      <a:pt x="64481" y="334675"/>
                      <a:pt x="74490" y="353441"/>
                      <a:pt x="79740" y="373637"/>
                    </a:cubicBezTo>
                    <a:cubicBezTo>
                      <a:pt x="88337" y="368102"/>
                      <a:pt x="98537" y="364850"/>
                      <a:pt x="109500" y="364850"/>
                    </a:cubicBezTo>
                    <a:lnTo>
                      <a:pt x="271518" y="364850"/>
                    </a:lnTo>
                    <a:cubicBezTo>
                      <a:pt x="282567" y="364850"/>
                      <a:pt x="292845" y="368147"/>
                      <a:pt x="301484" y="373763"/>
                    </a:cubicBezTo>
                    <a:cubicBezTo>
                      <a:pt x="306969" y="353447"/>
                      <a:pt x="317425" y="334075"/>
                      <a:pt x="332267" y="317569"/>
                    </a:cubicBezTo>
                    <a:cubicBezTo>
                      <a:pt x="363698" y="282609"/>
                      <a:pt x="381009" y="237486"/>
                      <a:pt x="381009" y="190512"/>
                    </a:cubicBezTo>
                    <a:cubicBezTo>
                      <a:pt x="381009" y="136394"/>
                      <a:pt x="357866" y="84644"/>
                      <a:pt x="317515" y="48525"/>
                    </a:cubicBezTo>
                    <a:close/>
                    <a:moveTo>
                      <a:pt x="74000" y="125419"/>
                    </a:moveTo>
                    <a:cubicBezTo>
                      <a:pt x="64916" y="141659"/>
                      <a:pt x="59452" y="159272"/>
                      <a:pt x="57749" y="177769"/>
                    </a:cubicBezTo>
                    <a:cubicBezTo>
                      <a:pt x="57298" y="182713"/>
                      <a:pt x="53145" y="186424"/>
                      <a:pt x="48276" y="186424"/>
                    </a:cubicBezTo>
                    <a:cubicBezTo>
                      <a:pt x="42706" y="186451"/>
                      <a:pt x="38240" y="181575"/>
                      <a:pt x="38783" y="176029"/>
                    </a:cubicBezTo>
                    <a:cubicBezTo>
                      <a:pt x="40727" y="154859"/>
                      <a:pt x="46983" y="134702"/>
                      <a:pt x="57377" y="116117"/>
                    </a:cubicBezTo>
                    <a:cubicBezTo>
                      <a:pt x="59935" y="111522"/>
                      <a:pt x="65726" y="109875"/>
                      <a:pt x="70339" y="112456"/>
                    </a:cubicBezTo>
                    <a:cubicBezTo>
                      <a:pt x="74930" y="115024"/>
                      <a:pt x="76572" y="120823"/>
                      <a:pt x="74000" y="125418"/>
                    </a:cubicBezTo>
                    <a:close/>
                    <a:moveTo>
                      <a:pt x="277778" y="206274"/>
                    </a:moveTo>
                    <a:lnTo>
                      <a:pt x="220865" y="344373"/>
                    </a:lnTo>
                    <a:cubicBezTo>
                      <a:pt x="216288" y="355465"/>
                      <a:pt x="206247" y="362111"/>
                      <a:pt x="194829" y="362111"/>
                    </a:cubicBezTo>
                    <a:cubicBezTo>
                      <a:pt x="192885" y="362111"/>
                      <a:pt x="190899" y="361916"/>
                      <a:pt x="188890" y="361520"/>
                    </a:cubicBezTo>
                    <a:cubicBezTo>
                      <a:pt x="175119" y="358790"/>
                      <a:pt x="165868" y="347526"/>
                      <a:pt x="165868" y="333485"/>
                    </a:cubicBezTo>
                    <a:lnTo>
                      <a:pt x="165868" y="244397"/>
                    </a:lnTo>
                    <a:lnTo>
                      <a:pt x="129582" y="244295"/>
                    </a:lnTo>
                    <a:cubicBezTo>
                      <a:pt x="119862" y="244267"/>
                      <a:pt x="110909" y="239374"/>
                      <a:pt x="105644" y="231198"/>
                    </a:cubicBezTo>
                    <a:cubicBezTo>
                      <a:pt x="100375" y="223027"/>
                      <a:pt x="99617" y="212850"/>
                      <a:pt x="103612" y="203986"/>
                    </a:cubicBezTo>
                    <a:lnTo>
                      <a:pt x="166961" y="63371"/>
                    </a:lnTo>
                    <a:cubicBezTo>
                      <a:pt x="172631" y="50777"/>
                      <a:pt x="185523" y="44247"/>
                      <a:pt x="199010" y="47172"/>
                    </a:cubicBezTo>
                    <a:cubicBezTo>
                      <a:pt x="212512" y="50070"/>
                      <a:pt x="221586" y="61297"/>
                      <a:pt x="221586" y="75110"/>
                    </a:cubicBezTo>
                    <a:lnTo>
                      <a:pt x="221586" y="167188"/>
                    </a:lnTo>
                    <a:lnTo>
                      <a:pt x="250989" y="166811"/>
                    </a:lnTo>
                    <a:cubicBezTo>
                      <a:pt x="260518" y="166709"/>
                      <a:pt x="269588" y="171374"/>
                      <a:pt x="274997" y="179341"/>
                    </a:cubicBezTo>
                    <a:cubicBezTo>
                      <a:pt x="280401" y="187303"/>
                      <a:pt x="281443" y="197372"/>
                      <a:pt x="277778" y="206274"/>
                    </a:cubicBezTo>
                    <a:close/>
                  </a:path>
                </a:pathLst>
              </a:custGeom>
              <a:grpFill/>
              <a:ln w="9525" cap="flat">
                <a:noFill/>
                <a:prstDash val="solid"/>
                <a:miter/>
              </a:ln>
            </p:spPr>
            <p:txBody>
              <a:bodyPr/>
              <a:lstStyle/>
              <a:p>
                <a:endParaRPr lang="en-US"/>
              </a:p>
            </p:txBody>
          </p:sp>
        </p:grpSp>
      </p:grpSp>
      <p:grpSp>
        <p:nvGrpSpPr>
          <p:cNvPr id="61" name="Group 60">
            <a:extLst>
              <a:ext uri="{FF2B5EF4-FFF2-40B4-BE49-F238E27FC236}">
                <a16:creationId xmlns:a16="http://schemas.microsoft.com/office/drawing/2014/main" id="{E04AA11A-F492-099F-9E78-413BEC39C4B7}"/>
              </a:ext>
            </a:extLst>
          </p:cNvPr>
          <p:cNvGrpSpPr/>
          <p:nvPr/>
        </p:nvGrpSpPr>
        <p:grpSpPr>
          <a:xfrm>
            <a:off x="6250778" y="1440815"/>
            <a:ext cx="354334" cy="354334"/>
            <a:chOff x="6250778" y="1440815"/>
            <a:chExt cx="354334" cy="354334"/>
          </a:xfrm>
        </p:grpSpPr>
        <p:sp>
          <p:nvSpPr>
            <p:cNvPr id="18" name="Oval 17">
              <a:extLst>
                <a:ext uri="{FF2B5EF4-FFF2-40B4-BE49-F238E27FC236}">
                  <a16:creationId xmlns:a16="http://schemas.microsoft.com/office/drawing/2014/main" id="{A940000A-90F8-063C-F0EC-486CCD6741FD}"/>
                </a:ext>
              </a:extLst>
            </p:cNvPr>
            <p:cNvSpPr/>
            <p:nvPr/>
          </p:nvSpPr>
          <p:spPr>
            <a:xfrm>
              <a:off x="6250778"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6" name="Graphic 54">
              <a:extLst>
                <a:ext uri="{FF2B5EF4-FFF2-40B4-BE49-F238E27FC236}">
                  <a16:creationId xmlns:a16="http://schemas.microsoft.com/office/drawing/2014/main" id="{1D948A3C-FF95-0A00-8F2C-93092998E321}"/>
                </a:ext>
              </a:extLst>
            </p:cNvPr>
            <p:cNvGrpSpPr/>
            <p:nvPr/>
          </p:nvGrpSpPr>
          <p:grpSpPr>
            <a:xfrm>
              <a:off x="6338220" y="1523499"/>
              <a:ext cx="179451" cy="188967"/>
              <a:chOff x="5842730" y="3162300"/>
              <a:chExt cx="506539" cy="533400"/>
            </a:xfrm>
            <a:solidFill>
              <a:srgbClr val="2B660F"/>
            </a:solidFill>
          </p:grpSpPr>
          <p:sp>
            <p:nvSpPr>
              <p:cNvPr id="57" name="Rectangle: Rounded Corners 56">
                <a:extLst>
                  <a:ext uri="{FF2B5EF4-FFF2-40B4-BE49-F238E27FC236}">
                    <a16:creationId xmlns:a16="http://schemas.microsoft.com/office/drawing/2014/main" id="{2256B3EC-16BA-6B64-CECD-F88F2D3BC2DD}"/>
                  </a:ext>
                </a:extLst>
              </p:cNvPr>
              <p:cNvSpPr/>
              <p:nvPr/>
            </p:nvSpPr>
            <p:spPr>
              <a:xfrm>
                <a:off x="5948076" y="3248025"/>
                <a:ext cx="209550" cy="84486"/>
              </a:xfrm>
              <a:prstGeom prst="roundRect">
                <a:avLst>
                  <a:gd name="adj" fmla="val 11274"/>
                </a:avLst>
              </a:prstGeom>
              <a:grpFill/>
              <a:ln w="9525" cap="flat">
                <a:noFill/>
                <a:prstDash val="solid"/>
                <a:miter/>
              </a:ln>
            </p:spPr>
            <p:txBody>
              <a:bodyPr/>
              <a:lstStyle/>
              <a:p>
                <a:endParaRPr lang="en-US"/>
              </a:p>
            </p:txBody>
          </p:sp>
          <p:sp>
            <p:nvSpPr>
              <p:cNvPr id="58" name="Freeform: Shape 57">
                <a:extLst>
                  <a:ext uri="{FF2B5EF4-FFF2-40B4-BE49-F238E27FC236}">
                    <a16:creationId xmlns:a16="http://schemas.microsoft.com/office/drawing/2014/main" id="{B4518E52-9323-7350-366B-0649A438608F}"/>
                  </a:ext>
                </a:extLst>
              </p:cNvPr>
              <p:cNvSpPr/>
              <p:nvPr/>
            </p:nvSpPr>
            <p:spPr>
              <a:xfrm>
                <a:off x="6062032" y="3414061"/>
                <a:ext cx="100378" cy="141144"/>
              </a:xfrm>
              <a:custGeom>
                <a:avLst/>
                <a:gdLst>
                  <a:gd name="csX0" fmla="*/ 439 w 100378"/>
                  <a:gd name="csY0" fmla="*/ 113236 h 141144"/>
                  <a:gd name="csX1" fmla="*/ 4821 w 100378"/>
                  <a:gd name="csY1" fmla="*/ 132286 h 141144"/>
                  <a:gd name="csX2" fmla="*/ 14346 w 100378"/>
                  <a:gd name="csY2" fmla="*/ 111807 h 141144"/>
                  <a:gd name="csX3" fmla="*/ 52446 w 100378"/>
                  <a:gd name="csY3" fmla="*/ 64182 h 141144"/>
                  <a:gd name="csX4" fmla="*/ 53589 w 100378"/>
                  <a:gd name="csY4" fmla="*/ 58848 h 141144"/>
                  <a:gd name="csX5" fmla="*/ 65114 w 100378"/>
                  <a:gd name="csY5" fmla="*/ 51324 h 141144"/>
                  <a:gd name="csX6" fmla="*/ 72639 w 100378"/>
                  <a:gd name="csY6" fmla="*/ 62849 h 141144"/>
                  <a:gd name="csX7" fmla="*/ 46064 w 100378"/>
                  <a:gd name="csY7" fmla="*/ 104759 h 141144"/>
                  <a:gd name="csX8" fmla="*/ 31967 w 100378"/>
                  <a:gd name="csY8" fmla="*/ 119713 h 141144"/>
                  <a:gd name="csX9" fmla="*/ 21585 w 100378"/>
                  <a:gd name="csY9" fmla="*/ 141144 h 141144"/>
                  <a:gd name="csX10" fmla="*/ 99785 w 100378"/>
                  <a:gd name="csY10" fmla="*/ 47228 h 141144"/>
                  <a:gd name="csX11" fmla="*/ 94927 w 100378"/>
                  <a:gd name="csY11" fmla="*/ 5413 h 141144"/>
                  <a:gd name="csX12" fmla="*/ 87828 w 100378"/>
                  <a:gd name="csY12" fmla="*/ 62 h 141144"/>
                  <a:gd name="csX13" fmla="*/ 85402 w 100378"/>
                  <a:gd name="csY13" fmla="*/ 936 h 141144"/>
                  <a:gd name="csX14" fmla="*/ 35491 w 100378"/>
                  <a:gd name="csY14" fmla="*/ 36465 h 141144"/>
                  <a:gd name="csX15" fmla="*/ 439 w 100378"/>
                  <a:gd name="csY15" fmla="*/ 113236 h 14114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00378" h="141144">
                    <a:moveTo>
                      <a:pt x="439" y="113236"/>
                    </a:moveTo>
                    <a:cubicBezTo>
                      <a:pt x="1169" y="119732"/>
                      <a:pt x="2639" y="126124"/>
                      <a:pt x="4821" y="132286"/>
                    </a:cubicBezTo>
                    <a:lnTo>
                      <a:pt x="14346" y="111807"/>
                    </a:lnTo>
                    <a:cubicBezTo>
                      <a:pt x="22156" y="91805"/>
                      <a:pt x="48541" y="86185"/>
                      <a:pt x="52446" y="64182"/>
                    </a:cubicBezTo>
                    <a:lnTo>
                      <a:pt x="53589" y="58848"/>
                    </a:lnTo>
                    <a:cubicBezTo>
                      <a:pt x="54694" y="53588"/>
                      <a:pt x="59854" y="50219"/>
                      <a:pt x="65114" y="51324"/>
                    </a:cubicBezTo>
                    <a:cubicBezTo>
                      <a:pt x="70375" y="52428"/>
                      <a:pt x="73744" y="57588"/>
                      <a:pt x="72639" y="62849"/>
                    </a:cubicBezTo>
                    <a:cubicBezTo>
                      <a:pt x="70148" y="79964"/>
                      <a:pt x="60483" y="95207"/>
                      <a:pt x="46064" y="104759"/>
                    </a:cubicBezTo>
                    <a:cubicBezTo>
                      <a:pt x="40084" y="108358"/>
                      <a:pt x="35208" y="113531"/>
                      <a:pt x="31967" y="119713"/>
                    </a:cubicBezTo>
                    <a:lnTo>
                      <a:pt x="21585" y="141144"/>
                    </a:lnTo>
                    <a:cubicBezTo>
                      <a:pt x="69210" y="135144"/>
                      <a:pt x="105500" y="96567"/>
                      <a:pt x="99785" y="47228"/>
                    </a:cubicBezTo>
                    <a:lnTo>
                      <a:pt x="94927" y="5413"/>
                    </a:lnTo>
                    <a:cubicBezTo>
                      <a:pt x="94445" y="1975"/>
                      <a:pt x="91266" y="-421"/>
                      <a:pt x="87828" y="62"/>
                    </a:cubicBezTo>
                    <a:cubicBezTo>
                      <a:pt x="86967" y="183"/>
                      <a:pt x="86142" y="480"/>
                      <a:pt x="85402" y="936"/>
                    </a:cubicBezTo>
                    <a:lnTo>
                      <a:pt x="35491" y="36465"/>
                    </a:lnTo>
                    <a:cubicBezTo>
                      <a:pt x="10757" y="53811"/>
                      <a:pt x="-2655" y="83184"/>
                      <a:pt x="439" y="113236"/>
                    </a:cubicBezTo>
                    <a:close/>
                  </a:path>
                </a:pathLst>
              </a:custGeom>
              <a:grpFill/>
              <a:ln w="9525" cap="flat">
                <a:noFill/>
                <a:prstDash val="solid"/>
                <a:miter/>
              </a:ln>
            </p:spPr>
            <p:txBody>
              <a:bodyPr/>
              <a:lstStyle/>
              <a:p>
                <a:endParaRPr lang="en-US"/>
              </a:p>
            </p:txBody>
          </p:sp>
          <p:sp>
            <p:nvSpPr>
              <p:cNvPr id="59" name="Freeform: Shape 58">
                <a:extLst>
                  <a:ext uri="{FF2B5EF4-FFF2-40B4-BE49-F238E27FC236}">
                    <a16:creationId xmlns:a16="http://schemas.microsoft.com/office/drawing/2014/main" id="{596D3EC6-E54B-ED07-4252-0CD4B8579E69}"/>
                  </a:ext>
                </a:extLst>
              </p:cNvPr>
              <p:cNvSpPr/>
              <p:nvPr/>
            </p:nvSpPr>
            <p:spPr>
              <a:xfrm>
                <a:off x="5943800" y="3426524"/>
                <a:ext cx="108003" cy="117496"/>
              </a:xfrm>
              <a:custGeom>
                <a:avLst/>
                <a:gdLst>
                  <a:gd name="csX0" fmla="*/ 7038 w 108003"/>
                  <a:gd name="csY0" fmla="*/ 49053 h 117496"/>
                  <a:gd name="csX1" fmla="*/ 95049 w 108003"/>
                  <a:gd name="csY1" fmla="*/ 117252 h 117496"/>
                  <a:gd name="csX2" fmla="*/ 102002 w 108003"/>
                  <a:gd name="csY2" fmla="*/ 116681 h 117496"/>
                  <a:gd name="csX3" fmla="*/ 100097 w 108003"/>
                  <a:gd name="csY3" fmla="*/ 106679 h 117496"/>
                  <a:gd name="csX4" fmla="*/ 74951 w 108003"/>
                  <a:gd name="csY4" fmla="*/ 87629 h 117496"/>
                  <a:gd name="csX5" fmla="*/ 37899 w 108003"/>
                  <a:gd name="csY5" fmla="*/ 55530 h 117496"/>
                  <a:gd name="csX6" fmla="*/ 41471 w 108003"/>
                  <a:gd name="csY6" fmla="*/ 42433 h 117496"/>
                  <a:gd name="csX7" fmla="*/ 54568 w 108003"/>
                  <a:gd name="csY7" fmla="*/ 46005 h 117496"/>
                  <a:gd name="csX8" fmla="*/ 80666 w 108003"/>
                  <a:gd name="csY8" fmla="*/ 69341 h 117496"/>
                  <a:gd name="csX9" fmla="*/ 100288 w 108003"/>
                  <a:gd name="csY9" fmla="*/ 78866 h 117496"/>
                  <a:gd name="csX10" fmla="*/ 108003 w 108003"/>
                  <a:gd name="csY10" fmla="*/ 50291 h 117496"/>
                  <a:gd name="csX11" fmla="*/ 66474 w 108003"/>
                  <a:gd name="csY11" fmla="*/ 19907 h 117496"/>
                  <a:gd name="csX12" fmla="*/ 8372 w 108003"/>
                  <a:gd name="csY12" fmla="*/ 285 h 117496"/>
                  <a:gd name="csX13" fmla="*/ 283 w 108003"/>
                  <a:gd name="csY13" fmla="*/ 4584 h 117496"/>
                  <a:gd name="csX14" fmla="*/ 85 w 108003"/>
                  <a:gd name="csY14" fmla="*/ 7524 h 11749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108003" h="117496">
                    <a:moveTo>
                      <a:pt x="7038" y="49053"/>
                    </a:moveTo>
                    <a:cubicBezTo>
                      <a:pt x="14499" y="91020"/>
                      <a:pt x="52549" y="120504"/>
                      <a:pt x="95049" y="117252"/>
                    </a:cubicBezTo>
                    <a:lnTo>
                      <a:pt x="102002" y="116681"/>
                    </a:lnTo>
                    <a:cubicBezTo>
                      <a:pt x="101184" y="113384"/>
                      <a:pt x="100548" y="110046"/>
                      <a:pt x="100097" y="106679"/>
                    </a:cubicBezTo>
                    <a:cubicBezTo>
                      <a:pt x="93876" y="97892"/>
                      <a:pt x="85095" y="91239"/>
                      <a:pt x="74951" y="87629"/>
                    </a:cubicBezTo>
                    <a:cubicBezTo>
                      <a:pt x="58594" y="82693"/>
                      <a:pt x="45117" y="71017"/>
                      <a:pt x="37899" y="55530"/>
                    </a:cubicBezTo>
                    <a:cubicBezTo>
                      <a:pt x="35269" y="50927"/>
                      <a:pt x="36868" y="45063"/>
                      <a:pt x="41471" y="42433"/>
                    </a:cubicBezTo>
                    <a:cubicBezTo>
                      <a:pt x="46074" y="39803"/>
                      <a:pt x="51938" y="41402"/>
                      <a:pt x="54568" y="46005"/>
                    </a:cubicBezTo>
                    <a:cubicBezTo>
                      <a:pt x="59403" y="57250"/>
                      <a:pt x="68953" y="65789"/>
                      <a:pt x="80666" y="69341"/>
                    </a:cubicBezTo>
                    <a:cubicBezTo>
                      <a:pt x="87758" y="71227"/>
                      <a:pt x="94420" y="74461"/>
                      <a:pt x="100288" y="78866"/>
                    </a:cubicBezTo>
                    <a:cubicBezTo>
                      <a:pt x="101495" y="69024"/>
                      <a:pt x="104092" y="59403"/>
                      <a:pt x="108003" y="50291"/>
                    </a:cubicBezTo>
                    <a:cubicBezTo>
                      <a:pt x="97721" y="36027"/>
                      <a:pt x="83182" y="25389"/>
                      <a:pt x="66474" y="19907"/>
                    </a:cubicBezTo>
                    <a:lnTo>
                      <a:pt x="8372" y="285"/>
                    </a:lnTo>
                    <a:cubicBezTo>
                      <a:pt x="4951" y="-761"/>
                      <a:pt x="1330" y="1163"/>
                      <a:pt x="283" y="4584"/>
                    </a:cubicBezTo>
                    <a:cubicBezTo>
                      <a:pt x="-8" y="5536"/>
                      <a:pt x="-76" y="6542"/>
                      <a:pt x="85" y="7524"/>
                    </a:cubicBezTo>
                    <a:close/>
                  </a:path>
                </a:pathLst>
              </a:custGeom>
              <a:grpFill/>
              <a:ln w="9525" cap="flat">
                <a:noFill/>
                <a:prstDash val="solid"/>
                <a:miter/>
              </a:ln>
            </p:spPr>
            <p:txBody>
              <a:bodyPr/>
              <a:lstStyle/>
              <a:p>
                <a:endParaRPr lang="en-US"/>
              </a:p>
            </p:txBody>
          </p:sp>
          <p:sp>
            <p:nvSpPr>
              <p:cNvPr id="60" name="Freeform: Shape 59">
                <a:extLst>
                  <a:ext uri="{FF2B5EF4-FFF2-40B4-BE49-F238E27FC236}">
                    <a16:creationId xmlns:a16="http://schemas.microsoft.com/office/drawing/2014/main" id="{EDBFADFC-7268-628A-3494-8E3F08C30B84}"/>
                  </a:ext>
                </a:extLst>
              </p:cNvPr>
              <p:cNvSpPr/>
              <p:nvPr/>
            </p:nvSpPr>
            <p:spPr>
              <a:xfrm>
                <a:off x="5842730" y="3162300"/>
                <a:ext cx="506539" cy="533400"/>
              </a:xfrm>
              <a:custGeom>
                <a:avLst/>
                <a:gdLst>
                  <a:gd name="csX0" fmla="*/ 481870 w 506539"/>
                  <a:gd name="csY0" fmla="*/ 78010 h 533400"/>
                  <a:gd name="csX1" fmla="*/ 453295 w 506539"/>
                  <a:gd name="csY1" fmla="*/ 67247 h 533400"/>
                  <a:gd name="csX2" fmla="*/ 441008 w 506539"/>
                  <a:gd name="csY2" fmla="*/ 72866 h 533400"/>
                  <a:gd name="csX3" fmla="*/ 446627 w 506539"/>
                  <a:gd name="csY3" fmla="*/ 85154 h 533400"/>
                  <a:gd name="csX4" fmla="*/ 475202 w 506539"/>
                  <a:gd name="csY4" fmla="*/ 95822 h 533400"/>
                  <a:gd name="csX5" fmla="*/ 487490 w 506539"/>
                  <a:gd name="csY5" fmla="*/ 114300 h 533400"/>
                  <a:gd name="csX6" fmla="*/ 487490 w 506539"/>
                  <a:gd name="csY6" fmla="*/ 130874 h 533400"/>
                  <a:gd name="csX7" fmla="*/ 448723 w 506539"/>
                  <a:gd name="csY7" fmla="*/ 161925 h 533400"/>
                  <a:gd name="csX8" fmla="*/ 437960 w 506539"/>
                  <a:gd name="csY8" fmla="*/ 184309 h 533400"/>
                  <a:gd name="csX9" fmla="*/ 437960 w 506539"/>
                  <a:gd name="csY9" fmla="*/ 209550 h 533400"/>
                  <a:gd name="csX10" fmla="*/ 466535 w 506539"/>
                  <a:gd name="csY10" fmla="*/ 238125 h 533400"/>
                  <a:gd name="csX11" fmla="*/ 487490 w 506539"/>
                  <a:gd name="csY11" fmla="*/ 238125 h 533400"/>
                  <a:gd name="csX12" fmla="*/ 487490 w 506539"/>
                  <a:gd name="csY12" fmla="*/ 385000 h 533400"/>
                  <a:gd name="csX13" fmla="*/ 467868 w 506539"/>
                  <a:gd name="csY13" fmla="*/ 404622 h 533400"/>
                  <a:gd name="csX14" fmla="*/ 448246 w 506539"/>
                  <a:gd name="csY14" fmla="*/ 385000 h 533400"/>
                  <a:gd name="csX15" fmla="*/ 448247 w 506539"/>
                  <a:gd name="csY15" fmla="*/ 333947 h 533400"/>
                  <a:gd name="csX16" fmla="*/ 409575 w 506539"/>
                  <a:gd name="csY16" fmla="*/ 295275 h 533400"/>
                  <a:gd name="csX17" fmla="*/ 383858 w 506539"/>
                  <a:gd name="csY17" fmla="*/ 295275 h 533400"/>
                  <a:gd name="csX18" fmla="*/ 383858 w 506539"/>
                  <a:gd name="csY18" fmla="*/ 38100 h 533400"/>
                  <a:gd name="csX19" fmla="*/ 345758 w 506539"/>
                  <a:gd name="csY19" fmla="*/ 0 h 533400"/>
                  <a:gd name="csX20" fmla="*/ 74581 w 506539"/>
                  <a:gd name="csY20" fmla="*/ 0 h 533400"/>
                  <a:gd name="csX21" fmla="*/ 36481 w 506539"/>
                  <a:gd name="csY21" fmla="*/ 38100 h 533400"/>
                  <a:gd name="csX22" fmla="*/ 36481 w 506539"/>
                  <a:gd name="csY22" fmla="*/ 457200 h 533400"/>
                  <a:gd name="csX23" fmla="*/ 28575 w 506539"/>
                  <a:gd name="csY23" fmla="*/ 457200 h 533400"/>
                  <a:gd name="csX24" fmla="*/ 0 w 506539"/>
                  <a:gd name="csY24" fmla="*/ 485775 h 533400"/>
                  <a:gd name="csX25" fmla="*/ 0 w 506539"/>
                  <a:gd name="csY25" fmla="*/ 504825 h 533400"/>
                  <a:gd name="csX26" fmla="*/ 28575 w 506539"/>
                  <a:gd name="csY26" fmla="*/ 533400 h 533400"/>
                  <a:gd name="csX27" fmla="*/ 391763 w 506539"/>
                  <a:gd name="csY27" fmla="*/ 533400 h 533400"/>
                  <a:gd name="csX28" fmla="*/ 420338 w 506539"/>
                  <a:gd name="csY28" fmla="*/ 504825 h 533400"/>
                  <a:gd name="csX29" fmla="*/ 420338 w 506539"/>
                  <a:gd name="csY29" fmla="*/ 485775 h 533400"/>
                  <a:gd name="csX30" fmla="*/ 391763 w 506539"/>
                  <a:gd name="csY30" fmla="*/ 457200 h 533400"/>
                  <a:gd name="csX31" fmla="*/ 383858 w 506539"/>
                  <a:gd name="csY31" fmla="*/ 457200 h 533400"/>
                  <a:gd name="csX32" fmla="*/ 383858 w 506539"/>
                  <a:gd name="csY32" fmla="*/ 314325 h 533400"/>
                  <a:gd name="csX33" fmla="*/ 409575 w 506539"/>
                  <a:gd name="csY33" fmla="*/ 314325 h 533400"/>
                  <a:gd name="csX34" fmla="*/ 429197 w 506539"/>
                  <a:gd name="csY34" fmla="*/ 333947 h 533400"/>
                  <a:gd name="csX35" fmla="*/ 429197 w 506539"/>
                  <a:gd name="csY35" fmla="*/ 385000 h 533400"/>
                  <a:gd name="csX36" fmla="*/ 467868 w 506539"/>
                  <a:gd name="csY36" fmla="*/ 423672 h 533400"/>
                  <a:gd name="csX37" fmla="*/ 506540 w 506539"/>
                  <a:gd name="csY37" fmla="*/ 385000 h 533400"/>
                  <a:gd name="csX38" fmla="*/ 506540 w 506539"/>
                  <a:gd name="csY38" fmla="*/ 114300 h 533400"/>
                  <a:gd name="csX39" fmla="*/ 481870 w 506539"/>
                  <a:gd name="csY39" fmla="*/ 78010 h 533400"/>
                  <a:gd name="csX40" fmla="*/ 333947 w 506539"/>
                  <a:gd name="csY40" fmla="*/ 95250 h 533400"/>
                  <a:gd name="csX41" fmla="*/ 333947 w 506539"/>
                  <a:gd name="csY41" fmla="*/ 160687 h 533400"/>
                  <a:gd name="csX42" fmla="*/ 305372 w 506539"/>
                  <a:gd name="csY42" fmla="*/ 189262 h 533400"/>
                  <a:gd name="csX43" fmla="*/ 114871 w 506539"/>
                  <a:gd name="csY43" fmla="*/ 189262 h 533400"/>
                  <a:gd name="csX44" fmla="*/ 86296 w 506539"/>
                  <a:gd name="csY44" fmla="*/ 160687 h 533400"/>
                  <a:gd name="csX45" fmla="*/ 86297 w 506539"/>
                  <a:gd name="csY45" fmla="*/ 95250 h 533400"/>
                  <a:gd name="csX46" fmla="*/ 114872 w 506539"/>
                  <a:gd name="csY46" fmla="*/ 66675 h 533400"/>
                  <a:gd name="csX47" fmla="*/ 305372 w 506539"/>
                  <a:gd name="csY47" fmla="*/ 66675 h 533400"/>
                  <a:gd name="csX48" fmla="*/ 333947 w 506539"/>
                  <a:gd name="csY48" fmla="*/ 95250 h 533400"/>
                  <a:gd name="csX49" fmla="*/ 90392 w 506539"/>
                  <a:gd name="csY49" fmla="*/ 251365 h 533400"/>
                  <a:gd name="csX50" fmla="*/ 114967 w 506539"/>
                  <a:gd name="csY50" fmla="*/ 246507 h 533400"/>
                  <a:gd name="csX51" fmla="*/ 218789 w 506539"/>
                  <a:gd name="csY51" fmla="*/ 297275 h 533400"/>
                  <a:gd name="csX52" fmla="*/ 293180 w 506539"/>
                  <a:gd name="csY52" fmla="*/ 237077 h 533400"/>
                  <a:gd name="csX53" fmla="*/ 328712 w 506539"/>
                  <a:gd name="csY53" fmla="*/ 243456 h 533400"/>
                  <a:gd name="csX54" fmla="*/ 333089 w 506539"/>
                  <a:gd name="csY54" fmla="*/ 254889 h 533400"/>
                  <a:gd name="csX55" fmla="*/ 338042 w 506539"/>
                  <a:gd name="csY55" fmla="*/ 296799 h 533400"/>
                  <a:gd name="csX56" fmla="*/ 258604 w 506539"/>
                  <a:gd name="csY56" fmla="*/ 408527 h 533400"/>
                  <a:gd name="csX57" fmla="*/ 232791 w 506539"/>
                  <a:gd name="csY57" fmla="*/ 413575 h 533400"/>
                  <a:gd name="csX58" fmla="*/ 210026 w 506539"/>
                  <a:gd name="csY58" fmla="*/ 400050 h 533400"/>
                  <a:gd name="csX59" fmla="*/ 89345 w 506539"/>
                  <a:gd name="csY59" fmla="*/ 317087 h 533400"/>
                  <a:gd name="csX60" fmla="*/ 81820 w 506539"/>
                  <a:gd name="csY60" fmla="*/ 275082 h 533400"/>
                  <a:gd name="csX61" fmla="*/ 90392 w 506539"/>
                  <a:gd name="csY61" fmla="*/ 251365 h 533400"/>
                  <a:gd name="csX62" fmla="*/ 401288 w 506539"/>
                  <a:gd name="csY62" fmla="*/ 485775 h 533400"/>
                  <a:gd name="csX63" fmla="*/ 401288 w 506539"/>
                  <a:gd name="csY63" fmla="*/ 504825 h 533400"/>
                  <a:gd name="csX64" fmla="*/ 391763 w 506539"/>
                  <a:gd name="csY64" fmla="*/ 514350 h 533400"/>
                  <a:gd name="csX65" fmla="*/ 28575 w 506539"/>
                  <a:gd name="csY65" fmla="*/ 514350 h 533400"/>
                  <a:gd name="csX66" fmla="*/ 19050 w 506539"/>
                  <a:gd name="csY66" fmla="*/ 504825 h 533400"/>
                  <a:gd name="csX67" fmla="*/ 19050 w 506539"/>
                  <a:gd name="csY67" fmla="*/ 485775 h 533400"/>
                  <a:gd name="csX68" fmla="*/ 28575 w 506539"/>
                  <a:gd name="csY68" fmla="*/ 476250 h 533400"/>
                  <a:gd name="csX69" fmla="*/ 391763 w 506539"/>
                  <a:gd name="csY69" fmla="*/ 476250 h 533400"/>
                  <a:gd name="csX70" fmla="*/ 401288 w 506539"/>
                  <a:gd name="csY70" fmla="*/ 485775 h 533400"/>
                  <a:gd name="csX71" fmla="*/ 466535 w 506539"/>
                  <a:gd name="csY71" fmla="*/ 219075 h 533400"/>
                  <a:gd name="csX72" fmla="*/ 457010 w 506539"/>
                  <a:gd name="csY72" fmla="*/ 209550 h 533400"/>
                  <a:gd name="csX73" fmla="*/ 457010 w 506539"/>
                  <a:gd name="csY73" fmla="*/ 184118 h 533400"/>
                  <a:gd name="csX74" fmla="*/ 460534 w 506539"/>
                  <a:gd name="csY74" fmla="*/ 176593 h 533400"/>
                  <a:gd name="csX75" fmla="*/ 487490 w 506539"/>
                  <a:gd name="csY75" fmla="*/ 155162 h 533400"/>
                  <a:gd name="csX76" fmla="*/ 487490 w 506539"/>
                  <a:gd name="csY76" fmla="*/ 219075 h 5334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Lst>
                <a:rect l="l" t="t" r="r" b="b"/>
                <a:pathLst>
                  <a:path w="506539" h="533400">
                    <a:moveTo>
                      <a:pt x="481870" y="78010"/>
                    </a:moveTo>
                    <a:lnTo>
                      <a:pt x="453295" y="67247"/>
                    </a:lnTo>
                    <a:cubicBezTo>
                      <a:pt x="448350" y="65405"/>
                      <a:pt x="442849" y="67921"/>
                      <a:pt x="441008" y="72866"/>
                    </a:cubicBezTo>
                    <a:cubicBezTo>
                      <a:pt x="439166" y="77811"/>
                      <a:pt x="441682" y="83312"/>
                      <a:pt x="446627" y="85154"/>
                    </a:cubicBezTo>
                    <a:lnTo>
                      <a:pt x="475202" y="95822"/>
                    </a:lnTo>
                    <a:cubicBezTo>
                      <a:pt x="482687" y="98894"/>
                      <a:pt x="487551" y="106209"/>
                      <a:pt x="487490" y="114300"/>
                    </a:cubicBezTo>
                    <a:lnTo>
                      <a:pt x="487490" y="130874"/>
                    </a:lnTo>
                    <a:lnTo>
                      <a:pt x="448723" y="161925"/>
                    </a:lnTo>
                    <a:cubicBezTo>
                      <a:pt x="441910" y="167355"/>
                      <a:pt x="437948" y="175597"/>
                      <a:pt x="437960" y="184309"/>
                    </a:cubicBezTo>
                    <a:lnTo>
                      <a:pt x="437960" y="209550"/>
                    </a:lnTo>
                    <a:cubicBezTo>
                      <a:pt x="437960" y="225332"/>
                      <a:pt x="450753" y="238125"/>
                      <a:pt x="466535" y="238125"/>
                    </a:cubicBezTo>
                    <a:lnTo>
                      <a:pt x="487490" y="238125"/>
                    </a:lnTo>
                    <a:lnTo>
                      <a:pt x="487490" y="385000"/>
                    </a:lnTo>
                    <a:cubicBezTo>
                      <a:pt x="487490" y="395837"/>
                      <a:pt x="478705" y="404622"/>
                      <a:pt x="467868" y="404622"/>
                    </a:cubicBezTo>
                    <a:cubicBezTo>
                      <a:pt x="457031" y="404622"/>
                      <a:pt x="448246" y="395837"/>
                      <a:pt x="448246" y="385000"/>
                    </a:cubicBezTo>
                    <a:lnTo>
                      <a:pt x="448247" y="333947"/>
                    </a:lnTo>
                    <a:cubicBezTo>
                      <a:pt x="448247" y="312589"/>
                      <a:pt x="430933" y="295275"/>
                      <a:pt x="409575" y="295275"/>
                    </a:cubicBezTo>
                    <a:lnTo>
                      <a:pt x="383858" y="295275"/>
                    </a:lnTo>
                    <a:lnTo>
                      <a:pt x="383858" y="38100"/>
                    </a:lnTo>
                    <a:cubicBezTo>
                      <a:pt x="383858" y="17058"/>
                      <a:pt x="366800" y="0"/>
                      <a:pt x="345758" y="0"/>
                    </a:cubicBezTo>
                    <a:lnTo>
                      <a:pt x="74581" y="0"/>
                    </a:lnTo>
                    <a:cubicBezTo>
                      <a:pt x="53539" y="0"/>
                      <a:pt x="36481" y="17058"/>
                      <a:pt x="36481" y="38100"/>
                    </a:cubicBezTo>
                    <a:lnTo>
                      <a:pt x="36481" y="457200"/>
                    </a:lnTo>
                    <a:lnTo>
                      <a:pt x="28575" y="457200"/>
                    </a:lnTo>
                    <a:cubicBezTo>
                      <a:pt x="12793" y="457200"/>
                      <a:pt x="0" y="469993"/>
                      <a:pt x="0" y="485775"/>
                    </a:cubicBezTo>
                    <a:lnTo>
                      <a:pt x="0" y="504825"/>
                    </a:lnTo>
                    <a:cubicBezTo>
                      <a:pt x="0" y="520607"/>
                      <a:pt x="12793" y="533400"/>
                      <a:pt x="28575" y="533400"/>
                    </a:cubicBezTo>
                    <a:lnTo>
                      <a:pt x="391763" y="533400"/>
                    </a:lnTo>
                    <a:cubicBezTo>
                      <a:pt x="407545" y="533400"/>
                      <a:pt x="420338" y="520607"/>
                      <a:pt x="420338" y="504825"/>
                    </a:cubicBezTo>
                    <a:lnTo>
                      <a:pt x="420338" y="485775"/>
                    </a:lnTo>
                    <a:cubicBezTo>
                      <a:pt x="420338" y="469993"/>
                      <a:pt x="407545" y="457200"/>
                      <a:pt x="391763" y="457200"/>
                    </a:cubicBezTo>
                    <a:lnTo>
                      <a:pt x="383858" y="457200"/>
                    </a:lnTo>
                    <a:lnTo>
                      <a:pt x="383858" y="314325"/>
                    </a:lnTo>
                    <a:lnTo>
                      <a:pt x="409575" y="314325"/>
                    </a:lnTo>
                    <a:cubicBezTo>
                      <a:pt x="420412" y="314325"/>
                      <a:pt x="429197" y="323110"/>
                      <a:pt x="429197" y="333947"/>
                    </a:cubicBezTo>
                    <a:lnTo>
                      <a:pt x="429197" y="385000"/>
                    </a:lnTo>
                    <a:cubicBezTo>
                      <a:pt x="429197" y="406358"/>
                      <a:pt x="446510" y="423672"/>
                      <a:pt x="467868" y="423672"/>
                    </a:cubicBezTo>
                    <a:cubicBezTo>
                      <a:pt x="489226" y="423672"/>
                      <a:pt x="506540" y="406358"/>
                      <a:pt x="506540" y="385000"/>
                    </a:cubicBezTo>
                    <a:lnTo>
                      <a:pt x="506540" y="114300"/>
                    </a:lnTo>
                    <a:cubicBezTo>
                      <a:pt x="506586" y="98274"/>
                      <a:pt x="496789" y="83862"/>
                      <a:pt x="481870" y="78010"/>
                    </a:cubicBezTo>
                    <a:close/>
                    <a:moveTo>
                      <a:pt x="333947" y="95250"/>
                    </a:moveTo>
                    <a:lnTo>
                      <a:pt x="333947" y="160687"/>
                    </a:lnTo>
                    <a:cubicBezTo>
                      <a:pt x="333947" y="176468"/>
                      <a:pt x="321153" y="189262"/>
                      <a:pt x="305372" y="189262"/>
                    </a:cubicBezTo>
                    <a:lnTo>
                      <a:pt x="114871" y="189262"/>
                    </a:lnTo>
                    <a:cubicBezTo>
                      <a:pt x="99090" y="189262"/>
                      <a:pt x="86296" y="176468"/>
                      <a:pt x="86296" y="160687"/>
                    </a:cubicBezTo>
                    <a:lnTo>
                      <a:pt x="86297" y="95250"/>
                    </a:lnTo>
                    <a:cubicBezTo>
                      <a:pt x="86297" y="79468"/>
                      <a:pt x="99090" y="66675"/>
                      <a:pt x="114872" y="66675"/>
                    </a:cubicBezTo>
                    <a:lnTo>
                      <a:pt x="305372" y="66675"/>
                    </a:lnTo>
                    <a:cubicBezTo>
                      <a:pt x="321153" y="66675"/>
                      <a:pt x="333947" y="79468"/>
                      <a:pt x="333947" y="95250"/>
                    </a:cubicBezTo>
                    <a:close/>
                    <a:moveTo>
                      <a:pt x="90392" y="251365"/>
                    </a:moveTo>
                    <a:cubicBezTo>
                      <a:pt x="97137" y="245490"/>
                      <a:pt x="106494" y="243641"/>
                      <a:pt x="114967" y="246507"/>
                    </a:cubicBezTo>
                    <a:cubicBezTo>
                      <a:pt x="146495" y="258223"/>
                      <a:pt x="197930" y="268224"/>
                      <a:pt x="218789" y="297275"/>
                    </a:cubicBezTo>
                    <a:cubicBezTo>
                      <a:pt x="230981" y="277082"/>
                      <a:pt x="274606" y="251365"/>
                      <a:pt x="293180" y="237077"/>
                    </a:cubicBezTo>
                    <a:cubicBezTo>
                      <a:pt x="304753" y="229027"/>
                      <a:pt x="320661" y="231882"/>
                      <a:pt x="328712" y="243456"/>
                    </a:cubicBezTo>
                    <a:cubicBezTo>
                      <a:pt x="331077" y="246855"/>
                      <a:pt x="332579" y="250779"/>
                      <a:pt x="333089" y="254889"/>
                    </a:cubicBezTo>
                    <a:lnTo>
                      <a:pt x="338042" y="296799"/>
                    </a:lnTo>
                    <a:cubicBezTo>
                      <a:pt x="344216" y="348924"/>
                      <a:pt x="309865" y="397238"/>
                      <a:pt x="258604" y="408527"/>
                    </a:cubicBezTo>
                    <a:cubicBezTo>
                      <a:pt x="250102" y="410695"/>
                      <a:pt x="241484" y="412381"/>
                      <a:pt x="232791" y="413575"/>
                    </a:cubicBezTo>
                    <a:cubicBezTo>
                      <a:pt x="223281" y="413641"/>
                      <a:pt x="214516" y="408434"/>
                      <a:pt x="210026" y="400050"/>
                    </a:cubicBezTo>
                    <a:cubicBezTo>
                      <a:pt x="153837" y="410255"/>
                      <a:pt x="99941" y="373204"/>
                      <a:pt x="89345" y="317087"/>
                    </a:cubicBezTo>
                    <a:lnTo>
                      <a:pt x="81820" y="275082"/>
                    </a:lnTo>
                    <a:cubicBezTo>
                      <a:pt x="80220" y="266211"/>
                      <a:pt x="83490" y="257163"/>
                      <a:pt x="90392" y="251365"/>
                    </a:cubicBezTo>
                    <a:close/>
                    <a:moveTo>
                      <a:pt x="401288" y="485775"/>
                    </a:moveTo>
                    <a:lnTo>
                      <a:pt x="401288" y="504825"/>
                    </a:lnTo>
                    <a:cubicBezTo>
                      <a:pt x="401288" y="510086"/>
                      <a:pt x="397024" y="514350"/>
                      <a:pt x="391763" y="514350"/>
                    </a:cubicBezTo>
                    <a:lnTo>
                      <a:pt x="28575" y="514350"/>
                    </a:lnTo>
                    <a:cubicBezTo>
                      <a:pt x="23314" y="514350"/>
                      <a:pt x="19050" y="510086"/>
                      <a:pt x="19050" y="504825"/>
                    </a:cubicBezTo>
                    <a:lnTo>
                      <a:pt x="19050" y="485775"/>
                    </a:lnTo>
                    <a:cubicBezTo>
                      <a:pt x="19050" y="480515"/>
                      <a:pt x="23314" y="476250"/>
                      <a:pt x="28575" y="476250"/>
                    </a:cubicBezTo>
                    <a:lnTo>
                      <a:pt x="391763" y="476250"/>
                    </a:lnTo>
                    <a:cubicBezTo>
                      <a:pt x="397024" y="476250"/>
                      <a:pt x="401288" y="480515"/>
                      <a:pt x="401288" y="485775"/>
                    </a:cubicBezTo>
                    <a:close/>
                    <a:moveTo>
                      <a:pt x="466535" y="219075"/>
                    </a:moveTo>
                    <a:cubicBezTo>
                      <a:pt x="461274" y="219075"/>
                      <a:pt x="457010" y="214811"/>
                      <a:pt x="457010" y="209550"/>
                    </a:cubicBezTo>
                    <a:lnTo>
                      <a:pt x="457010" y="184118"/>
                    </a:lnTo>
                    <a:cubicBezTo>
                      <a:pt x="456971" y="181203"/>
                      <a:pt x="458269" y="178430"/>
                      <a:pt x="460534" y="176593"/>
                    </a:cubicBezTo>
                    <a:lnTo>
                      <a:pt x="487490" y="155162"/>
                    </a:lnTo>
                    <a:lnTo>
                      <a:pt x="487490" y="219075"/>
                    </a:lnTo>
                    <a:close/>
                  </a:path>
                </a:pathLst>
              </a:custGeom>
              <a:grpFill/>
              <a:ln w="9525" cap="flat">
                <a:noFill/>
                <a:prstDash val="solid"/>
                <a:miter/>
              </a:ln>
            </p:spPr>
            <p:txBody>
              <a:bodyPr/>
              <a:lstStyle/>
              <a:p>
                <a:endParaRPr lang="en-US"/>
              </a:p>
            </p:txBody>
          </p:sp>
        </p:grpSp>
      </p:grpSp>
    </p:spTree>
    <p:extLst>
      <p:ext uri="{BB962C8B-B14F-4D97-AF65-F5344CB8AC3E}">
        <p14:creationId xmlns:p14="http://schemas.microsoft.com/office/powerpoint/2010/main" val="36049528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D00BCB3-3289-DFAC-EAC8-5B0EC147CE2A}"/>
              </a:ext>
            </a:extLst>
          </p:cNvPr>
          <p:cNvGraphicFramePr>
            <a:graphicFrameLocks/>
          </p:cNvGraphicFramePr>
          <p:nvPr>
            <p:custDataLst>
              <p:tags r:id="rId1"/>
            </p:custDataLst>
            <p:extLst>
              <p:ext uri="{D42A27DB-BD31-4B8C-83A1-F6EECF244321}">
                <p14:modId xmlns:p14="http://schemas.microsoft.com/office/powerpoint/2010/main" val="2872209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4D00BCB3-3289-DFAC-EAC8-5B0EC147CE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C44B2D-1228-D13D-62F5-4695E7028FE4}"/>
              </a:ext>
            </a:extLst>
          </p:cNvPr>
          <p:cNvSpPr>
            <a:spLocks noGrp="1"/>
          </p:cNvSpPr>
          <p:nvPr>
            <p:ph type="ctrTitle"/>
          </p:nvPr>
        </p:nvSpPr>
        <p:spPr>
          <a:xfrm>
            <a:off x="304796" y="2286596"/>
            <a:ext cx="11582402" cy="2284807"/>
          </a:xfrm>
        </p:spPr>
        <p:txBody>
          <a:bodyPr vert="horz" rIns="0"/>
          <a:lstStyle/>
          <a:p>
            <a:r>
              <a:rPr lang="en-US"/>
              <a:t>Nature &amp; Agriculture</a:t>
            </a:r>
          </a:p>
        </p:txBody>
      </p:sp>
      <p:pic>
        <p:nvPicPr>
          <p:cNvPr id="6" name="Picture 5" descr="A green leaves on a black background&#10;&#10;Description automatically generated">
            <a:extLst>
              <a:ext uri="{FF2B5EF4-FFF2-40B4-BE49-F238E27FC236}">
                <a16:creationId xmlns:a16="http://schemas.microsoft.com/office/drawing/2014/main" id="{E6670A2E-C374-3D55-BE70-61A0C2C98EEF}"/>
              </a:ext>
            </a:extLst>
          </p:cNvPr>
          <p:cNvPicPr>
            <a:picLocks noChangeAspect="1"/>
          </p:cNvPicPr>
          <p:nvPr/>
        </p:nvPicPr>
        <p:blipFill>
          <a:blip r:embed="rId5">
            <a:alphaModFix amt="8000"/>
            <a:extLst>
              <a:ext uri="{BEBA8EAE-BF5A-486C-A8C5-ECC9F3942E4B}">
                <a14:imgProps xmlns:a14="http://schemas.microsoft.com/office/drawing/2010/main">
                  <a14:imgLayer r:embed="rId6">
                    <a14:imgEffect>
                      <a14:brightnessContrast bright="-100000"/>
                    </a14:imgEffect>
                  </a14:imgLayer>
                </a14:imgProps>
              </a:ext>
            </a:extLst>
          </a:blip>
          <a:srcRect l="143" t="22843" r="1127" b="-347"/>
          <a:stretch>
            <a:fillRect/>
          </a:stretch>
        </p:blipFill>
        <p:spPr>
          <a:xfrm rot="20940000" flipH="1">
            <a:off x="-347445" y="-295347"/>
            <a:ext cx="3909087" cy="3380830"/>
          </a:xfrm>
          <a:custGeom>
            <a:avLst/>
            <a:gdLst>
              <a:gd name="csX0" fmla="*/ 0 w 3387264"/>
              <a:gd name="csY0" fmla="*/ 547729 h 2929524"/>
              <a:gd name="csX1" fmla="*/ 2817822 w 3387264"/>
              <a:gd name="csY1" fmla="*/ 0 h 2929524"/>
              <a:gd name="csX2" fmla="*/ 3387264 w 3387264"/>
              <a:gd name="csY2" fmla="*/ 2929524 h 2929524"/>
              <a:gd name="csX3" fmla="*/ 0 w 3387264"/>
              <a:gd name="csY3" fmla="*/ 2929524 h 2929524"/>
            </a:gdLst>
            <a:ahLst/>
            <a:cxnLst>
              <a:cxn ang="0">
                <a:pos x="csX0" y="csY0"/>
              </a:cxn>
              <a:cxn ang="0">
                <a:pos x="csX1" y="csY1"/>
              </a:cxn>
              <a:cxn ang="0">
                <a:pos x="csX2" y="csY2"/>
              </a:cxn>
              <a:cxn ang="0">
                <a:pos x="csX3" y="csY3"/>
              </a:cxn>
            </a:cxnLst>
            <a:rect l="l" t="t" r="r" b="b"/>
            <a:pathLst>
              <a:path w="3387264" h="2929524">
                <a:moveTo>
                  <a:pt x="0" y="547729"/>
                </a:moveTo>
                <a:lnTo>
                  <a:pt x="2817822" y="0"/>
                </a:lnTo>
                <a:lnTo>
                  <a:pt x="3387264" y="2929524"/>
                </a:lnTo>
                <a:lnTo>
                  <a:pt x="0" y="2929524"/>
                </a:lnTo>
                <a:close/>
              </a:path>
            </a:pathLst>
          </a:custGeom>
        </p:spPr>
      </p:pic>
      <p:pic>
        <p:nvPicPr>
          <p:cNvPr id="7" name="Picture 6" descr="A green leaves on a black background&#10;&#10;Description automatically generated">
            <a:extLst>
              <a:ext uri="{FF2B5EF4-FFF2-40B4-BE49-F238E27FC236}">
                <a16:creationId xmlns:a16="http://schemas.microsoft.com/office/drawing/2014/main" id="{CA974E60-8F31-7E36-4D84-A07E89A53DF3}"/>
              </a:ext>
            </a:extLst>
          </p:cNvPr>
          <p:cNvPicPr>
            <a:picLocks noChangeAspect="1"/>
          </p:cNvPicPr>
          <p:nvPr/>
        </p:nvPicPr>
        <p:blipFill rotWithShape="1">
          <a:blip r:embed="rId7">
            <a:alphaModFix amt="8000"/>
            <a:extLst>
              <a:ext uri="{BEBA8EAE-BF5A-486C-A8C5-ECC9F3942E4B}">
                <a14:imgProps xmlns:a14="http://schemas.microsoft.com/office/drawing/2010/main">
                  <a14:imgLayer r:embed="rId8">
                    <a14:imgEffect>
                      <a14:brightnessContrast bright="-100000"/>
                    </a14:imgEffect>
                  </a14:imgLayer>
                </a14:imgProps>
              </a:ext>
            </a:extLst>
          </a:blip>
          <a:srcRect b="14982"/>
          <a:stretch/>
        </p:blipFill>
        <p:spPr>
          <a:xfrm flipH="1">
            <a:off x="8244114" y="4113638"/>
            <a:ext cx="3947886" cy="2744362"/>
          </a:xfrm>
          <a:prstGeom prst="rect">
            <a:avLst/>
          </a:prstGeom>
        </p:spPr>
      </p:pic>
      <p:pic>
        <p:nvPicPr>
          <p:cNvPr id="9" name="Graphic 8">
            <a:extLst>
              <a:ext uri="{FF2B5EF4-FFF2-40B4-BE49-F238E27FC236}">
                <a16:creationId xmlns:a16="http://schemas.microsoft.com/office/drawing/2014/main" id="{02EFEDAB-F5EC-D40B-2BE0-F29496D3E51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89550" y="820002"/>
            <a:ext cx="1612900" cy="1612900"/>
          </a:xfrm>
          <a:prstGeom prst="rect">
            <a:avLst/>
          </a:prstGeom>
        </p:spPr>
      </p:pic>
    </p:spTree>
    <p:extLst>
      <p:ext uri="{BB962C8B-B14F-4D97-AF65-F5344CB8AC3E}">
        <p14:creationId xmlns:p14="http://schemas.microsoft.com/office/powerpoint/2010/main" val="2381101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5D910A"/>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39A04D9-00C8-ED6B-8135-CE4A335E48D4}"/>
              </a:ext>
            </a:extLst>
          </p:cNvPr>
          <p:cNvGraphicFramePr>
            <a:graphicFrameLocks/>
          </p:cNvGraphicFramePr>
          <p:nvPr>
            <p:custDataLst>
              <p:tags r:id="rId1"/>
            </p:custDataLst>
            <p:extLst>
              <p:ext uri="{D42A27DB-BD31-4B8C-83A1-F6EECF244321}">
                <p14:modId xmlns:p14="http://schemas.microsoft.com/office/powerpoint/2010/main" val="1027274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10" name="think-cell data - do not delete" hidden="1">
                        <a:extLst>
                          <a:ext uri="{FF2B5EF4-FFF2-40B4-BE49-F238E27FC236}">
                            <a16:creationId xmlns:a16="http://schemas.microsoft.com/office/drawing/2014/main" id="{C39A04D9-00C8-ED6B-8135-CE4A335E48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3" name="Rectangle: Rounded Corners 82">
            <a:extLst>
              <a:ext uri="{FF2B5EF4-FFF2-40B4-BE49-F238E27FC236}">
                <a16:creationId xmlns:a16="http://schemas.microsoft.com/office/drawing/2014/main" id="{0236EB32-F523-9225-8408-ED6AFB038D63}"/>
              </a:ext>
            </a:extLst>
          </p:cNvPr>
          <p:cNvSpPr/>
          <p:nvPr/>
        </p:nvSpPr>
        <p:spPr>
          <a:xfrm>
            <a:off x="304800" y="1371601"/>
            <a:ext cx="11582400" cy="4762500"/>
          </a:xfrm>
          <a:prstGeom prst="roundRect">
            <a:avLst>
              <a:gd name="adj" fmla="val 4065"/>
            </a:avLst>
          </a:prstGeom>
          <a:solidFill>
            <a:srgbClr val="2B660F"/>
          </a:solidFill>
          <a:ln w="6350">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14151" tIns="214151" rIns="214151" bIns="214151" numCol="1" spcCol="1270" anchor="ctr" anchorCtr="0">
            <a:noAutofit/>
          </a:bodyPr>
          <a:lstStyle/>
          <a:p>
            <a:pPr defTabSz="1911350">
              <a:lnSpc>
                <a:spcPct val="90000"/>
              </a:lnSpc>
              <a:spcBef>
                <a:spcPct val="0"/>
              </a:spcBef>
              <a:spcAft>
                <a:spcPct val="35000"/>
              </a:spcAft>
            </a:pPr>
            <a:endParaRPr lang="en-US" sz="2000">
              <a:solidFill>
                <a:schemeClr val="bg1"/>
              </a:solidFill>
            </a:endParaRPr>
          </a:p>
        </p:txBody>
      </p:sp>
      <p:sp>
        <p:nvSpPr>
          <p:cNvPr id="84" name="Rectangle: Rounded Corners 83">
            <a:extLst>
              <a:ext uri="{FF2B5EF4-FFF2-40B4-BE49-F238E27FC236}">
                <a16:creationId xmlns:a16="http://schemas.microsoft.com/office/drawing/2014/main" id="{55753F27-AA37-1385-E962-C8E40E2FA885}"/>
              </a:ext>
            </a:extLst>
          </p:cNvPr>
          <p:cNvSpPr/>
          <p:nvPr/>
        </p:nvSpPr>
        <p:spPr>
          <a:xfrm>
            <a:off x="6073140" y="1421131"/>
            <a:ext cx="45720" cy="4663440"/>
          </a:xfrm>
          <a:prstGeom prst="roundRect">
            <a:avLst>
              <a:gd name="adj" fmla="val 50000"/>
            </a:avLst>
          </a:prstGeom>
          <a:solidFill>
            <a:srgbClr val="5D91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0" name="Graphic 79">
            <a:extLst>
              <a:ext uri="{FF2B5EF4-FFF2-40B4-BE49-F238E27FC236}">
                <a16:creationId xmlns:a16="http://schemas.microsoft.com/office/drawing/2014/main" id="{2EB07CB6-D248-7371-CD30-DCAF306D939A}"/>
              </a:ext>
            </a:extLst>
          </p:cNvPr>
          <p:cNvPicPr/>
          <p:nvPr/>
        </p:nvPicPr>
        <p:blipFill>
          <a:blip r:embed="rId5">
            <a:extLst>
              <a:ext uri="{96DAC541-7B7A-43D3-8B79-37D633B846F1}">
                <asvg:svgBlip xmlns:asvg="http://schemas.microsoft.com/office/drawing/2016/SVG/main" r:embed="rId6"/>
              </a:ext>
            </a:extLst>
          </a:blip>
          <a:srcRect l="8611" t="11392" r="56210" b="6663"/>
          <a:stretch>
            <a:fillRect/>
          </a:stretch>
        </p:blipFill>
        <p:spPr>
          <a:xfrm flipH="1">
            <a:off x="10833100" y="5245492"/>
            <a:ext cx="1357471" cy="1610737"/>
          </a:xfrm>
          <a:prstGeom prst="rect">
            <a:avLst/>
          </a:prstGeom>
        </p:spPr>
      </p:pic>
      <p:pic>
        <p:nvPicPr>
          <p:cNvPr id="15" name="Picture 14">
            <a:extLst>
              <a:ext uri="{FF2B5EF4-FFF2-40B4-BE49-F238E27FC236}">
                <a16:creationId xmlns:a16="http://schemas.microsoft.com/office/drawing/2014/main" id="{056C0D3E-3661-5E38-F73F-432C82BA108F}"/>
              </a:ext>
            </a:extLst>
          </p:cNvPr>
          <p:cNvPicPr>
            <a:picLocks noChangeAspect="1"/>
          </p:cNvPicPr>
          <p:nvPr/>
        </p:nvPicPr>
        <p:blipFill rotWithShape="1">
          <a:blip r:embed="rId7"/>
          <a:srcRect t="7964" b="74305"/>
          <a:stretch>
            <a:fillRect/>
          </a:stretch>
        </p:blipFill>
        <p:spPr>
          <a:xfrm>
            <a:off x="0" y="0"/>
            <a:ext cx="12192000" cy="1216025"/>
          </a:xfrm>
          <a:prstGeom prst="rect">
            <a:avLst/>
          </a:prstGeom>
        </p:spPr>
      </p:pic>
      <p:sp>
        <p:nvSpPr>
          <p:cNvPr id="19" name="Rectangle 18">
            <a:extLst>
              <a:ext uri="{FF2B5EF4-FFF2-40B4-BE49-F238E27FC236}">
                <a16:creationId xmlns:a16="http://schemas.microsoft.com/office/drawing/2014/main" id="{F8595DF2-DFA5-501D-C271-3DD00F956E5C}"/>
              </a:ext>
            </a:extLst>
          </p:cNvPr>
          <p:cNvSpPr/>
          <p:nvPr/>
        </p:nvSpPr>
        <p:spPr>
          <a:xfrm>
            <a:off x="0" y="0"/>
            <a:ext cx="12192000" cy="1219200"/>
          </a:xfrm>
          <a:prstGeom prst="rect">
            <a:avLst/>
          </a:prstGeom>
          <a:solidFill>
            <a:schemeClr val="accent3">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2" name="Graphic 81">
            <a:extLst>
              <a:ext uri="{FF2B5EF4-FFF2-40B4-BE49-F238E27FC236}">
                <a16:creationId xmlns:a16="http://schemas.microsoft.com/office/drawing/2014/main" id="{74265596-5D8A-A5EE-5706-FC7C504CBF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4800" y="140391"/>
            <a:ext cx="618170" cy="618170"/>
          </a:xfrm>
          <a:prstGeom prst="rect">
            <a:avLst/>
          </a:prstGeom>
        </p:spPr>
      </p:pic>
      <p:sp>
        <p:nvSpPr>
          <p:cNvPr id="23" name="TextBox 22">
            <a:extLst>
              <a:ext uri="{FF2B5EF4-FFF2-40B4-BE49-F238E27FC236}">
                <a16:creationId xmlns:a16="http://schemas.microsoft.com/office/drawing/2014/main" id="{A7D8DE66-5984-1EA2-8506-7DA146E357BE}"/>
              </a:ext>
            </a:extLst>
          </p:cNvPr>
          <p:cNvSpPr txBox="1"/>
          <p:nvPr/>
        </p:nvSpPr>
        <p:spPr>
          <a:xfrm>
            <a:off x="6610350" y="1463675"/>
            <a:ext cx="5191124" cy="1851789"/>
          </a:xfrm>
          <a:prstGeom prst="rect">
            <a:avLst/>
          </a:prstGeom>
          <a:noFill/>
        </p:spPr>
        <p:txBody>
          <a:bodyPr wrap="square" rtlCol="0">
            <a:noAutofit/>
          </a:bodyPr>
          <a:lstStyle/>
          <a:p>
            <a:pPr>
              <a:spcBef>
                <a:spcPts val="400"/>
              </a:spcBef>
            </a:pPr>
            <a:r>
              <a:rPr lang="en-US" sz="1200" b="1">
                <a:solidFill>
                  <a:schemeClr val="accent4"/>
                </a:solidFill>
                <a:latin typeface="+mj-lt"/>
              </a:rPr>
              <a:t>DEFORESTATION</a:t>
            </a:r>
          </a:p>
          <a:p>
            <a:pPr>
              <a:spcBef>
                <a:spcPts val="400"/>
              </a:spcBef>
            </a:pPr>
            <a:r>
              <a:rPr lang="en-US" sz="1100">
                <a:solidFill>
                  <a:schemeClr val="bg1"/>
                </a:solidFill>
                <a:ea typeface="Calibri" panose="020F0502020204030204" pitchFamily="34" charset="0"/>
                <a:cs typeface="Times New Roman" panose="02020603050405020304" pitchFamily="18" charset="0"/>
              </a:rPr>
              <a:t>Deforestation is the purposeful clearing of forested land. Throughout history and into modern times, forests have been razed to make space for agriculture and animal grazing, and to obtain wood for fuel, manufacturing, and construction. Deforestation has greatly altered landscapes around </a:t>
            </a:r>
            <a:br>
              <a:rPr lang="en-US" sz="1100">
                <a:solidFill>
                  <a:schemeClr val="bg1"/>
                </a:solidFill>
                <a:ea typeface="Calibri" panose="020F0502020204030204" pitchFamily="34" charset="0"/>
                <a:cs typeface="Times New Roman" panose="02020603050405020304" pitchFamily="18" charset="0"/>
              </a:rPr>
            </a:br>
            <a:r>
              <a:rPr lang="en-US" sz="1100">
                <a:solidFill>
                  <a:schemeClr val="bg1"/>
                </a:solidFill>
                <a:ea typeface="Calibri" panose="020F0502020204030204" pitchFamily="34" charset="0"/>
                <a:cs typeface="Times New Roman" panose="02020603050405020304" pitchFamily="18" charset="0"/>
              </a:rPr>
              <a:t>the world.</a:t>
            </a:r>
          </a:p>
        </p:txBody>
      </p:sp>
      <p:sp>
        <p:nvSpPr>
          <p:cNvPr id="24" name="TextBox 23">
            <a:extLst>
              <a:ext uri="{FF2B5EF4-FFF2-40B4-BE49-F238E27FC236}">
                <a16:creationId xmlns:a16="http://schemas.microsoft.com/office/drawing/2014/main" id="{A4451302-9D91-FA40-881F-E07A7470018A}"/>
              </a:ext>
            </a:extLst>
          </p:cNvPr>
          <p:cNvSpPr txBox="1"/>
          <p:nvPr/>
        </p:nvSpPr>
        <p:spPr>
          <a:xfrm>
            <a:off x="6610350" y="3242599"/>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NATURE FRIENDLY FARMING</a:t>
            </a:r>
          </a:p>
          <a:p>
            <a:pPr>
              <a:spcBef>
                <a:spcPts val="400"/>
              </a:spcBef>
            </a:pPr>
            <a:r>
              <a:rPr lang="en-US" sz="1100">
                <a:solidFill>
                  <a:schemeClr val="bg1"/>
                </a:solidFill>
                <a:ea typeface="Calibri" panose="020F0502020204030204" pitchFamily="34" charset="0"/>
                <a:cs typeface="Times New Roman" panose="02020603050405020304" pitchFamily="18" charset="0"/>
              </a:rPr>
              <a:t>Nature friendly farming is an umbrella term to describe farming systems and practices that enhance and protect biodiversity and contribute to tackling climate change alongside food production.</a:t>
            </a:r>
          </a:p>
        </p:txBody>
      </p:sp>
      <p:cxnSp>
        <p:nvCxnSpPr>
          <p:cNvPr id="33" name="Straight Connector 32">
            <a:extLst>
              <a:ext uri="{FF2B5EF4-FFF2-40B4-BE49-F238E27FC236}">
                <a16:creationId xmlns:a16="http://schemas.microsoft.com/office/drawing/2014/main" id="{B1148E5F-1CFF-7783-1766-37ABA41AEDC5}"/>
              </a:ext>
            </a:extLst>
          </p:cNvPr>
          <p:cNvCxnSpPr>
            <a:cxnSpLocks/>
          </p:cNvCxnSpPr>
          <p:nvPr/>
        </p:nvCxnSpPr>
        <p:spPr>
          <a:xfrm>
            <a:off x="6610350" y="3109923"/>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DC5B072E-5897-B3E2-EC0D-B7D2D188B5FD}"/>
              </a:ext>
            </a:extLst>
          </p:cNvPr>
          <p:cNvSpPr txBox="1"/>
          <p:nvPr/>
        </p:nvSpPr>
        <p:spPr>
          <a:xfrm>
            <a:off x="731996" y="1463675"/>
            <a:ext cx="5191124" cy="497572"/>
          </a:xfrm>
          <a:prstGeom prst="rect">
            <a:avLst/>
          </a:prstGeom>
          <a:noFill/>
        </p:spPr>
        <p:txBody>
          <a:bodyPr wrap="square" rtlCol="0">
            <a:noAutofit/>
          </a:bodyPr>
          <a:lstStyle/>
          <a:p>
            <a:pPr>
              <a:spcBef>
                <a:spcPts val="400"/>
              </a:spcBef>
            </a:pPr>
            <a:r>
              <a:rPr lang="en-US" sz="1200" b="1">
                <a:solidFill>
                  <a:schemeClr val="accent4"/>
                </a:solidFill>
                <a:latin typeface="+mj-lt"/>
              </a:rPr>
              <a:t>REGENERATIVE AGRICULTURAL / PRACTICES</a:t>
            </a:r>
          </a:p>
          <a:p>
            <a:pPr>
              <a:spcBef>
                <a:spcPts val="400"/>
              </a:spcBef>
            </a:pPr>
            <a:r>
              <a:rPr lang="en-US" sz="1100">
                <a:solidFill>
                  <a:schemeClr val="bg1"/>
                </a:solidFill>
                <a:ea typeface="Calibri" panose="020F0502020204030204" pitchFamily="34" charset="0"/>
                <a:cs typeface="Times New Roman" panose="02020603050405020304" pitchFamily="18" charset="0"/>
              </a:rPr>
              <a:t>Practices that focus on improving soil health and better water management, promoting biodiversity and improving livelihoods of farming communities. Regenerative practices help to restore natural ecosystems by rebuilding organic matter, restoring biodiversity and sequestering carbon below the soil surface, which reduces overall CO2 emissions and increases water holding capacity.</a:t>
            </a:r>
          </a:p>
          <a:p>
            <a:pPr>
              <a:spcBef>
                <a:spcPts val="400"/>
              </a:spcBef>
            </a:pPr>
            <a:endParaRPr lang="en-US" sz="1100">
              <a:solidFill>
                <a:schemeClr val="bg1"/>
              </a:solidFill>
              <a:ea typeface="Calibri" panose="020F0502020204030204" pitchFamily="34" charset="0"/>
              <a:cs typeface="Times New Roman" panose="02020603050405020304" pitchFamily="18" charset="0"/>
            </a:endParaRPr>
          </a:p>
        </p:txBody>
      </p:sp>
      <p:sp>
        <p:nvSpPr>
          <p:cNvPr id="41" name="TextBox 40">
            <a:extLst>
              <a:ext uri="{FF2B5EF4-FFF2-40B4-BE49-F238E27FC236}">
                <a16:creationId xmlns:a16="http://schemas.microsoft.com/office/drawing/2014/main" id="{9F1DEA88-94DA-535A-4B58-E3732BF87BB7}"/>
              </a:ext>
            </a:extLst>
          </p:cNvPr>
          <p:cNvSpPr txBox="1"/>
          <p:nvPr/>
        </p:nvSpPr>
        <p:spPr>
          <a:xfrm>
            <a:off x="731996" y="3242599"/>
            <a:ext cx="5191124" cy="666849"/>
          </a:xfrm>
          <a:prstGeom prst="rect">
            <a:avLst/>
          </a:prstGeom>
          <a:noFill/>
        </p:spPr>
        <p:txBody>
          <a:bodyPr wrap="square" rtlCol="0">
            <a:noAutofit/>
          </a:bodyPr>
          <a:lstStyle/>
          <a:p>
            <a:pPr>
              <a:spcBef>
                <a:spcPts val="400"/>
              </a:spcBef>
            </a:pPr>
            <a:r>
              <a:rPr lang="en-US" sz="1200" b="1">
                <a:solidFill>
                  <a:schemeClr val="accent4"/>
                </a:solidFill>
                <a:latin typeface="+mj-lt"/>
              </a:rPr>
              <a:t>BIODIVERSITY</a:t>
            </a:r>
          </a:p>
          <a:p>
            <a:pPr>
              <a:spcBef>
                <a:spcPts val="400"/>
              </a:spcBef>
            </a:pPr>
            <a:r>
              <a:rPr lang="en-US" sz="1100">
                <a:solidFill>
                  <a:schemeClr val="bg1"/>
                </a:solidFill>
                <a:ea typeface="Calibri" panose="020F0502020204030204" pitchFamily="34" charset="0"/>
                <a:cs typeface="Times New Roman" panose="02020603050405020304" pitchFamily="18" charset="0"/>
              </a:rPr>
              <a:t>Biodiversity is all the different kinds of life you’ll find in one area—the variety of animals, plants, fungi, and even microorganisms that make up our natural world. Each work together in ecosystems, like an intricate web, to maintain balance and support life. Biodiversity supports everything in nature that we need to survive: food, clean water, medicine, and shelter. </a:t>
            </a:r>
          </a:p>
        </p:txBody>
      </p:sp>
      <p:cxnSp>
        <p:nvCxnSpPr>
          <p:cNvPr id="75" name="Straight Connector 74">
            <a:extLst>
              <a:ext uri="{FF2B5EF4-FFF2-40B4-BE49-F238E27FC236}">
                <a16:creationId xmlns:a16="http://schemas.microsoft.com/office/drawing/2014/main" id="{60EC7D3D-4811-1468-8D40-F34A9D5BE4F3}"/>
              </a:ext>
            </a:extLst>
          </p:cNvPr>
          <p:cNvCxnSpPr>
            <a:cxnSpLocks/>
          </p:cNvCxnSpPr>
          <p:nvPr/>
        </p:nvCxnSpPr>
        <p:spPr>
          <a:xfrm>
            <a:off x="731996" y="3109923"/>
            <a:ext cx="5191124"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B15D0B8F-4376-9D46-9B62-21EEFCE8C7CD}"/>
              </a:ext>
            </a:extLst>
          </p:cNvPr>
          <p:cNvSpPr>
            <a:spLocks noGrp="1"/>
          </p:cNvSpPr>
          <p:nvPr>
            <p:ph type="title"/>
          </p:nvPr>
        </p:nvSpPr>
        <p:spPr>
          <a:xfrm>
            <a:off x="304798" y="246888"/>
            <a:ext cx="11585448" cy="969264"/>
          </a:xfrm>
        </p:spPr>
        <p:txBody>
          <a:bodyPr vert="horz" lIns="822960" rIns="91440"/>
          <a:lstStyle/>
          <a:p>
            <a:r>
              <a:rPr lang="en-US" b="1" cap="none">
                <a:solidFill>
                  <a:srgbClr val="8DBD29"/>
                </a:solidFill>
              </a:rPr>
              <a:t>NATURE AND AGRICULTURE</a:t>
            </a:r>
            <a:endParaRPr lang="en-MX" b="1" cap="none">
              <a:solidFill>
                <a:srgbClr val="8DBD29"/>
              </a:solidFill>
            </a:endParaRPr>
          </a:p>
        </p:txBody>
      </p:sp>
      <p:grpSp>
        <p:nvGrpSpPr>
          <p:cNvPr id="96" name="Group 95">
            <a:extLst>
              <a:ext uri="{FF2B5EF4-FFF2-40B4-BE49-F238E27FC236}">
                <a16:creationId xmlns:a16="http://schemas.microsoft.com/office/drawing/2014/main" id="{DA3AE1B1-9BC2-1EC4-4BD3-B0F90D0314B4}"/>
              </a:ext>
            </a:extLst>
          </p:cNvPr>
          <p:cNvGrpSpPr/>
          <p:nvPr/>
        </p:nvGrpSpPr>
        <p:grpSpPr>
          <a:xfrm>
            <a:off x="372424" y="1440815"/>
            <a:ext cx="354334" cy="354334"/>
            <a:chOff x="372424" y="1440815"/>
            <a:chExt cx="354334" cy="354334"/>
          </a:xfrm>
        </p:grpSpPr>
        <p:sp>
          <p:nvSpPr>
            <p:cNvPr id="70" name="Oval 69">
              <a:extLst>
                <a:ext uri="{FF2B5EF4-FFF2-40B4-BE49-F238E27FC236}">
                  <a16:creationId xmlns:a16="http://schemas.microsoft.com/office/drawing/2014/main" id="{2D68CC67-4FDB-7CC0-47BE-FA95BFD1743E}"/>
                </a:ext>
              </a:extLst>
            </p:cNvPr>
            <p:cNvSpPr/>
            <p:nvPr/>
          </p:nvSpPr>
          <p:spPr>
            <a:xfrm>
              <a:off x="372424"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5" name="Group 94">
              <a:extLst>
                <a:ext uri="{FF2B5EF4-FFF2-40B4-BE49-F238E27FC236}">
                  <a16:creationId xmlns:a16="http://schemas.microsoft.com/office/drawing/2014/main" id="{1B042A5C-3016-DC60-E9FC-179B43FC4055}"/>
                </a:ext>
              </a:extLst>
            </p:cNvPr>
            <p:cNvGrpSpPr/>
            <p:nvPr/>
          </p:nvGrpSpPr>
          <p:grpSpPr>
            <a:xfrm>
              <a:off x="412152" y="1501250"/>
              <a:ext cx="274879" cy="233465"/>
              <a:chOff x="5839950" y="3211132"/>
              <a:chExt cx="513076" cy="435775"/>
            </a:xfrm>
            <a:solidFill>
              <a:srgbClr val="2B660F"/>
            </a:solidFill>
          </p:grpSpPr>
          <p:sp>
            <p:nvSpPr>
              <p:cNvPr id="88" name="Freeform: Shape 87">
                <a:extLst>
                  <a:ext uri="{FF2B5EF4-FFF2-40B4-BE49-F238E27FC236}">
                    <a16:creationId xmlns:a16="http://schemas.microsoft.com/office/drawing/2014/main" id="{50D026A9-714A-D7D2-AD07-8F79B1C947AB}"/>
                  </a:ext>
                </a:extLst>
              </p:cNvPr>
              <p:cNvSpPr/>
              <p:nvPr/>
            </p:nvSpPr>
            <p:spPr>
              <a:xfrm>
                <a:off x="5970555" y="3465861"/>
                <a:ext cx="278415" cy="120132"/>
              </a:xfrm>
              <a:custGeom>
                <a:avLst/>
                <a:gdLst>
                  <a:gd name="csX0" fmla="*/ 256604 w 278415"/>
                  <a:gd name="csY0" fmla="*/ 21146 h 120132"/>
                  <a:gd name="csX1" fmla="*/ 158591 w 278415"/>
                  <a:gd name="csY1" fmla="*/ 58388 h 120132"/>
                  <a:gd name="csX2" fmla="*/ 66580 w 278415"/>
                  <a:gd name="csY2" fmla="*/ 42101 h 120132"/>
                  <a:gd name="csX3" fmla="*/ 11716 w 278415"/>
                  <a:gd name="csY3" fmla="*/ 50578 h 120132"/>
                  <a:gd name="csX4" fmla="*/ 0 w 278415"/>
                  <a:gd name="csY4" fmla="*/ 58007 h 120132"/>
                  <a:gd name="csX5" fmla="*/ 278416 w 278415"/>
                  <a:gd name="csY5" fmla="*/ 0 h 120132"/>
                  <a:gd name="csX6" fmla="*/ 256604 w 278415"/>
                  <a:gd name="csY6" fmla="*/ 21146 h 12013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78415" h="120132">
                    <a:moveTo>
                      <a:pt x="256604" y="21146"/>
                    </a:moveTo>
                    <a:cubicBezTo>
                      <a:pt x="226991" y="40463"/>
                      <a:pt x="193560" y="53166"/>
                      <a:pt x="158591" y="58388"/>
                    </a:cubicBezTo>
                    <a:cubicBezTo>
                      <a:pt x="130016" y="63056"/>
                      <a:pt x="96393" y="46006"/>
                      <a:pt x="66580" y="42101"/>
                    </a:cubicBezTo>
                    <a:cubicBezTo>
                      <a:pt x="47862" y="39942"/>
                      <a:pt x="28909" y="42870"/>
                      <a:pt x="11716" y="50578"/>
                    </a:cubicBezTo>
                    <a:cubicBezTo>
                      <a:pt x="7459" y="52450"/>
                      <a:pt x="3509" y="54955"/>
                      <a:pt x="0" y="58007"/>
                    </a:cubicBezTo>
                    <a:cubicBezTo>
                      <a:pt x="78962" y="163735"/>
                      <a:pt x="248126" y="128016"/>
                      <a:pt x="278416" y="0"/>
                    </a:cubicBezTo>
                    <a:cubicBezTo>
                      <a:pt x="272771" y="8552"/>
                      <a:pt x="265327" y="15769"/>
                      <a:pt x="256604" y="21146"/>
                    </a:cubicBezTo>
                    <a:close/>
                  </a:path>
                </a:pathLst>
              </a:custGeom>
              <a:grpFill/>
              <a:ln w="9525" cap="flat">
                <a:noFill/>
                <a:prstDash val="solid"/>
                <a:miter/>
              </a:ln>
            </p:spPr>
            <p:txBody>
              <a:bodyPr/>
              <a:lstStyle/>
              <a:p>
                <a:endParaRPr lang="en-US"/>
              </a:p>
            </p:txBody>
          </p:sp>
          <p:sp>
            <p:nvSpPr>
              <p:cNvPr id="89" name="Freeform: Shape 88">
                <a:extLst>
                  <a:ext uri="{FF2B5EF4-FFF2-40B4-BE49-F238E27FC236}">
                    <a16:creationId xmlns:a16="http://schemas.microsoft.com/office/drawing/2014/main" id="{1CF3501B-0860-1818-8BF8-C7DFAF591ADF}"/>
                  </a:ext>
                </a:extLst>
              </p:cNvPr>
              <p:cNvSpPr/>
              <p:nvPr/>
            </p:nvSpPr>
            <p:spPr>
              <a:xfrm>
                <a:off x="5938479" y="3271631"/>
                <a:ext cx="314497" cy="240712"/>
              </a:xfrm>
              <a:custGeom>
                <a:avLst/>
                <a:gdLst>
                  <a:gd name="csX0" fmla="*/ 157521 w 314497"/>
                  <a:gd name="csY0" fmla="*/ 15 h 240712"/>
                  <a:gd name="csX1" fmla="*/ 24171 w 314497"/>
                  <a:gd name="csY1" fmla="*/ 240712 h 240712"/>
                  <a:gd name="csX2" fmla="*/ 29219 w 314497"/>
                  <a:gd name="csY2" fmla="*/ 236807 h 240712"/>
                  <a:gd name="csX3" fmla="*/ 29981 w 314497"/>
                  <a:gd name="csY3" fmla="*/ 236235 h 240712"/>
                  <a:gd name="csX4" fmla="*/ 94656 w 314497"/>
                  <a:gd name="csY4" fmla="*/ 222043 h 240712"/>
                  <a:gd name="csX5" fmla="*/ 144662 w 314497"/>
                  <a:gd name="csY5" fmla="*/ 183943 h 240712"/>
                  <a:gd name="csX6" fmla="*/ 144662 w 314497"/>
                  <a:gd name="csY6" fmla="*/ 145843 h 240712"/>
                  <a:gd name="csX7" fmla="*/ 93894 w 314497"/>
                  <a:gd name="csY7" fmla="*/ 126317 h 240712"/>
                  <a:gd name="csX8" fmla="*/ 74368 w 314497"/>
                  <a:gd name="csY8" fmla="*/ 68214 h 240712"/>
                  <a:gd name="csX9" fmla="*/ 77892 w 314497"/>
                  <a:gd name="csY9" fmla="*/ 62118 h 240712"/>
                  <a:gd name="csX10" fmla="*/ 139328 w 314497"/>
                  <a:gd name="csY10" fmla="*/ 81168 h 240712"/>
                  <a:gd name="csX11" fmla="*/ 148853 w 314497"/>
                  <a:gd name="csY11" fmla="*/ 94694 h 240712"/>
                  <a:gd name="csX12" fmla="*/ 173713 w 314497"/>
                  <a:gd name="csY12" fmla="*/ 61928 h 240712"/>
                  <a:gd name="csX13" fmla="*/ 178216 w 314497"/>
                  <a:gd name="csY13" fmla="*/ 70670 h 240712"/>
                  <a:gd name="csX14" fmla="*/ 170761 w 314497"/>
                  <a:gd name="csY14" fmla="*/ 75453 h 240712"/>
                  <a:gd name="csX15" fmla="*/ 161236 w 314497"/>
                  <a:gd name="csY15" fmla="*/ 102886 h 240712"/>
                  <a:gd name="csX16" fmla="*/ 164093 w 314497"/>
                  <a:gd name="csY16" fmla="*/ 99647 h 240712"/>
                  <a:gd name="csX17" fmla="*/ 222672 w 314497"/>
                  <a:gd name="csY17" fmla="*/ 80025 h 240712"/>
                  <a:gd name="csX18" fmla="*/ 229149 w 314497"/>
                  <a:gd name="csY18" fmla="*/ 86598 h 240712"/>
                  <a:gd name="csX19" fmla="*/ 209623 w 314497"/>
                  <a:gd name="csY19" fmla="*/ 145081 h 240712"/>
                  <a:gd name="csX20" fmla="*/ 178666 w 314497"/>
                  <a:gd name="csY20" fmla="*/ 161655 h 240712"/>
                  <a:gd name="csX21" fmla="*/ 158188 w 314497"/>
                  <a:gd name="csY21" fmla="*/ 183943 h 240712"/>
                  <a:gd name="csX22" fmla="*/ 200479 w 314497"/>
                  <a:gd name="csY22" fmla="*/ 206613 h 240712"/>
                  <a:gd name="csX23" fmla="*/ 221624 w 314497"/>
                  <a:gd name="csY23" fmla="*/ 231187 h 240712"/>
                  <a:gd name="csX24" fmla="*/ 297157 w 314497"/>
                  <a:gd name="csY24" fmla="*/ 187849 h 240712"/>
                  <a:gd name="csX25" fmla="*/ 298586 w 314497"/>
                  <a:gd name="csY25" fmla="*/ 186039 h 240712"/>
                  <a:gd name="csX26" fmla="*/ 314017 w 314497"/>
                  <a:gd name="csY26" fmla="*/ 168513 h 240712"/>
                  <a:gd name="csX27" fmla="*/ 314493 w 314497"/>
                  <a:gd name="csY27" fmla="*/ 157083 h 240712"/>
                  <a:gd name="csX28" fmla="*/ 157521 w 314497"/>
                  <a:gd name="csY28" fmla="*/ 15 h 2407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314497" h="240712">
                    <a:moveTo>
                      <a:pt x="157521" y="15"/>
                    </a:moveTo>
                    <a:cubicBezTo>
                      <a:pt x="35791" y="-1699"/>
                      <a:pt x="-41933" y="139271"/>
                      <a:pt x="24171" y="240712"/>
                    </a:cubicBezTo>
                    <a:lnTo>
                      <a:pt x="29219" y="236807"/>
                    </a:lnTo>
                    <a:lnTo>
                      <a:pt x="29981" y="236235"/>
                    </a:lnTo>
                    <a:cubicBezTo>
                      <a:pt x="49693" y="225296"/>
                      <a:pt x="72175" y="220363"/>
                      <a:pt x="94656" y="222043"/>
                    </a:cubicBezTo>
                    <a:cubicBezTo>
                      <a:pt x="103072" y="201131"/>
                      <a:pt x="122266" y="186507"/>
                      <a:pt x="144662" y="183943"/>
                    </a:cubicBezTo>
                    <a:cubicBezTo>
                      <a:pt x="144662" y="170227"/>
                      <a:pt x="144662" y="157654"/>
                      <a:pt x="144662" y="145843"/>
                    </a:cubicBezTo>
                    <a:cubicBezTo>
                      <a:pt x="125948" y="145619"/>
                      <a:pt x="107935" y="138691"/>
                      <a:pt x="93894" y="126317"/>
                    </a:cubicBezTo>
                    <a:cubicBezTo>
                      <a:pt x="73415" y="105838"/>
                      <a:pt x="74177" y="72787"/>
                      <a:pt x="74368" y="68214"/>
                    </a:cubicBezTo>
                    <a:cubicBezTo>
                      <a:pt x="74330" y="65688"/>
                      <a:pt x="75684" y="63346"/>
                      <a:pt x="77892" y="62118"/>
                    </a:cubicBezTo>
                    <a:cubicBezTo>
                      <a:pt x="100166" y="59235"/>
                      <a:pt x="122593" y="66189"/>
                      <a:pt x="139328" y="81168"/>
                    </a:cubicBezTo>
                    <a:cubicBezTo>
                      <a:pt x="143096" y="85229"/>
                      <a:pt x="146299" y="89779"/>
                      <a:pt x="148853" y="94694"/>
                    </a:cubicBezTo>
                    <a:cubicBezTo>
                      <a:pt x="153235" y="75644"/>
                      <a:pt x="158378" y="59547"/>
                      <a:pt x="173713" y="61928"/>
                    </a:cubicBezTo>
                    <a:cubicBezTo>
                      <a:pt x="177371" y="63099"/>
                      <a:pt x="179387" y="67012"/>
                      <a:pt x="178216" y="70670"/>
                    </a:cubicBezTo>
                    <a:cubicBezTo>
                      <a:pt x="177200" y="73846"/>
                      <a:pt x="174071" y="75853"/>
                      <a:pt x="170761" y="75453"/>
                    </a:cubicBezTo>
                    <a:cubicBezTo>
                      <a:pt x="169618" y="76311"/>
                      <a:pt x="164760" y="81264"/>
                      <a:pt x="161236" y="102886"/>
                    </a:cubicBezTo>
                    <a:cubicBezTo>
                      <a:pt x="162110" y="101739"/>
                      <a:pt x="163065" y="100657"/>
                      <a:pt x="164093" y="99647"/>
                    </a:cubicBezTo>
                    <a:cubicBezTo>
                      <a:pt x="185620" y="78121"/>
                      <a:pt x="221243" y="80025"/>
                      <a:pt x="222672" y="80025"/>
                    </a:cubicBezTo>
                    <a:cubicBezTo>
                      <a:pt x="226183" y="80262"/>
                      <a:pt x="228964" y="83084"/>
                      <a:pt x="229149" y="86598"/>
                    </a:cubicBezTo>
                    <a:cubicBezTo>
                      <a:pt x="229149" y="88122"/>
                      <a:pt x="231149" y="123555"/>
                      <a:pt x="209623" y="145081"/>
                    </a:cubicBezTo>
                    <a:cubicBezTo>
                      <a:pt x="200970" y="153272"/>
                      <a:pt x="190281" y="158995"/>
                      <a:pt x="178666" y="161655"/>
                    </a:cubicBezTo>
                    <a:cubicBezTo>
                      <a:pt x="154473" y="167179"/>
                      <a:pt x="157426" y="158416"/>
                      <a:pt x="158188" y="183943"/>
                    </a:cubicBezTo>
                    <a:cubicBezTo>
                      <a:pt x="174582" y="186077"/>
                      <a:pt x="189626" y="194141"/>
                      <a:pt x="200479" y="206613"/>
                    </a:cubicBezTo>
                    <a:cubicBezTo>
                      <a:pt x="208915" y="213500"/>
                      <a:pt x="216073" y="221818"/>
                      <a:pt x="221624" y="231187"/>
                    </a:cubicBezTo>
                    <a:cubicBezTo>
                      <a:pt x="253342" y="220710"/>
                      <a:pt x="288299" y="202612"/>
                      <a:pt x="297157" y="187849"/>
                    </a:cubicBezTo>
                    <a:cubicBezTo>
                      <a:pt x="297729" y="187277"/>
                      <a:pt x="297919" y="186610"/>
                      <a:pt x="298586" y="186039"/>
                    </a:cubicBezTo>
                    <a:lnTo>
                      <a:pt x="314017" y="168513"/>
                    </a:lnTo>
                    <a:cubicBezTo>
                      <a:pt x="314368" y="164713"/>
                      <a:pt x="314526" y="160898"/>
                      <a:pt x="314493" y="157083"/>
                    </a:cubicBezTo>
                    <a:cubicBezTo>
                      <a:pt x="314232" y="70482"/>
                      <a:pt x="244121" y="329"/>
                      <a:pt x="157521" y="15"/>
                    </a:cubicBezTo>
                    <a:close/>
                  </a:path>
                </a:pathLst>
              </a:custGeom>
              <a:grpFill/>
              <a:ln w="9525" cap="flat">
                <a:noFill/>
                <a:prstDash val="solid"/>
                <a:miter/>
              </a:ln>
            </p:spPr>
            <p:txBody>
              <a:bodyPr/>
              <a:lstStyle/>
              <a:p>
                <a:endParaRPr lang="en-US"/>
              </a:p>
            </p:txBody>
          </p:sp>
          <p:sp>
            <p:nvSpPr>
              <p:cNvPr id="90" name="Freeform: Shape 89">
                <a:extLst>
                  <a:ext uri="{FF2B5EF4-FFF2-40B4-BE49-F238E27FC236}">
                    <a16:creationId xmlns:a16="http://schemas.microsoft.com/office/drawing/2014/main" id="{4DBB70AD-1DE5-4F7B-4AF2-C1236EE5BD08}"/>
                  </a:ext>
                </a:extLst>
              </p:cNvPr>
              <p:cNvSpPr/>
              <p:nvPr/>
            </p:nvSpPr>
            <p:spPr>
              <a:xfrm>
                <a:off x="6047517" y="3469759"/>
                <a:ext cx="99536" cy="41019"/>
              </a:xfrm>
              <a:custGeom>
                <a:avLst/>
                <a:gdLst>
                  <a:gd name="csX0" fmla="*/ 80486 w 99536"/>
                  <a:gd name="csY0" fmla="*/ 40775 h 41019"/>
                  <a:gd name="csX1" fmla="*/ 99536 w 99536"/>
                  <a:gd name="csY1" fmla="*/ 37346 h 41019"/>
                  <a:gd name="csX2" fmla="*/ 82582 w 99536"/>
                  <a:gd name="csY2" fmla="*/ 19058 h 41019"/>
                  <a:gd name="csX3" fmla="*/ 43244 w 99536"/>
                  <a:gd name="csY3" fmla="*/ 8 h 41019"/>
                  <a:gd name="csX4" fmla="*/ 0 w 99536"/>
                  <a:gd name="csY4" fmla="*/ 25916 h 41019"/>
                  <a:gd name="csX5" fmla="*/ 23431 w 99536"/>
                  <a:gd name="csY5" fmla="*/ 32107 h 41019"/>
                  <a:gd name="csX6" fmla="*/ 80486 w 99536"/>
                  <a:gd name="csY6" fmla="*/ 40775 h 4101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99536" h="41019">
                    <a:moveTo>
                      <a:pt x="80486" y="40775"/>
                    </a:moveTo>
                    <a:cubicBezTo>
                      <a:pt x="86914" y="40113"/>
                      <a:pt x="93282" y="38967"/>
                      <a:pt x="99536" y="37346"/>
                    </a:cubicBezTo>
                    <a:cubicBezTo>
                      <a:pt x="94729" y="30518"/>
                      <a:pt x="89027" y="24367"/>
                      <a:pt x="82582" y="19058"/>
                    </a:cubicBezTo>
                    <a:cubicBezTo>
                      <a:pt x="72808" y="7360"/>
                      <a:pt x="58481" y="423"/>
                      <a:pt x="43244" y="8"/>
                    </a:cubicBezTo>
                    <a:cubicBezTo>
                      <a:pt x="25065" y="-318"/>
                      <a:pt x="8288" y="9733"/>
                      <a:pt x="0" y="25916"/>
                    </a:cubicBezTo>
                    <a:cubicBezTo>
                      <a:pt x="7994" y="27208"/>
                      <a:pt x="15842" y="29282"/>
                      <a:pt x="23431" y="32107"/>
                    </a:cubicBezTo>
                    <a:cubicBezTo>
                      <a:pt x="41628" y="38979"/>
                      <a:pt x="61070" y="41933"/>
                      <a:pt x="80486" y="40775"/>
                    </a:cubicBezTo>
                    <a:close/>
                  </a:path>
                </a:pathLst>
              </a:custGeom>
              <a:grpFill/>
              <a:ln w="9525" cap="flat">
                <a:noFill/>
                <a:prstDash val="solid"/>
                <a:miter/>
              </a:ln>
            </p:spPr>
            <p:txBody>
              <a:bodyPr/>
              <a:lstStyle/>
              <a:p>
                <a:endParaRPr lang="en-US"/>
              </a:p>
            </p:txBody>
          </p:sp>
          <p:sp>
            <p:nvSpPr>
              <p:cNvPr id="91" name="Freeform: Shape 90">
                <a:extLst>
                  <a:ext uri="{FF2B5EF4-FFF2-40B4-BE49-F238E27FC236}">
                    <a16:creationId xmlns:a16="http://schemas.microsoft.com/office/drawing/2014/main" id="{83752BF8-4766-09E1-FE9D-E7D973EF5052}"/>
                  </a:ext>
                </a:extLst>
              </p:cNvPr>
              <p:cNvSpPr/>
              <p:nvPr/>
            </p:nvSpPr>
            <p:spPr>
              <a:xfrm>
                <a:off x="6099714" y="3365944"/>
                <a:ext cx="54387" cy="55911"/>
              </a:xfrm>
              <a:custGeom>
                <a:avLst/>
                <a:gdLst>
                  <a:gd name="csX0" fmla="*/ 22955 w 54387"/>
                  <a:gd name="csY0" fmla="*/ 40577 h 55911"/>
                  <a:gd name="csX1" fmla="*/ 5334 w 54387"/>
                  <a:gd name="csY1" fmla="*/ 55912 h 55911"/>
                  <a:gd name="csX2" fmla="*/ 50959 w 54387"/>
                  <a:gd name="csY2" fmla="*/ 19812 h 55911"/>
                  <a:gd name="csX3" fmla="*/ 54388 w 54387"/>
                  <a:gd name="csY3" fmla="*/ 0 h 55911"/>
                  <a:gd name="csX4" fmla="*/ 13049 w 54387"/>
                  <a:gd name="csY4" fmla="*/ 15431 h 55911"/>
                  <a:gd name="csX5" fmla="*/ 0 w 54387"/>
                  <a:gd name="csY5" fmla="*/ 40862 h 55911"/>
                  <a:gd name="csX6" fmla="*/ 26670 w 54387"/>
                  <a:gd name="csY6" fmla="*/ 27146 h 55911"/>
                  <a:gd name="csX7" fmla="*/ 31528 w 54387"/>
                  <a:gd name="csY7" fmla="*/ 35719 h 55911"/>
                  <a:gd name="csX8" fmla="*/ 22955 w 54387"/>
                  <a:gd name="csY8" fmla="*/ 40577 h 5591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54387" h="55911">
                    <a:moveTo>
                      <a:pt x="22955" y="40577"/>
                    </a:moveTo>
                    <a:cubicBezTo>
                      <a:pt x="20002" y="40577"/>
                      <a:pt x="12763" y="47054"/>
                      <a:pt x="5334" y="55912"/>
                    </a:cubicBezTo>
                    <a:cubicBezTo>
                      <a:pt x="24384" y="54674"/>
                      <a:pt x="46577" y="40862"/>
                      <a:pt x="50959" y="19812"/>
                    </a:cubicBezTo>
                    <a:cubicBezTo>
                      <a:pt x="52908" y="13373"/>
                      <a:pt x="54060" y="6719"/>
                      <a:pt x="54388" y="0"/>
                    </a:cubicBezTo>
                    <a:cubicBezTo>
                      <a:pt x="39239" y="210"/>
                      <a:pt x="24631" y="5663"/>
                      <a:pt x="13049" y="15431"/>
                    </a:cubicBezTo>
                    <a:cubicBezTo>
                      <a:pt x="6471" y="22565"/>
                      <a:pt x="1960" y="31357"/>
                      <a:pt x="0" y="40862"/>
                    </a:cubicBezTo>
                    <a:cubicBezTo>
                      <a:pt x="8382" y="32004"/>
                      <a:pt x="18288" y="24765"/>
                      <a:pt x="26670" y="27146"/>
                    </a:cubicBezTo>
                    <a:cubicBezTo>
                      <a:pt x="30379" y="28172"/>
                      <a:pt x="32554" y="32010"/>
                      <a:pt x="31528" y="35719"/>
                    </a:cubicBezTo>
                    <a:cubicBezTo>
                      <a:pt x="30502" y="39427"/>
                      <a:pt x="26664" y="41602"/>
                      <a:pt x="22955" y="40577"/>
                    </a:cubicBezTo>
                    <a:close/>
                  </a:path>
                </a:pathLst>
              </a:custGeom>
              <a:grpFill/>
              <a:ln w="9525" cap="flat">
                <a:noFill/>
                <a:prstDash val="solid"/>
                <a:miter/>
              </a:ln>
            </p:spPr>
            <p:txBody>
              <a:bodyPr/>
              <a:lstStyle/>
              <a:p>
                <a:endParaRPr lang="en-US"/>
              </a:p>
            </p:txBody>
          </p:sp>
          <p:sp>
            <p:nvSpPr>
              <p:cNvPr id="92" name="Freeform: Shape 91">
                <a:extLst>
                  <a:ext uri="{FF2B5EF4-FFF2-40B4-BE49-F238E27FC236}">
                    <a16:creationId xmlns:a16="http://schemas.microsoft.com/office/drawing/2014/main" id="{D4FB4423-9531-1C82-805B-F7912DDDEF0C}"/>
                  </a:ext>
                </a:extLst>
              </p:cNvPr>
              <p:cNvSpPr/>
              <p:nvPr/>
            </p:nvSpPr>
            <p:spPr>
              <a:xfrm>
                <a:off x="6029325" y="3348132"/>
                <a:ext cx="53911" cy="56102"/>
              </a:xfrm>
              <a:custGeom>
                <a:avLst/>
                <a:gdLst>
                  <a:gd name="csX0" fmla="*/ 25527 w 53911"/>
                  <a:gd name="csY0" fmla="*/ 34671 h 56102"/>
                  <a:gd name="csX1" fmla="*/ 0 w 53911"/>
                  <a:gd name="csY1" fmla="*/ 17240 h 56102"/>
                  <a:gd name="csX2" fmla="*/ 12668 w 53911"/>
                  <a:gd name="csY2" fmla="*/ 40672 h 56102"/>
                  <a:gd name="csX3" fmla="*/ 53912 w 53911"/>
                  <a:gd name="csY3" fmla="*/ 56102 h 56102"/>
                  <a:gd name="csX4" fmla="*/ 38100 w 53911"/>
                  <a:gd name="csY4" fmla="*/ 14859 h 56102"/>
                  <a:gd name="csX5" fmla="*/ 3429 w 53911"/>
                  <a:gd name="csY5" fmla="*/ 0 h 56102"/>
                  <a:gd name="csX6" fmla="*/ 28575 w 53911"/>
                  <a:gd name="csY6" fmla="*/ 21431 h 56102"/>
                  <a:gd name="csX7" fmla="*/ 31892 w 53911"/>
                  <a:gd name="csY7" fmla="*/ 30688 h 56102"/>
                  <a:gd name="csX8" fmla="*/ 25527 w 53911"/>
                  <a:gd name="csY8" fmla="*/ 34671 h 5610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53911" h="56102">
                    <a:moveTo>
                      <a:pt x="25527" y="34671"/>
                    </a:moveTo>
                    <a:cubicBezTo>
                      <a:pt x="15596" y="31281"/>
                      <a:pt x="6773" y="25256"/>
                      <a:pt x="0" y="17240"/>
                    </a:cubicBezTo>
                    <a:cubicBezTo>
                      <a:pt x="2096" y="26026"/>
                      <a:pt x="6465" y="34106"/>
                      <a:pt x="12668" y="40672"/>
                    </a:cubicBezTo>
                    <a:cubicBezTo>
                      <a:pt x="24200" y="50460"/>
                      <a:pt x="38787" y="55917"/>
                      <a:pt x="53912" y="56102"/>
                    </a:cubicBezTo>
                    <a:cubicBezTo>
                      <a:pt x="53636" y="40927"/>
                      <a:pt x="48040" y="26329"/>
                      <a:pt x="38100" y="14859"/>
                    </a:cubicBezTo>
                    <a:cubicBezTo>
                      <a:pt x="28437" y="6314"/>
                      <a:pt x="16281" y="1104"/>
                      <a:pt x="3429" y="0"/>
                    </a:cubicBezTo>
                    <a:cubicBezTo>
                      <a:pt x="9939" y="9086"/>
                      <a:pt x="18572" y="16444"/>
                      <a:pt x="28575" y="21431"/>
                    </a:cubicBezTo>
                    <a:cubicBezTo>
                      <a:pt x="32047" y="23072"/>
                      <a:pt x="33532" y="27216"/>
                      <a:pt x="31892" y="30688"/>
                    </a:cubicBezTo>
                    <a:cubicBezTo>
                      <a:pt x="30731" y="33146"/>
                      <a:pt x="28245" y="34701"/>
                      <a:pt x="25527" y="34671"/>
                    </a:cubicBezTo>
                    <a:close/>
                  </a:path>
                </a:pathLst>
              </a:custGeom>
              <a:grpFill/>
              <a:ln w="9525" cap="flat">
                <a:noFill/>
                <a:prstDash val="solid"/>
                <a:miter/>
              </a:ln>
            </p:spPr>
            <p:txBody>
              <a:bodyPr/>
              <a:lstStyle/>
              <a:p>
                <a:endParaRPr lang="en-US"/>
              </a:p>
            </p:txBody>
          </p:sp>
          <p:sp>
            <p:nvSpPr>
              <p:cNvPr id="93" name="Freeform: Shape 92">
                <a:extLst>
                  <a:ext uri="{FF2B5EF4-FFF2-40B4-BE49-F238E27FC236}">
                    <a16:creationId xmlns:a16="http://schemas.microsoft.com/office/drawing/2014/main" id="{85C26819-92CF-60E2-DFE2-98C3A1F59799}"/>
                  </a:ext>
                </a:extLst>
              </p:cNvPr>
              <p:cNvSpPr/>
              <p:nvPr/>
            </p:nvSpPr>
            <p:spPr>
              <a:xfrm>
                <a:off x="5839950" y="3422575"/>
                <a:ext cx="388870" cy="224332"/>
              </a:xfrm>
              <a:custGeom>
                <a:avLst/>
                <a:gdLst>
                  <a:gd name="csX0" fmla="*/ 378065 w 388870"/>
                  <a:gd name="csY0" fmla="*/ 170064 h 224332"/>
                  <a:gd name="csX1" fmla="*/ 52977 w 388870"/>
                  <a:gd name="csY1" fmla="*/ 24046 h 224332"/>
                  <a:gd name="csX2" fmla="*/ 79647 w 388870"/>
                  <a:gd name="csY2" fmla="*/ 50716 h 224332"/>
                  <a:gd name="csX3" fmla="*/ 89172 w 388870"/>
                  <a:gd name="csY3" fmla="*/ 48272 h 224332"/>
                  <a:gd name="csX4" fmla="*/ 89172 w 388870"/>
                  <a:gd name="csY4" fmla="*/ 41191 h 224332"/>
                  <a:gd name="csX5" fmla="*/ 49833 w 388870"/>
                  <a:gd name="csY5" fmla="*/ 1852 h 224332"/>
                  <a:gd name="csX6" fmla="*/ 40308 w 388870"/>
                  <a:gd name="csY6" fmla="*/ 1852 h 224332"/>
                  <a:gd name="csX7" fmla="*/ 970 w 388870"/>
                  <a:gd name="csY7" fmla="*/ 40905 h 224332"/>
                  <a:gd name="csX8" fmla="*/ 3413 w 388870"/>
                  <a:gd name="csY8" fmla="*/ 50430 h 224332"/>
                  <a:gd name="csX9" fmla="*/ 10495 w 388870"/>
                  <a:gd name="csY9" fmla="*/ 50430 h 224332"/>
                  <a:gd name="csX10" fmla="*/ 38880 w 388870"/>
                  <a:gd name="csY10" fmla="*/ 22617 h 224332"/>
                  <a:gd name="csX11" fmla="*/ 386352 w 388870"/>
                  <a:gd name="csY11" fmla="*/ 181208 h 224332"/>
                  <a:gd name="csX12" fmla="*/ 387273 w 388870"/>
                  <a:gd name="csY12" fmla="*/ 171418 h 224332"/>
                  <a:gd name="csX13" fmla="*/ 378065 w 388870"/>
                  <a:gd name="csY13" fmla="*/ 170064 h 22433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388870" h="224332">
                    <a:moveTo>
                      <a:pt x="378065" y="170064"/>
                    </a:moveTo>
                    <a:cubicBezTo>
                      <a:pt x="252240" y="265885"/>
                      <a:pt x="64597" y="180541"/>
                      <a:pt x="52977" y="24046"/>
                    </a:cubicBezTo>
                    <a:lnTo>
                      <a:pt x="79647" y="50716"/>
                    </a:lnTo>
                    <a:cubicBezTo>
                      <a:pt x="82952" y="52671"/>
                      <a:pt x="87216" y="51577"/>
                      <a:pt x="89172" y="48272"/>
                    </a:cubicBezTo>
                    <a:cubicBezTo>
                      <a:pt x="90464" y="46089"/>
                      <a:pt x="90464" y="43374"/>
                      <a:pt x="89172" y="41191"/>
                    </a:cubicBezTo>
                    <a:lnTo>
                      <a:pt x="49833" y="1852"/>
                    </a:lnTo>
                    <a:cubicBezTo>
                      <a:pt x="47139" y="-617"/>
                      <a:pt x="43003" y="-617"/>
                      <a:pt x="40308" y="1852"/>
                    </a:cubicBezTo>
                    <a:lnTo>
                      <a:pt x="970" y="40905"/>
                    </a:lnTo>
                    <a:cubicBezTo>
                      <a:pt x="-985" y="44210"/>
                      <a:pt x="109" y="48474"/>
                      <a:pt x="3413" y="50430"/>
                    </a:cubicBezTo>
                    <a:cubicBezTo>
                      <a:pt x="5597" y="51722"/>
                      <a:pt x="8311" y="51722"/>
                      <a:pt x="10495" y="50430"/>
                    </a:cubicBezTo>
                    <a:lnTo>
                      <a:pt x="38880" y="22617"/>
                    </a:lnTo>
                    <a:cubicBezTo>
                      <a:pt x="49452" y="191209"/>
                      <a:pt x="251097" y="284269"/>
                      <a:pt x="386352" y="181208"/>
                    </a:cubicBezTo>
                    <a:cubicBezTo>
                      <a:pt x="389310" y="178759"/>
                      <a:pt x="389722" y="174376"/>
                      <a:pt x="387273" y="171418"/>
                    </a:cubicBezTo>
                    <a:cubicBezTo>
                      <a:pt x="385003" y="168676"/>
                      <a:pt x="381028" y="168092"/>
                      <a:pt x="378065" y="170064"/>
                    </a:cubicBezTo>
                    <a:close/>
                  </a:path>
                </a:pathLst>
              </a:custGeom>
              <a:grpFill/>
              <a:ln w="9525" cap="flat">
                <a:noFill/>
                <a:prstDash val="solid"/>
                <a:miter/>
              </a:ln>
            </p:spPr>
            <p:txBody>
              <a:bodyPr/>
              <a:lstStyle/>
              <a:p>
                <a:endParaRPr lang="en-US"/>
              </a:p>
            </p:txBody>
          </p:sp>
          <p:sp>
            <p:nvSpPr>
              <p:cNvPr id="94" name="Freeform: Shape 93">
                <a:extLst>
                  <a:ext uri="{FF2B5EF4-FFF2-40B4-BE49-F238E27FC236}">
                    <a16:creationId xmlns:a16="http://schemas.microsoft.com/office/drawing/2014/main" id="{A2E2E922-4E4A-1D11-106C-AD3614CB6C8A}"/>
                  </a:ext>
                </a:extLst>
              </p:cNvPr>
              <p:cNvSpPr/>
              <p:nvPr/>
            </p:nvSpPr>
            <p:spPr>
              <a:xfrm>
                <a:off x="5969198" y="3211132"/>
                <a:ext cx="383828" cy="224353"/>
              </a:xfrm>
              <a:custGeom>
                <a:avLst/>
                <a:gdLst>
                  <a:gd name="csX0" fmla="*/ 381976 w 383828"/>
                  <a:gd name="csY0" fmla="*/ 173671 h 224353"/>
                  <a:gd name="csX1" fmla="*/ 372451 w 383828"/>
                  <a:gd name="csY1" fmla="*/ 173671 h 224353"/>
                  <a:gd name="csX2" fmla="*/ 343876 w 383828"/>
                  <a:gd name="csY2" fmla="*/ 201770 h 224353"/>
                  <a:gd name="csX3" fmla="*/ 2976 w 383828"/>
                  <a:gd name="csY3" fmla="*/ 38607 h 224353"/>
                  <a:gd name="csX4" fmla="*/ 1262 w 383828"/>
                  <a:gd name="csY4" fmla="*/ 48322 h 224353"/>
                  <a:gd name="csX5" fmla="*/ 10977 w 383828"/>
                  <a:gd name="csY5" fmla="*/ 50037 h 224353"/>
                  <a:gd name="csX6" fmla="*/ 329969 w 383828"/>
                  <a:gd name="csY6" fmla="*/ 200341 h 224353"/>
                  <a:gd name="csX7" fmla="*/ 303299 w 383828"/>
                  <a:gd name="csY7" fmla="*/ 173671 h 224353"/>
                  <a:gd name="csX8" fmla="*/ 293774 w 383828"/>
                  <a:gd name="csY8" fmla="*/ 176115 h 224353"/>
                  <a:gd name="csX9" fmla="*/ 293774 w 383828"/>
                  <a:gd name="csY9" fmla="*/ 183196 h 224353"/>
                  <a:gd name="csX10" fmla="*/ 333113 w 383828"/>
                  <a:gd name="csY10" fmla="*/ 222535 h 224353"/>
                  <a:gd name="csX11" fmla="*/ 342638 w 383828"/>
                  <a:gd name="csY11" fmla="*/ 222535 h 224353"/>
                  <a:gd name="csX12" fmla="*/ 381976 w 383828"/>
                  <a:gd name="csY12" fmla="*/ 183196 h 224353"/>
                  <a:gd name="csX13" fmla="*/ 381976 w 383828"/>
                  <a:gd name="csY13" fmla="*/ 173671 h 2243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383828" h="224353">
                    <a:moveTo>
                      <a:pt x="381976" y="173671"/>
                    </a:moveTo>
                    <a:cubicBezTo>
                      <a:pt x="379299" y="171155"/>
                      <a:pt x="375127" y="171155"/>
                      <a:pt x="372451" y="173671"/>
                    </a:cubicBezTo>
                    <a:lnTo>
                      <a:pt x="343876" y="201770"/>
                    </a:lnTo>
                    <a:cubicBezTo>
                      <a:pt x="333684" y="36892"/>
                      <a:pt x="138898" y="-57596"/>
                      <a:pt x="2976" y="38607"/>
                    </a:cubicBezTo>
                    <a:cubicBezTo>
                      <a:pt x="-180" y="40816"/>
                      <a:pt x="-948" y="45166"/>
                      <a:pt x="1262" y="48322"/>
                    </a:cubicBezTo>
                    <a:cubicBezTo>
                      <a:pt x="3471" y="51479"/>
                      <a:pt x="7821" y="52246"/>
                      <a:pt x="10977" y="50037"/>
                    </a:cubicBezTo>
                    <a:cubicBezTo>
                      <a:pt x="137279" y="-39308"/>
                      <a:pt x="318539" y="47179"/>
                      <a:pt x="329969" y="200341"/>
                    </a:cubicBezTo>
                    <a:lnTo>
                      <a:pt x="303299" y="173671"/>
                    </a:lnTo>
                    <a:cubicBezTo>
                      <a:pt x="299994" y="171716"/>
                      <a:pt x="295730" y="172810"/>
                      <a:pt x="293774" y="176115"/>
                    </a:cubicBezTo>
                    <a:cubicBezTo>
                      <a:pt x="292482" y="178298"/>
                      <a:pt x="292482" y="181013"/>
                      <a:pt x="293774" y="183196"/>
                    </a:cubicBezTo>
                    <a:lnTo>
                      <a:pt x="333113" y="222535"/>
                    </a:lnTo>
                    <a:cubicBezTo>
                      <a:pt x="335824" y="224960"/>
                      <a:pt x="339926" y="224960"/>
                      <a:pt x="342638" y="222535"/>
                    </a:cubicBezTo>
                    <a:lnTo>
                      <a:pt x="381976" y="183196"/>
                    </a:lnTo>
                    <a:cubicBezTo>
                      <a:pt x="384446" y="180502"/>
                      <a:pt x="384446" y="176366"/>
                      <a:pt x="381976" y="173671"/>
                    </a:cubicBezTo>
                    <a:close/>
                  </a:path>
                </a:pathLst>
              </a:custGeom>
              <a:grpFill/>
              <a:ln w="9525" cap="flat">
                <a:noFill/>
                <a:prstDash val="solid"/>
                <a:miter/>
              </a:ln>
            </p:spPr>
            <p:txBody>
              <a:bodyPr/>
              <a:lstStyle/>
              <a:p>
                <a:endParaRPr lang="en-US"/>
              </a:p>
            </p:txBody>
          </p:sp>
        </p:grpSp>
      </p:grpSp>
      <p:grpSp>
        <p:nvGrpSpPr>
          <p:cNvPr id="100" name="Group 99">
            <a:extLst>
              <a:ext uri="{FF2B5EF4-FFF2-40B4-BE49-F238E27FC236}">
                <a16:creationId xmlns:a16="http://schemas.microsoft.com/office/drawing/2014/main" id="{BB681DF5-179E-F11A-99F8-6D230454A8E5}"/>
              </a:ext>
            </a:extLst>
          </p:cNvPr>
          <p:cNvGrpSpPr/>
          <p:nvPr/>
        </p:nvGrpSpPr>
        <p:grpSpPr>
          <a:xfrm>
            <a:off x="372424" y="3205234"/>
            <a:ext cx="354334" cy="354334"/>
            <a:chOff x="372424" y="3205234"/>
            <a:chExt cx="354334" cy="354334"/>
          </a:xfrm>
        </p:grpSpPr>
        <p:sp>
          <p:nvSpPr>
            <p:cNvPr id="71" name="Oval 70">
              <a:extLst>
                <a:ext uri="{FF2B5EF4-FFF2-40B4-BE49-F238E27FC236}">
                  <a16:creationId xmlns:a16="http://schemas.microsoft.com/office/drawing/2014/main" id="{20C708AF-836D-FD19-F39B-5D9D0BAD9819}"/>
                </a:ext>
              </a:extLst>
            </p:cNvPr>
            <p:cNvSpPr/>
            <p:nvPr/>
          </p:nvSpPr>
          <p:spPr>
            <a:xfrm>
              <a:off x="372424" y="3205234"/>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Graphic 97">
              <a:extLst>
                <a:ext uri="{FF2B5EF4-FFF2-40B4-BE49-F238E27FC236}">
                  <a16:creationId xmlns:a16="http://schemas.microsoft.com/office/drawing/2014/main" id="{17631812-088D-AC3A-562A-6A063B71314D}"/>
                </a:ext>
              </a:extLst>
            </p:cNvPr>
            <p:cNvSpPr/>
            <p:nvPr/>
          </p:nvSpPr>
          <p:spPr>
            <a:xfrm>
              <a:off x="430080" y="3260957"/>
              <a:ext cx="239022" cy="242889"/>
            </a:xfrm>
            <a:custGeom>
              <a:avLst/>
              <a:gdLst>
                <a:gd name="csX0" fmla="*/ 604182 w 4789865"/>
                <a:gd name="csY0" fmla="*/ 2852547 h 4867370"/>
                <a:gd name="csX1" fmla="*/ 645520 w 4789865"/>
                <a:gd name="csY1" fmla="*/ 2631662 h 4867370"/>
                <a:gd name="csX2" fmla="*/ 779156 w 4789865"/>
                <a:gd name="csY2" fmla="*/ 2631662 h 4867370"/>
                <a:gd name="csX3" fmla="*/ 820209 w 4789865"/>
                <a:gd name="csY3" fmla="*/ 2852547 h 4867370"/>
                <a:gd name="csX4" fmla="*/ 914983 w 4789865"/>
                <a:gd name="csY4" fmla="*/ 3006947 h 4867370"/>
                <a:gd name="csX5" fmla="*/ 509694 w 4789865"/>
                <a:gd name="csY5" fmla="*/ 3006947 h 4867370"/>
                <a:gd name="csX6" fmla="*/ 467879 w 4789865"/>
                <a:gd name="csY6" fmla="*/ 3049905 h 4867370"/>
                <a:gd name="csX7" fmla="*/ 712195 w 4789865"/>
                <a:gd name="csY7" fmla="*/ 3310223 h 4867370"/>
                <a:gd name="csX8" fmla="*/ 956797 w 4789865"/>
                <a:gd name="csY8" fmla="*/ 3049905 h 4867370"/>
                <a:gd name="csX9" fmla="*/ 914983 w 4789865"/>
                <a:gd name="csY9" fmla="*/ 3006947 h 4867370"/>
                <a:gd name="csX10" fmla="*/ 492358 w 4789865"/>
                <a:gd name="csY10" fmla="*/ 2181892 h 4867370"/>
                <a:gd name="csX11" fmla="*/ 532078 w 4789865"/>
                <a:gd name="csY11" fmla="*/ 2262378 h 4867370"/>
                <a:gd name="csX12" fmla="*/ 549889 w 4789865"/>
                <a:gd name="csY12" fmla="*/ 2420017 h 4867370"/>
                <a:gd name="csX13" fmla="*/ 556081 w 4789865"/>
                <a:gd name="csY13" fmla="*/ 2422970 h 4867370"/>
                <a:gd name="csX14" fmla="*/ 603896 w 4789865"/>
                <a:gd name="csY14" fmla="*/ 2470785 h 4867370"/>
                <a:gd name="csX15" fmla="*/ 606849 w 4789865"/>
                <a:gd name="csY15" fmla="*/ 2477262 h 4867370"/>
                <a:gd name="csX16" fmla="*/ 817447 w 4789865"/>
                <a:gd name="csY16" fmla="*/ 2477262 h 4867370"/>
                <a:gd name="csX17" fmla="*/ 820399 w 4789865"/>
                <a:gd name="csY17" fmla="*/ 2470785 h 4867370"/>
                <a:gd name="csX18" fmla="*/ 868501 w 4789865"/>
                <a:gd name="csY18" fmla="*/ 2422970 h 4867370"/>
                <a:gd name="csX19" fmla="*/ 874692 w 4789865"/>
                <a:gd name="csY19" fmla="*/ 2420017 h 4867370"/>
                <a:gd name="csX20" fmla="*/ 892504 w 4789865"/>
                <a:gd name="csY20" fmla="*/ 2262378 h 4867370"/>
                <a:gd name="csX21" fmla="*/ 931937 w 4789865"/>
                <a:gd name="csY21" fmla="*/ 2181892 h 4867370"/>
                <a:gd name="csX22" fmla="*/ 945748 w 4789865"/>
                <a:gd name="csY22" fmla="*/ 2073307 h 4867370"/>
                <a:gd name="csX23" fmla="*/ 837163 w 4789865"/>
                <a:gd name="csY23" fmla="*/ 2059781 h 4867370"/>
                <a:gd name="csX24" fmla="*/ 743437 w 4789865"/>
                <a:gd name="csY24" fmla="*/ 2222278 h 4867370"/>
                <a:gd name="csX25" fmla="*/ 726388 w 4789865"/>
                <a:gd name="csY25" fmla="*/ 2309717 h 4867370"/>
                <a:gd name="csX26" fmla="*/ 712100 w 4789865"/>
                <a:gd name="csY26" fmla="*/ 2303812 h 4867370"/>
                <a:gd name="csX27" fmla="*/ 698098 w 4789865"/>
                <a:gd name="csY27" fmla="*/ 2309717 h 4867370"/>
                <a:gd name="csX28" fmla="*/ 681049 w 4789865"/>
                <a:gd name="csY28" fmla="*/ 2222278 h 4867370"/>
                <a:gd name="csX29" fmla="*/ 587132 w 4789865"/>
                <a:gd name="csY29" fmla="*/ 2059781 h 4867370"/>
                <a:gd name="csX30" fmla="*/ 478833 w 4789865"/>
                <a:gd name="csY30" fmla="*/ 2073307 h 4867370"/>
                <a:gd name="csX31" fmla="*/ 492358 w 4789865"/>
                <a:gd name="csY31" fmla="*/ 2181892 h 4867370"/>
                <a:gd name="csX32" fmla="*/ 4784323 w 4789865"/>
                <a:gd name="csY32" fmla="*/ 1874044 h 4867370"/>
                <a:gd name="csX33" fmla="*/ 4316646 w 4789865"/>
                <a:gd name="csY33" fmla="*/ 2060067 h 4867370"/>
                <a:gd name="csX34" fmla="*/ 4150054 w 4789865"/>
                <a:gd name="csY34" fmla="*/ 2426970 h 4867370"/>
                <a:gd name="csX35" fmla="*/ 3991558 w 4789865"/>
                <a:gd name="csY35" fmla="*/ 2809875 h 4867370"/>
                <a:gd name="csX36" fmla="*/ 3990986 w 4789865"/>
                <a:gd name="csY36" fmla="*/ 2811495 h 4867370"/>
                <a:gd name="csX37" fmla="*/ 3829823 w 4789865"/>
                <a:gd name="csY37" fmla="*/ 2587085 h 4867370"/>
                <a:gd name="csX38" fmla="*/ 3703998 w 4789865"/>
                <a:gd name="csY38" fmla="*/ 2308193 h 4867370"/>
                <a:gd name="csX39" fmla="*/ 3313568 w 4789865"/>
                <a:gd name="csY39" fmla="*/ 2148078 h 4867370"/>
                <a:gd name="csX40" fmla="*/ 3436726 w 4789865"/>
                <a:gd name="csY40" fmla="*/ 2552033 h 4867370"/>
                <a:gd name="csX41" fmla="*/ 3741241 w 4789865"/>
                <a:gd name="csY41" fmla="*/ 2716435 h 4867370"/>
                <a:gd name="csX42" fmla="*/ 3858970 w 4789865"/>
                <a:gd name="csY42" fmla="*/ 2893600 h 4867370"/>
                <a:gd name="csX43" fmla="*/ 3938122 w 4789865"/>
                <a:gd name="csY43" fmla="*/ 3206020 h 4867370"/>
                <a:gd name="csX44" fmla="*/ 3898403 w 4789865"/>
                <a:gd name="csY44" fmla="*/ 3222784 h 4867370"/>
                <a:gd name="csX45" fmla="*/ 3950219 w 4789865"/>
                <a:gd name="csY45" fmla="*/ 3272695 h 4867370"/>
                <a:gd name="csX46" fmla="*/ 3961554 w 4789865"/>
                <a:gd name="csY46" fmla="*/ 3288125 h 4867370"/>
                <a:gd name="csX47" fmla="*/ 3942885 w 4789865"/>
                <a:gd name="csY47" fmla="*/ 3392329 h 4867370"/>
                <a:gd name="csX48" fmla="*/ 3835157 w 4789865"/>
                <a:gd name="csY48" fmla="*/ 3376136 h 4867370"/>
                <a:gd name="csX49" fmla="*/ 3517118 w 4789865"/>
                <a:gd name="csY49" fmla="*/ 3557016 h 4867370"/>
                <a:gd name="csX50" fmla="*/ 4524196 w 4789865"/>
                <a:gd name="csY50" fmla="*/ 3557016 h 4867370"/>
                <a:gd name="csX51" fmla="*/ 4526101 w 4789865"/>
                <a:gd name="csY51" fmla="*/ 3527012 h 4867370"/>
                <a:gd name="csX52" fmla="*/ 4383226 w 4789865"/>
                <a:gd name="csY52" fmla="*/ 3297270 h 4867370"/>
                <a:gd name="csX53" fmla="*/ 4394275 w 4789865"/>
                <a:gd name="csY53" fmla="*/ 3385852 h 4867370"/>
                <a:gd name="csX54" fmla="*/ 4315979 w 4789865"/>
                <a:gd name="csY54" fmla="*/ 3461957 h 4867370"/>
                <a:gd name="csX55" fmla="*/ 4239875 w 4789865"/>
                <a:gd name="csY55" fmla="*/ 3383947 h 4867370"/>
                <a:gd name="csX56" fmla="*/ 4092713 w 4789865"/>
                <a:gd name="csY56" fmla="*/ 3204972 h 4867370"/>
                <a:gd name="csX57" fmla="*/ 4140529 w 4789865"/>
                <a:gd name="csY57" fmla="*/ 2850452 h 4867370"/>
                <a:gd name="csX58" fmla="*/ 4263687 w 4789865"/>
                <a:gd name="csY58" fmla="*/ 2538317 h 4867370"/>
                <a:gd name="csX59" fmla="*/ 4632781 w 4789865"/>
                <a:gd name="csY59" fmla="*/ 2354199 h 4867370"/>
                <a:gd name="csX60" fmla="*/ 4784323 w 4789865"/>
                <a:gd name="csY60" fmla="*/ 1874044 h 4867370"/>
                <a:gd name="csX61" fmla="*/ 3384339 w 4789865"/>
                <a:gd name="csY61" fmla="*/ 1338358 h 4867370"/>
                <a:gd name="csX62" fmla="*/ 3593603 w 4789865"/>
                <a:gd name="csY62" fmla="*/ 1516571 h 4867370"/>
                <a:gd name="csX63" fmla="*/ 3772102 w 4789865"/>
                <a:gd name="csY63" fmla="*/ 1725835 h 4867370"/>
                <a:gd name="csX64" fmla="*/ 3879544 w 4789865"/>
                <a:gd name="csY64" fmla="*/ 1743361 h 4867370"/>
                <a:gd name="csX65" fmla="*/ 3897070 w 4789865"/>
                <a:gd name="csY65" fmla="*/ 1635919 h 4867370"/>
                <a:gd name="csX66" fmla="*/ 3702950 w 4789865"/>
                <a:gd name="csY66" fmla="*/ 1407509 h 4867370"/>
                <a:gd name="csX67" fmla="*/ 3474255 w 4789865"/>
                <a:gd name="csY67" fmla="*/ 1213390 h 4867370"/>
                <a:gd name="csX68" fmla="*/ 3366813 w 4789865"/>
                <a:gd name="csY68" fmla="*/ 1230916 h 4867370"/>
                <a:gd name="csX69" fmla="*/ 3384339 w 4789865"/>
                <a:gd name="csY69" fmla="*/ 1338358 h 4867370"/>
                <a:gd name="csX70" fmla="*/ 3879544 w 4789865"/>
                <a:gd name="csY70" fmla="*/ 3687413 h 4867370"/>
                <a:gd name="csX71" fmla="*/ 3772102 w 4789865"/>
                <a:gd name="csY71" fmla="*/ 3704939 h 4867370"/>
                <a:gd name="csX72" fmla="*/ 3593603 w 4789865"/>
                <a:gd name="csY72" fmla="*/ 3914204 h 4867370"/>
                <a:gd name="csX73" fmla="*/ 3384339 w 4789865"/>
                <a:gd name="csY73" fmla="*/ 4092702 h 4867370"/>
                <a:gd name="csX74" fmla="*/ 3366813 w 4789865"/>
                <a:gd name="csY74" fmla="*/ 4199858 h 4867370"/>
                <a:gd name="csX75" fmla="*/ 3474255 w 4789865"/>
                <a:gd name="csY75" fmla="*/ 4217384 h 4867370"/>
                <a:gd name="csX76" fmla="*/ 3702950 w 4789865"/>
                <a:gd name="csY76" fmla="*/ 4023551 h 4867370"/>
                <a:gd name="csX77" fmla="*/ 3897070 w 4789865"/>
                <a:gd name="csY77" fmla="*/ 3794855 h 4867370"/>
                <a:gd name="csX78" fmla="*/ 3879544 w 4789865"/>
                <a:gd name="csY78" fmla="*/ 3687413 h 4867370"/>
                <a:gd name="csX79" fmla="*/ 1315604 w 4789865"/>
                <a:gd name="csY79" fmla="*/ 1213390 h 4867370"/>
                <a:gd name="csX80" fmla="*/ 1086909 w 4789865"/>
                <a:gd name="csY80" fmla="*/ 1407509 h 4867370"/>
                <a:gd name="csX81" fmla="*/ 893075 w 4789865"/>
                <a:gd name="csY81" fmla="*/ 1635919 h 4867370"/>
                <a:gd name="csX82" fmla="*/ 910315 w 4789865"/>
                <a:gd name="csY82" fmla="*/ 1743361 h 4867370"/>
                <a:gd name="csX83" fmla="*/ 1017757 w 4789865"/>
                <a:gd name="csY83" fmla="*/ 1725835 h 4867370"/>
                <a:gd name="csX84" fmla="*/ 1196256 w 4789865"/>
                <a:gd name="csY84" fmla="*/ 1516571 h 4867370"/>
                <a:gd name="csX85" fmla="*/ 1405520 w 4789865"/>
                <a:gd name="csY85" fmla="*/ 1338358 h 4867370"/>
                <a:gd name="csX86" fmla="*/ 1423046 w 4789865"/>
                <a:gd name="csY86" fmla="*/ 1230916 h 4867370"/>
                <a:gd name="csX87" fmla="*/ 1315604 w 4789865"/>
                <a:gd name="csY87" fmla="*/ 1213390 h 4867370"/>
                <a:gd name="csX88" fmla="*/ 1405520 w 4789865"/>
                <a:gd name="csY88" fmla="*/ 4092607 h 4867370"/>
                <a:gd name="csX89" fmla="*/ 1196256 w 4789865"/>
                <a:gd name="csY89" fmla="*/ 3914108 h 4867370"/>
                <a:gd name="csX90" fmla="*/ 1017757 w 4789865"/>
                <a:gd name="csY90" fmla="*/ 3704844 h 4867370"/>
                <a:gd name="csX91" fmla="*/ 910315 w 4789865"/>
                <a:gd name="csY91" fmla="*/ 3687318 h 4867370"/>
                <a:gd name="csX92" fmla="*/ 893075 w 4789865"/>
                <a:gd name="csY92" fmla="*/ 3794760 h 4867370"/>
                <a:gd name="csX93" fmla="*/ 1086909 w 4789865"/>
                <a:gd name="csY93" fmla="*/ 4023455 h 4867370"/>
                <a:gd name="csX94" fmla="*/ 1315604 w 4789865"/>
                <a:gd name="csY94" fmla="*/ 4217289 h 4867370"/>
                <a:gd name="csX95" fmla="*/ 1423046 w 4789865"/>
                <a:gd name="csY95" fmla="*/ 4199763 h 4867370"/>
                <a:gd name="csX96" fmla="*/ 1405520 w 4789865"/>
                <a:gd name="csY96" fmla="*/ 4092607 h 4867370"/>
                <a:gd name="csX97" fmla="*/ 2970478 w 4789865"/>
                <a:gd name="csY97" fmla="*/ 2139982 h 4867370"/>
                <a:gd name="csX98" fmla="*/ 3208888 w 4789865"/>
                <a:gd name="csY98" fmla="*/ 2715387 h 4867370"/>
                <a:gd name="csX99" fmla="*/ 2970478 w 4789865"/>
                <a:gd name="csY99" fmla="*/ 3290983 h 4867370"/>
                <a:gd name="csX100" fmla="*/ 2395072 w 4789865"/>
                <a:gd name="csY100" fmla="*/ 3529394 h 4867370"/>
                <a:gd name="csX101" fmla="*/ 1819477 w 4789865"/>
                <a:gd name="csY101" fmla="*/ 3290983 h 4867370"/>
                <a:gd name="csX102" fmla="*/ 1581066 w 4789865"/>
                <a:gd name="csY102" fmla="*/ 2715387 h 4867370"/>
                <a:gd name="csX103" fmla="*/ 1819477 w 4789865"/>
                <a:gd name="csY103" fmla="*/ 2139982 h 4867370"/>
                <a:gd name="csX104" fmla="*/ 2395072 w 4789865"/>
                <a:gd name="csY104" fmla="*/ 1901571 h 4867370"/>
                <a:gd name="csX105" fmla="*/ 2970478 w 4789865"/>
                <a:gd name="csY105" fmla="*/ 2139982 h 4867370"/>
                <a:gd name="csX106" fmla="*/ 3029342 w 4789865"/>
                <a:gd name="csY106" fmla="*/ 2534793 h 4867370"/>
                <a:gd name="csX107" fmla="*/ 2861417 w 4789865"/>
                <a:gd name="csY107" fmla="*/ 2249138 h 4867370"/>
                <a:gd name="csX108" fmla="*/ 2520136 w 4789865"/>
                <a:gd name="csY108" fmla="*/ 2067973 h 4867370"/>
                <a:gd name="csX109" fmla="*/ 2368117 w 4789865"/>
                <a:gd name="csY109" fmla="*/ 2326672 h 4867370"/>
                <a:gd name="csX110" fmla="*/ 1851100 w 4789865"/>
                <a:gd name="csY110" fmla="*/ 2609945 h 4867370"/>
                <a:gd name="csX111" fmla="*/ 1743658 w 4789865"/>
                <a:gd name="csY111" fmla="*/ 2611565 h 4867370"/>
                <a:gd name="csX112" fmla="*/ 1735561 w 4789865"/>
                <a:gd name="csY112" fmla="*/ 2715482 h 4867370"/>
                <a:gd name="csX113" fmla="*/ 1771185 w 4789865"/>
                <a:gd name="csY113" fmla="*/ 2929604 h 4867370"/>
                <a:gd name="csX114" fmla="*/ 1862720 w 4789865"/>
                <a:gd name="csY114" fmla="*/ 2833783 h 4867370"/>
                <a:gd name="csX115" fmla="*/ 2125706 w 4789865"/>
                <a:gd name="csY115" fmla="*/ 2895029 h 4867370"/>
                <a:gd name="csX116" fmla="*/ 2181617 w 4789865"/>
                <a:gd name="csY116" fmla="*/ 3157728 h 4867370"/>
                <a:gd name="csX117" fmla="*/ 2085224 w 4789865"/>
                <a:gd name="csY117" fmla="*/ 3297841 h 4867370"/>
                <a:gd name="csX118" fmla="*/ 2395168 w 4789865"/>
                <a:gd name="csY118" fmla="*/ 3375089 h 4867370"/>
                <a:gd name="csX119" fmla="*/ 2856083 w 4789865"/>
                <a:gd name="csY119" fmla="*/ 3187160 h 4867370"/>
                <a:gd name="csX120" fmla="*/ 2792075 w 4789865"/>
                <a:gd name="csY120" fmla="*/ 3000280 h 4867370"/>
                <a:gd name="csX121" fmla="*/ 2551473 w 4789865"/>
                <a:gd name="csY121" fmla="*/ 2892552 h 4867370"/>
                <a:gd name="csX122" fmla="*/ 2451842 w 4789865"/>
                <a:gd name="csY122" fmla="*/ 2662523 h 4867370"/>
                <a:gd name="csX123" fmla="*/ 2545282 w 4789865"/>
                <a:gd name="csY123" fmla="*/ 2534793 h 4867370"/>
                <a:gd name="csX124" fmla="*/ 3029342 w 4789865"/>
                <a:gd name="csY124" fmla="*/ 2534793 h 4867370"/>
                <a:gd name="csX125" fmla="*/ 1411997 w 4789865"/>
                <a:gd name="csY125" fmla="*/ 3014282 h 4867370"/>
                <a:gd name="csX126" fmla="*/ 952225 w 4789865"/>
                <a:gd name="csY126" fmla="*/ 2554510 h 4867370"/>
                <a:gd name="csX127" fmla="*/ 1411997 w 4789865"/>
                <a:gd name="csY127" fmla="*/ 3014282 h 4867370"/>
                <a:gd name="csX128" fmla="*/ 472451 w 4789865"/>
                <a:gd name="csY128" fmla="*/ 2554510 h 4867370"/>
                <a:gd name="csX129" fmla="*/ 12679 w 4789865"/>
                <a:gd name="csY129" fmla="*/ 3014282 h 4867370"/>
                <a:gd name="csX130" fmla="*/ 472451 w 4789865"/>
                <a:gd name="csY130" fmla="*/ 2554510 h 4867370"/>
                <a:gd name="csX131" fmla="*/ 2395072 w 4789865"/>
                <a:gd name="csY131" fmla="*/ 3749707 h 4867370"/>
                <a:gd name="csX132" fmla="*/ 1836145 w 4789865"/>
                <a:gd name="csY132" fmla="*/ 4308634 h 4867370"/>
                <a:gd name="csX133" fmla="*/ 1941492 w 4789865"/>
                <a:gd name="csY133" fmla="*/ 4635056 h 4867370"/>
                <a:gd name="csX134" fmla="*/ 2012739 w 4789865"/>
                <a:gd name="csY134" fmla="*/ 4501134 h 4867370"/>
                <a:gd name="csX135" fmla="*/ 2113990 w 4789865"/>
                <a:gd name="csY135" fmla="*/ 4412266 h 4867370"/>
                <a:gd name="csX136" fmla="*/ 2060269 w 4789865"/>
                <a:gd name="csY136" fmla="*/ 4230529 h 4867370"/>
                <a:gd name="csX137" fmla="*/ 2158281 w 4789865"/>
                <a:gd name="csY137" fmla="*/ 3994023 h 4867370"/>
                <a:gd name="csX138" fmla="*/ 2395072 w 4789865"/>
                <a:gd name="csY138" fmla="*/ 3896011 h 4867370"/>
                <a:gd name="csX139" fmla="*/ 2631578 w 4789865"/>
                <a:gd name="csY139" fmla="*/ 3994023 h 4867370"/>
                <a:gd name="csX140" fmla="*/ 2729591 w 4789865"/>
                <a:gd name="csY140" fmla="*/ 4230529 h 4867370"/>
                <a:gd name="csX141" fmla="*/ 2675869 w 4789865"/>
                <a:gd name="csY141" fmla="*/ 4412266 h 4867370"/>
                <a:gd name="csX142" fmla="*/ 2781216 w 4789865"/>
                <a:gd name="csY142" fmla="*/ 4505992 h 4867370"/>
                <a:gd name="csX143" fmla="*/ 2848462 w 4789865"/>
                <a:gd name="csY143" fmla="*/ 4634770 h 4867370"/>
                <a:gd name="csX144" fmla="*/ 2953809 w 4789865"/>
                <a:gd name="csY144" fmla="*/ 4308634 h 4867370"/>
                <a:gd name="csX145" fmla="*/ 2395072 w 4789865"/>
                <a:gd name="csY145" fmla="*/ 3749707 h 4867370"/>
                <a:gd name="csX146" fmla="*/ 2395072 w 4789865"/>
                <a:gd name="csY146" fmla="*/ 4410742 h 4867370"/>
                <a:gd name="csX147" fmla="*/ 2522231 w 4789865"/>
                <a:gd name="csY147" fmla="*/ 4358069 h 4867370"/>
                <a:gd name="csX148" fmla="*/ 2575190 w 4789865"/>
                <a:gd name="csY148" fmla="*/ 4230624 h 4867370"/>
                <a:gd name="csX149" fmla="*/ 2522231 w 4789865"/>
                <a:gd name="csY149" fmla="*/ 4103180 h 4867370"/>
                <a:gd name="csX150" fmla="*/ 2395072 w 4789865"/>
                <a:gd name="csY150" fmla="*/ 4050506 h 4867370"/>
                <a:gd name="csX151" fmla="*/ 2267628 w 4789865"/>
                <a:gd name="csY151" fmla="*/ 4103180 h 4867370"/>
                <a:gd name="csX152" fmla="*/ 2214669 w 4789865"/>
                <a:gd name="csY152" fmla="*/ 4230624 h 4867370"/>
                <a:gd name="csX153" fmla="*/ 2267628 w 4789865"/>
                <a:gd name="csY153" fmla="*/ 4358069 h 4867370"/>
                <a:gd name="csX154" fmla="*/ 2395072 w 4789865"/>
                <a:gd name="csY154" fmla="*/ 4410742 h 4867370"/>
                <a:gd name="csX155" fmla="*/ 2659963 w 4789865"/>
                <a:gd name="csY155" fmla="*/ 4601337 h 4867370"/>
                <a:gd name="csX156" fmla="*/ 2557664 w 4789865"/>
                <a:gd name="csY156" fmla="*/ 4525232 h 4867370"/>
                <a:gd name="csX157" fmla="*/ 2555473 w 4789865"/>
                <a:gd name="csY157" fmla="*/ 4524471 h 4867370"/>
                <a:gd name="csX158" fmla="*/ 2395072 w 4789865"/>
                <a:gd name="csY158" fmla="*/ 4565523 h 4867370"/>
                <a:gd name="csX159" fmla="*/ 2234386 w 4789865"/>
                <a:gd name="csY159" fmla="*/ 4524471 h 4867370"/>
                <a:gd name="csX160" fmla="*/ 2132373 w 4789865"/>
                <a:gd name="csY160" fmla="*/ 4598194 h 4867370"/>
                <a:gd name="csX161" fmla="*/ 2080557 w 4789865"/>
                <a:gd name="csY161" fmla="*/ 4717828 h 4867370"/>
                <a:gd name="csX162" fmla="*/ 2074366 w 4789865"/>
                <a:gd name="csY162" fmla="*/ 4766120 h 4867370"/>
                <a:gd name="csX163" fmla="*/ 2395168 w 4789865"/>
                <a:gd name="csY163" fmla="*/ 4867371 h 4867370"/>
                <a:gd name="csX164" fmla="*/ 2715684 w 4789865"/>
                <a:gd name="csY164" fmla="*/ 4766120 h 4867370"/>
                <a:gd name="csX165" fmla="*/ 2709493 w 4789865"/>
                <a:gd name="csY165" fmla="*/ 4717828 h 4867370"/>
                <a:gd name="csX166" fmla="*/ 2659963 w 4789865"/>
                <a:gd name="csY166" fmla="*/ 4601337 h 4867370"/>
                <a:gd name="csX167" fmla="*/ 2524136 w 4789865"/>
                <a:gd name="csY167" fmla="*/ 658559 h 4867370"/>
                <a:gd name="csX168" fmla="*/ 2557378 w 4789865"/>
                <a:gd name="csY168" fmla="*/ 657511 h 4867370"/>
                <a:gd name="csX169" fmla="*/ 2850368 w 4789865"/>
                <a:gd name="csY169" fmla="*/ 764477 h 4867370"/>
                <a:gd name="csX170" fmla="*/ 2512039 w 4789865"/>
                <a:gd name="csY170" fmla="*/ 474726 h 4867370"/>
                <a:gd name="csX171" fmla="*/ 2331160 w 4789865"/>
                <a:gd name="csY171" fmla="*/ 526256 h 4867370"/>
                <a:gd name="csX172" fmla="*/ 2524136 w 4789865"/>
                <a:gd name="csY172" fmla="*/ 658559 h 4867370"/>
                <a:gd name="csX173" fmla="*/ 1846432 w 4789865"/>
                <a:gd name="csY173" fmla="*/ 1411510 h 4867370"/>
                <a:gd name="csX174" fmla="*/ 2561951 w 4789865"/>
                <a:gd name="csY174" fmla="*/ 1411510 h 4867370"/>
                <a:gd name="csX175" fmla="*/ 2861893 w 4789865"/>
                <a:gd name="csY175" fmla="*/ 1111853 h 4867370"/>
                <a:gd name="csX176" fmla="*/ 2652914 w 4789865"/>
                <a:gd name="csY176" fmla="*/ 825913 h 4867370"/>
                <a:gd name="csX177" fmla="*/ 2653200 w 4789865"/>
                <a:gd name="csY177" fmla="*/ 830199 h 4867370"/>
                <a:gd name="csX178" fmla="*/ 2647294 w 4789865"/>
                <a:gd name="csY178" fmla="*/ 923354 h 4867370"/>
                <a:gd name="csX179" fmla="*/ 2558236 w 4789865"/>
                <a:gd name="csY179" fmla="*/ 986790 h 4867370"/>
                <a:gd name="csX180" fmla="*/ 2494799 w 4789865"/>
                <a:gd name="csY180" fmla="*/ 897731 h 4867370"/>
                <a:gd name="csX181" fmla="*/ 2499943 w 4789865"/>
                <a:gd name="csY181" fmla="*/ 840486 h 4867370"/>
                <a:gd name="csX182" fmla="*/ 1908631 w 4789865"/>
                <a:gd name="csY182" fmla="*/ 840486 h 4867370"/>
                <a:gd name="csX183" fmla="*/ 1913488 w 4789865"/>
                <a:gd name="csY183" fmla="*/ 897731 h 4867370"/>
                <a:gd name="csX184" fmla="*/ 1850052 w 4789865"/>
                <a:gd name="csY184" fmla="*/ 986790 h 4867370"/>
                <a:gd name="csX185" fmla="*/ 1761184 w 4789865"/>
                <a:gd name="csY185" fmla="*/ 923354 h 4867370"/>
                <a:gd name="csX186" fmla="*/ 1754992 w 4789865"/>
                <a:gd name="csY186" fmla="*/ 830199 h 4867370"/>
                <a:gd name="csX187" fmla="*/ 1755278 w 4789865"/>
                <a:gd name="csY187" fmla="*/ 825913 h 4867370"/>
                <a:gd name="csX188" fmla="*/ 1546585 w 4789865"/>
                <a:gd name="csY188" fmla="*/ 1111853 h 4867370"/>
                <a:gd name="csX189" fmla="*/ 1846432 w 4789865"/>
                <a:gd name="csY189" fmla="*/ 1411510 h 4867370"/>
                <a:gd name="csX190" fmla="*/ 2915900 w 4789865"/>
                <a:gd name="csY190" fmla="*/ 587788 h 4867370"/>
                <a:gd name="csX191" fmla="*/ 3021436 w 4789865"/>
                <a:gd name="csY191" fmla="*/ 615887 h 4867370"/>
                <a:gd name="csX192" fmla="*/ 3186981 w 4789865"/>
                <a:gd name="csY192" fmla="*/ 520351 h 4867370"/>
                <a:gd name="csX193" fmla="*/ 3215080 w 4789865"/>
                <a:gd name="csY193" fmla="*/ 415004 h 4867370"/>
                <a:gd name="csX194" fmla="*/ 3109733 w 4789865"/>
                <a:gd name="csY194" fmla="*/ 386906 h 4867370"/>
                <a:gd name="csX195" fmla="*/ 2943998 w 4789865"/>
                <a:gd name="csY195" fmla="*/ 482441 h 4867370"/>
                <a:gd name="csX196" fmla="*/ 2915900 w 4789865"/>
                <a:gd name="csY196" fmla="*/ 587788 h 4867370"/>
                <a:gd name="csX197" fmla="*/ 3243464 w 4789865"/>
                <a:gd name="csY197" fmla="*/ 747046 h 4867370"/>
                <a:gd name="csX198" fmla="*/ 3052297 w 4789865"/>
                <a:gd name="csY198" fmla="*/ 747046 h 4867370"/>
                <a:gd name="csX199" fmla="*/ 2975050 w 4789865"/>
                <a:gd name="csY199" fmla="*/ 824294 h 4867370"/>
                <a:gd name="csX200" fmla="*/ 3052297 w 4789865"/>
                <a:gd name="csY200" fmla="*/ 901541 h 4867370"/>
                <a:gd name="csX201" fmla="*/ 3243464 w 4789865"/>
                <a:gd name="csY201" fmla="*/ 901541 h 4867370"/>
                <a:gd name="csX202" fmla="*/ 3320712 w 4789865"/>
                <a:gd name="csY202" fmla="*/ 824294 h 4867370"/>
                <a:gd name="csX203" fmla="*/ 3243464 w 4789865"/>
                <a:gd name="csY203" fmla="*/ 747046 h 4867370"/>
                <a:gd name="csX204" fmla="*/ 2511944 w 4789865"/>
                <a:gd name="csY204" fmla="*/ 345567 h 4867370"/>
                <a:gd name="csX205" fmla="*/ 2589192 w 4789865"/>
                <a:gd name="csY205" fmla="*/ 268319 h 4867370"/>
                <a:gd name="csX206" fmla="*/ 2589192 w 4789865"/>
                <a:gd name="csY206" fmla="*/ 77248 h 4867370"/>
                <a:gd name="csX207" fmla="*/ 2511944 w 4789865"/>
                <a:gd name="csY207" fmla="*/ 0 h 4867370"/>
                <a:gd name="csX208" fmla="*/ 2434696 w 4789865"/>
                <a:gd name="csY208" fmla="*/ 77248 h 4867370"/>
                <a:gd name="csX209" fmla="*/ 2434696 w 4789865"/>
                <a:gd name="csY209" fmla="*/ 268415 h 4867370"/>
                <a:gd name="csX210" fmla="*/ 2511944 w 4789865"/>
                <a:gd name="csY210" fmla="*/ 345567 h 4867370"/>
                <a:gd name="csX211" fmla="*/ 2746354 w 4789865"/>
                <a:gd name="csY211" fmla="*/ 412528 h 4867370"/>
                <a:gd name="csX212" fmla="*/ 2851701 w 4789865"/>
                <a:gd name="csY212" fmla="*/ 384429 h 4867370"/>
                <a:gd name="csX213" fmla="*/ 2947237 w 4789865"/>
                <a:gd name="csY213" fmla="*/ 218694 h 4867370"/>
                <a:gd name="csX214" fmla="*/ 2919138 w 4789865"/>
                <a:gd name="csY214" fmla="*/ 113348 h 4867370"/>
                <a:gd name="csX215" fmla="*/ 2813792 w 4789865"/>
                <a:gd name="csY215" fmla="*/ 141446 h 4867370"/>
                <a:gd name="csX216" fmla="*/ 2718256 w 4789865"/>
                <a:gd name="csY216" fmla="*/ 307181 h 4867370"/>
                <a:gd name="csX217" fmla="*/ 2746354 w 4789865"/>
                <a:gd name="csY217" fmla="*/ 412528 h 4867370"/>
                <a:gd name="csX218" fmla="*/ 2170187 w 4789865"/>
                <a:gd name="csY218" fmla="*/ 376619 h 4867370"/>
                <a:gd name="csX219" fmla="*/ 2275534 w 4789865"/>
                <a:gd name="csY219" fmla="*/ 404717 h 4867370"/>
                <a:gd name="csX220" fmla="*/ 2303632 w 4789865"/>
                <a:gd name="csY220" fmla="*/ 299371 h 4867370"/>
                <a:gd name="csX221" fmla="*/ 2208097 w 4789865"/>
                <a:gd name="csY221" fmla="*/ 133826 h 4867370"/>
                <a:gd name="csX222" fmla="*/ 2102750 w 4789865"/>
                <a:gd name="csY222" fmla="*/ 105728 h 4867370"/>
                <a:gd name="csX223" fmla="*/ 2074651 w 4789865"/>
                <a:gd name="csY223" fmla="*/ 211074 h 486737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Lst>
              <a:rect l="l" t="t" r="r" b="b"/>
              <a:pathLst>
                <a:path w="4789865" h="4867370">
                  <a:moveTo>
                    <a:pt x="604182" y="2852547"/>
                  </a:moveTo>
                  <a:cubicBezTo>
                    <a:pt x="632757" y="2782920"/>
                    <a:pt x="648473" y="2706243"/>
                    <a:pt x="645520" y="2631662"/>
                  </a:cubicBezTo>
                  <a:lnTo>
                    <a:pt x="779156" y="2631662"/>
                  </a:lnTo>
                  <a:cubicBezTo>
                    <a:pt x="775918" y="2706148"/>
                    <a:pt x="791539" y="2782824"/>
                    <a:pt x="820209" y="2852547"/>
                  </a:cubicBezTo>
                  <a:close/>
                  <a:moveTo>
                    <a:pt x="914983" y="3006947"/>
                  </a:moveTo>
                  <a:lnTo>
                    <a:pt x="509694" y="3006947"/>
                  </a:lnTo>
                  <a:cubicBezTo>
                    <a:pt x="496168" y="3022378"/>
                    <a:pt x="482452" y="3036665"/>
                    <a:pt x="467879" y="3049905"/>
                  </a:cubicBezTo>
                  <a:cubicBezTo>
                    <a:pt x="514075" y="3144393"/>
                    <a:pt x="592371" y="3234309"/>
                    <a:pt x="712195" y="3310223"/>
                  </a:cubicBezTo>
                  <a:cubicBezTo>
                    <a:pt x="832306" y="3234309"/>
                    <a:pt x="910601" y="3144488"/>
                    <a:pt x="956797" y="3049905"/>
                  </a:cubicBezTo>
                  <a:cubicBezTo>
                    <a:pt x="942224" y="3036665"/>
                    <a:pt x="928127" y="3022378"/>
                    <a:pt x="914983" y="3006947"/>
                  </a:cubicBezTo>
                  <a:close/>
                  <a:moveTo>
                    <a:pt x="492358" y="2181892"/>
                  </a:moveTo>
                  <a:cubicBezTo>
                    <a:pt x="508837" y="2194274"/>
                    <a:pt x="522076" y="2225326"/>
                    <a:pt x="532078" y="2262378"/>
                  </a:cubicBezTo>
                  <a:cubicBezTo>
                    <a:pt x="546079" y="2314480"/>
                    <a:pt x="551223" y="2373916"/>
                    <a:pt x="549889" y="2420017"/>
                  </a:cubicBezTo>
                  <a:lnTo>
                    <a:pt x="556081" y="2422970"/>
                  </a:lnTo>
                  <a:cubicBezTo>
                    <a:pt x="578179" y="2432971"/>
                    <a:pt x="593895" y="2448592"/>
                    <a:pt x="603896" y="2470785"/>
                  </a:cubicBezTo>
                  <a:lnTo>
                    <a:pt x="606849" y="2477262"/>
                  </a:lnTo>
                  <a:lnTo>
                    <a:pt x="817447" y="2477262"/>
                  </a:lnTo>
                  <a:lnTo>
                    <a:pt x="820399" y="2470785"/>
                  </a:lnTo>
                  <a:cubicBezTo>
                    <a:pt x="830686" y="2448687"/>
                    <a:pt x="846307" y="2432971"/>
                    <a:pt x="868501" y="2422970"/>
                  </a:cubicBezTo>
                  <a:lnTo>
                    <a:pt x="874692" y="2420017"/>
                  </a:lnTo>
                  <a:cubicBezTo>
                    <a:pt x="873073" y="2373821"/>
                    <a:pt x="878502" y="2314480"/>
                    <a:pt x="892504" y="2262378"/>
                  </a:cubicBezTo>
                  <a:cubicBezTo>
                    <a:pt x="902505" y="2225421"/>
                    <a:pt x="915745" y="2194370"/>
                    <a:pt x="931937" y="2181892"/>
                  </a:cubicBezTo>
                  <a:cubicBezTo>
                    <a:pt x="965656" y="2155698"/>
                    <a:pt x="971656" y="2107121"/>
                    <a:pt x="945748" y="2073307"/>
                  </a:cubicBezTo>
                  <a:cubicBezTo>
                    <a:pt x="919555" y="2039779"/>
                    <a:pt x="870977" y="2033588"/>
                    <a:pt x="837163" y="2059781"/>
                  </a:cubicBezTo>
                  <a:cubicBezTo>
                    <a:pt x="791539" y="2095405"/>
                    <a:pt x="761249" y="2155603"/>
                    <a:pt x="743437" y="2222278"/>
                  </a:cubicBezTo>
                  <a:cubicBezTo>
                    <a:pt x="735913" y="2250377"/>
                    <a:pt x="730198" y="2280285"/>
                    <a:pt x="726388" y="2309717"/>
                  </a:cubicBezTo>
                  <a:cubicBezTo>
                    <a:pt x="721530" y="2307527"/>
                    <a:pt x="716958" y="2305622"/>
                    <a:pt x="712100" y="2303812"/>
                  </a:cubicBezTo>
                  <a:cubicBezTo>
                    <a:pt x="707528" y="2305717"/>
                    <a:pt x="702670" y="2307622"/>
                    <a:pt x="698098" y="2309717"/>
                  </a:cubicBezTo>
                  <a:cubicBezTo>
                    <a:pt x="694288" y="2280285"/>
                    <a:pt x="688669" y="2250281"/>
                    <a:pt x="681049" y="2222278"/>
                  </a:cubicBezTo>
                  <a:cubicBezTo>
                    <a:pt x="662951" y="2155603"/>
                    <a:pt x="632947" y="2095405"/>
                    <a:pt x="587132" y="2059781"/>
                  </a:cubicBezTo>
                  <a:cubicBezTo>
                    <a:pt x="553699" y="2033588"/>
                    <a:pt x="505027" y="2039779"/>
                    <a:pt x="478833" y="2073307"/>
                  </a:cubicBezTo>
                  <a:cubicBezTo>
                    <a:pt x="452734" y="2107025"/>
                    <a:pt x="458926" y="2155698"/>
                    <a:pt x="492358" y="2181892"/>
                  </a:cubicBezTo>
                  <a:close/>
                  <a:moveTo>
                    <a:pt x="4784323" y="1874044"/>
                  </a:moveTo>
                  <a:cubicBezTo>
                    <a:pt x="4641448" y="2012061"/>
                    <a:pt x="4522958" y="1987487"/>
                    <a:pt x="4316646" y="2060067"/>
                  </a:cubicBezTo>
                  <a:cubicBezTo>
                    <a:pt x="4142529" y="2131886"/>
                    <a:pt x="4134433" y="2283619"/>
                    <a:pt x="4150054" y="2426970"/>
                  </a:cubicBezTo>
                  <a:cubicBezTo>
                    <a:pt x="4090142" y="2524697"/>
                    <a:pt x="4031563" y="2662428"/>
                    <a:pt x="3991558" y="2809875"/>
                  </a:cubicBezTo>
                  <a:lnTo>
                    <a:pt x="3990986" y="2811495"/>
                  </a:lnTo>
                  <a:cubicBezTo>
                    <a:pt x="3950791" y="2728055"/>
                    <a:pt x="3897546" y="2650617"/>
                    <a:pt x="3829823" y="2587085"/>
                  </a:cubicBezTo>
                  <a:cubicBezTo>
                    <a:pt x="3819060" y="2486692"/>
                    <a:pt x="3777436" y="2388680"/>
                    <a:pt x="3703998" y="2308193"/>
                  </a:cubicBezTo>
                  <a:cubicBezTo>
                    <a:pt x="3600556" y="2194560"/>
                    <a:pt x="3456158" y="2140553"/>
                    <a:pt x="3313568" y="2148078"/>
                  </a:cubicBezTo>
                  <a:cubicBezTo>
                    <a:pt x="3418915" y="2277428"/>
                    <a:pt x="3389959" y="2374583"/>
                    <a:pt x="3436726" y="2552033"/>
                  </a:cubicBezTo>
                  <a:cubicBezTo>
                    <a:pt x="3485876" y="2706720"/>
                    <a:pt x="3617606" y="2720816"/>
                    <a:pt x="3741241" y="2716435"/>
                  </a:cubicBezTo>
                  <a:cubicBezTo>
                    <a:pt x="3790104" y="2766632"/>
                    <a:pt x="3828966" y="2827687"/>
                    <a:pt x="3858970" y="2893600"/>
                  </a:cubicBezTo>
                  <a:cubicBezTo>
                    <a:pt x="3905166" y="2995136"/>
                    <a:pt x="3930026" y="3106388"/>
                    <a:pt x="3938122" y="3206020"/>
                  </a:cubicBezTo>
                  <a:cubicBezTo>
                    <a:pt x="3924311" y="3210592"/>
                    <a:pt x="3910881" y="3216307"/>
                    <a:pt x="3898403" y="3222784"/>
                  </a:cubicBezTo>
                  <a:cubicBezTo>
                    <a:pt x="3917548" y="3237357"/>
                    <a:pt x="3935170" y="3254407"/>
                    <a:pt x="3950219" y="3272695"/>
                  </a:cubicBezTo>
                  <a:cubicBezTo>
                    <a:pt x="3953458" y="3278410"/>
                    <a:pt x="3957268" y="3283458"/>
                    <a:pt x="3961554" y="3288125"/>
                  </a:cubicBezTo>
                  <a:cubicBezTo>
                    <a:pt x="3983938" y="3322130"/>
                    <a:pt x="3976127" y="3367754"/>
                    <a:pt x="3942885" y="3392329"/>
                  </a:cubicBezTo>
                  <a:cubicBezTo>
                    <a:pt x="3908595" y="3417665"/>
                    <a:pt x="3860494" y="3410426"/>
                    <a:pt x="3835157" y="3376136"/>
                  </a:cubicBezTo>
                  <a:cubicBezTo>
                    <a:pt x="3740955" y="3248692"/>
                    <a:pt x="3517118" y="3386709"/>
                    <a:pt x="3517118" y="3557016"/>
                  </a:cubicBezTo>
                  <a:lnTo>
                    <a:pt x="4524196" y="3557016"/>
                  </a:lnTo>
                  <a:cubicBezTo>
                    <a:pt x="4525529" y="3547301"/>
                    <a:pt x="4526101" y="3537299"/>
                    <a:pt x="4526101" y="3527012"/>
                  </a:cubicBezTo>
                  <a:cubicBezTo>
                    <a:pt x="4526101" y="3426333"/>
                    <a:pt x="4467808" y="3339084"/>
                    <a:pt x="4383226" y="3297270"/>
                  </a:cubicBezTo>
                  <a:cubicBezTo>
                    <a:pt x="4390751" y="3325845"/>
                    <a:pt x="4394561" y="3355562"/>
                    <a:pt x="4394275" y="3385852"/>
                  </a:cubicBezTo>
                  <a:cubicBezTo>
                    <a:pt x="4393703" y="3428524"/>
                    <a:pt x="4358651" y="3462528"/>
                    <a:pt x="4315979" y="3461957"/>
                  </a:cubicBezTo>
                  <a:cubicBezTo>
                    <a:pt x="4273593" y="3461385"/>
                    <a:pt x="4239303" y="3426333"/>
                    <a:pt x="4239875" y="3383947"/>
                  </a:cubicBezTo>
                  <a:cubicBezTo>
                    <a:pt x="4240922" y="3291649"/>
                    <a:pt x="4173771" y="3228975"/>
                    <a:pt x="4092713" y="3204972"/>
                  </a:cubicBezTo>
                  <a:cubicBezTo>
                    <a:pt x="4088903" y="3092672"/>
                    <a:pt x="4108334" y="2968181"/>
                    <a:pt x="4140529" y="2850452"/>
                  </a:cubicBezTo>
                  <a:cubicBezTo>
                    <a:pt x="4172914" y="2731389"/>
                    <a:pt x="4217491" y="2621185"/>
                    <a:pt x="4263687" y="2538317"/>
                  </a:cubicBezTo>
                  <a:cubicBezTo>
                    <a:pt x="4400085" y="2524030"/>
                    <a:pt x="4532102" y="2462403"/>
                    <a:pt x="4632781" y="2354199"/>
                  </a:cubicBezTo>
                  <a:cubicBezTo>
                    <a:pt x="4757844" y="2219706"/>
                    <a:pt x="4807564" y="2042541"/>
                    <a:pt x="4784323" y="1874044"/>
                  </a:cubicBezTo>
                  <a:close/>
                  <a:moveTo>
                    <a:pt x="3384339" y="1338358"/>
                  </a:moveTo>
                  <a:cubicBezTo>
                    <a:pt x="3458062" y="1391317"/>
                    <a:pt x="3527976" y="1450943"/>
                    <a:pt x="3593603" y="1516571"/>
                  </a:cubicBezTo>
                  <a:cubicBezTo>
                    <a:pt x="3659230" y="1582198"/>
                    <a:pt x="3718857" y="1652397"/>
                    <a:pt x="3772102" y="1725835"/>
                  </a:cubicBezTo>
                  <a:cubicBezTo>
                    <a:pt x="3796962" y="1760411"/>
                    <a:pt x="3844968" y="1768221"/>
                    <a:pt x="3879544" y="1743361"/>
                  </a:cubicBezTo>
                  <a:cubicBezTo>
                    <a:pt x="3913834" y="1718501"/>
                    <a:pt x="3921644" y="1670495"/>
                    <a:pt x="3897070" y="1635919"/>
                  </a:cubicBezTo>
                  <a:cubicBezTo>
                    <a:pt x="3837634" y="1553813"/>
                    <a:pt x="3772864" y="1477137"/>
                    <a:pt x="3702950" y="1407509"/>
                  </a:cubicBezTo>
                  <a:cubicBezTo>
                    <a:pt x="3633037" y="1337596"/>
                    <a:pt x="3556646" y="1272540"/>
                    <a:pt x="3474255" y="1213390"/>
                  </a:cubicBezTo>
                  <a:cubicBezTo>
                    <a:pt x="3439965" y="1188530"/>
                    <a:pt x="3391673" y="1196340"/>
                    <a:pt x="3366813" y="1230916"/>
                  </a:cubicBezTo>
                  <a:cubicBezTo>
                    <a:pt x="3341953" y="1265492"/>
                    <a:pt x="3349763" y="1313498"/>
                    <a:pt x="3384339" y="1338358"/>
                  </a:cubicBezTo>
                  <a:close/>
                  <a:moveTo>
                    <a:pt x="3879544" y="3687413"/>
                  </a:moveTo>
                  <a:cubicBezTo>
                    <a:pt x="3844968" y="3662553"/>
                    <a:pt x="3796962" y="3670364"/>
                    <a:pt x="3772102" y="3704939"/>
                  </a:cubicBezTo>
                  <a:cubicBezTo>
                    <a:pt x="3718952" y="3778663"/>
                    <a:pt x="3659230" y="3848576"/>
                    <a:pt x="3593603" y="3914204"/>
                  </a:cubicBezTo>
                  <a:cubicBezTo>
                    <a:pt x="3527976" y="3979831"/>
                    <a:pt x="3458062" y="4039457"/>
                    <a:pt x="3384339" y="4092702"/>
                  </a:cubicBezTo>
                  <a:cubicBezTo>
                    <a:pt x="3349763" y="4117277"/>
                    <a:pt x="3341953" y="4165568"/>
                    <a:pt x="3366813" y="4199858"/>
                  </a:cubicBezTo>
                  <a:cubicBezTo>
                    <a:pt x="3391673" y="4234434"/>
                    <a:pt x="3439965" y="4242245"/>
                    <a:pt x="3474255" y="4217384"/>
                  </a:cubicBezTo>
                  <a:cubicBezTo>
                    <a:pt x="3556646" y="4158234"/>
                    <a:pt x="3633037" y="4093464"/>
                    <a:pt x="3702950" y="4023551"/>
                  </a:cubicBezTo>
                  <a:cubicBezTo>
                    <a:pt x="3772864" y="3953637"/>
                    <a:pt x="3837634" y="3877247"/>
                    <a:pt x="3897070" y="3794855"/>
                  </a:cubicBezTo>
                  <a:cubicBezTo>
                    <a:pt x="3921644" y="3760280"/>
                    <a:pt x="3913834" y="3712178"/>
                    <a:pt x="3879544" y="3687413"/>
                  </a:cubicBezTo>
                  <a:close/>
                  <a:moveTo>
                    <a:pt x="1315604" y="1213390"/>
                  </a:moveTo>
                  <a:cubicBezTo>
                    <a:pt x="1233213" y="1272540"/>
                    <a:pt x="1156822" y="1337596"/>
                    <a:pt x="1086909" y="1407509"/>
                  </a:cubicBezTo>
                  <a:cubicBezTo>
                    <a:pt x="1016995" y="1477137"/>
                    <a:pt x="952225" y="1553813"/>
                    <a:pt x="893075" y="1635919"/>
                  </a:cubicBezTo>
                  <a:cubicBezTo>
                    <a:pt x="868215" y="1670495"/>
                    <a:pt x="876025" y="1718501"/>
                    <a:pt x="910315" y="1743361"/>
                  </a:cubicBezTo>
                  <a:cubicBezTo>
                    <a:pt x="944891" y="1768221"/>
                    <a:pt x="992897" y="1760411"/>
                    <a:pt x="1017757" y="1725835"/>
                  </a:cubicBezTo>
                  <a:cubicBezTo>
                    <a:pt x="1070907" y="1652397"/>
                    <a:pt x="1130629" y="1582198"/>
                    <a:pt x="1196256" y="1516571"/>
                  </a:cubicBezTo>
                  <a:cubicBezTo>
                    <a:pt x="1261883" y="1450943"/>
                    <a:pt x="1331797" y="1391317"/>
                    <a:pt x="1405520" y="1338358"/>
                  </a:cubicBezTo>
                  <a:cubicBezTo>
                    <a:pt x="1440096" y="1313498"/>
                    <a:pt x="1447906" y="1265492"/>
                    <a:pt x="1423046" y="1230916"/>
                  </a:cubicBezTo>
                  <a:cubicBezTo>
                    <a:pt x="1398281" y="1196340"/>
                    <a:pt x="1350180" y="1188530"/>
                    <a:pt x="1315604" y="1213390"/>
                  </a:cubicBezTo>
                  <a:close/>
                  <a:moveTo>
                    <a:pt x="1405520" y="4092607"/>
                  </a:moveTo>
                  <a:cubicBezTo>
                    <a:pt x="1331797" y="4039457"/>
                    <a:pt x="1261883" y="3979736"/>
                    <a:pt x="1196256" y="3914108"/>
                  </a:cubicBezTo>
                  <a:cubicBezTo>
                    <a:pt x="1130629" y="3848481"/>
                    <a:pt x="1071002" y="3778568"/>
                    <a:pt x="1017757" y="3704844"/>
                  </a:cubicBezTo>
                  <a:cubicBezTo>
                    <a:pt x="992897" y="3670268"/>
                    <a:pt x="944891" y="3662458"/>
                    <a:pt x="910315" y="3687318"/>
                  </a:cubicBezTo>
                  <a:cubicBezTo>
                    <a:pt x="876025" y="3712178"/>
                    <a:pt x="868215" y="3760184"/>
                    <a:pt x="893075" y="3794760"/>
                  </a:cubicBezTo>
                  <a:cubicBezTo>
                    <a:pt x="952225" y="3877151"/>
                    <a:pt x="1016995" y="3953542"/>
                    <a:pt x="1086909" y="4023455"/>
                  </a:cubicBezTo>
                  <a:cubicBezTo>
                    <a:pt x="1156822" y="4093369"/>
                    <a:pt x="1233213" y="4158139"/>
                    <a:pt x="1315604" y="4217289"/>
                  </a:cubicBezTo>
                  <a:cubicBezTo>
                    <a:pt x="1350180" y="4242149"/>
                    <a:pt x="1398186" y="4234339"/>
                    <a:pt x="1423046" y="4199763"/>
                  </a:cubicBezTo>
                  <a:cubicBezTo>
                    <a:pt x="1447906" y="4165568"/>
                    <a:pt x="1440096" y="4117181"/>
                    <a:pt x="1405520" y="4092607"/>
                  </a:cubicBezTo>
                  <a:close/>
                  <a:moveTo>
                    <a:pt x="2970478" y="2139982"/>
                  </a:moveTo>
                  <a:cubicBezTo>
                    <a:pt x="3117925" y="2287143"/>
                    <a:pt x="3208888" y="2490692"/>
                    <a:pt x="3208888" y="2715387"/>
                  </a:cubicBezTo>
                  <a:cubicBezTo>
                    <a:pt x="3208888" y="2940272"/>
                    <a:pt x="3117925" y="3143631"/>
                    <a:pt x="2970478" y="3290983"/>
                  </a:cubicBezTo>
                  <a:cubicBezTo>
                    <a:pt x="2823317" y="3438144"/>
                    <a:pt x="2619767" y="3529394"/>
                    <a:pt x="2395072" y="3529394"/>
                  </a:cubicBezTo>
                  <a:cubicBezTo>
                    <a:pt x="2170187" y="3529394"/>
                    <a:pt x="1966543" y="3438144"/>
                    <a:pt x="1819477" y="3290983"/>
                  </a:cubicBezTo>
                  <a:cubicBezTo>
                    <a:pt x="1672030" y="3143536"/>
                    <a:pt x="1581066" y="2940272"/>
                    <a:pt x="1581066" y="2715387"/>
                  </a:cubicBezTo>
                  <a:cubicBezTo>
                    <a:pt x="1581066" y="2490788"/>
                    <a:pt x="1672030" y="2287143"/>
                    <a:pt x="1819477" y="2139982"/>
                  </a:cubicBezTo>
                  <a:cubicBezTo>
                    <a:pt x="1966638" y="1992535"/>
                    <a:pt x="2170187" y="1901571"/>
                    <a:pt x="2395072" y="1901571"/>
                  </a:cubicBezTo>
                  <a:cubicBezTo>
                    <a:pt x="2619672" y="1901571"/>
                    <a:pt x="2823317" y="1992630"/>
                    <a:pt x="2970478" y="2139982"/>
                  </a:cubicBezTo>
                  <a:close/>
                  <a:moveTo>
                    <a:pt x="3029342" y="2534793"/>
                  </a:moveTo>
                  <a:cubicBezTo>
                    <a:pt x="2998291" y="2425160"/>
                    <a:pt x="2939426" y="2327434"/>
                    <a:pt x="2861417" y="2249138"/>
                  </a:cubicBezTo>
                  <a:cubicBezTo>
                    <a:pt x="2769881" y="2157889"/>
                    <a:pt x="2651867" y="2093309"/>
                    <a:pt x="2520136" y="2067973"/>
                  </a:cubicBezTo>
                  <a:cubicBezTo>
                    <a:pt x="2475083" y="2178368"/>
                    <a:pt x="2526327" y="2258282"/>
                    <a:pt x="2368117" y="2326672"/>
                  </a:cubicBezTo>
                  <a:cubicBezTo>
                    <a:pt x="2126753" y="2430875"/>
                    <a:pt x="1967400" y="2591848"/>
                    <a:pt x="1851100" y="2609945"/>
                  </a:cubicBezTo>
                  <a:cubicBezTo>
                    <a:pt x="1814143" y="2615660"/>
                    <a:pt x="1778424" y="2615851"/>
                    <a:pt x="1743658" y="2611565"/>
                  </a:cubicBezTo>
                  <a:cubicBezTo>
                    <a:pt x="1738514" y="2645569"/>
                    <a:pt x="1735561" y="2680145"/>
                    <a:pt x="1735561" y="2715482"/>
                  </a:cubicBezTo>
                  <a:cubicBezTo>
                    <a:pt x="1735561" y="2790539"/>
                    <a:pt x="1748230" y="2862644"/>
                    <a:pt x="1771185" y="2929604"/>
                  </a:cubicBezTo>
                  <a:cubicBezTo>
                    <a:pt x="1799284" y="2899601"/>
                    <a:pt x="1830811" y="2875026"/>
                    <a:pt x="1862720" y="2833783"/>
                  </a:cubicBezTo>
                  <a:cubicBezTo>
                    <a:pt x="1933967" y="2741486"/>
                    <a:pt x="1959685" y="2884551"/>
                    <a:pt x="2125706" y="2895029"/>
                  </a:cubicBezTo>
                  <a:cubicBezTo>
                    <a:pt x="2459176" y="2924461"/>
                    <a:pt x="2392691" y="3069146"/>
                    <a:pt x="2181617" y="3157728"/>
                  </a:cubicBezTo>
                  <a:cubicBezTo>
                    <a:pt x="2151899" y="3173349"/>
                    <a:pt x="2114085" y="3240596"/>
                    <a:pt x="2085224" y="3297841"/>
                  </a:cubicBezTo>
                  <a:cubicBezTo>
                    <a:pt x="2177521" y="3346990"/>
                    <a:pt x="2283154" y="3375089"/>
                    <a:pt x="2395168" y="3375089"/>
                  </a:cubicBezTo>
                  <a:cubicBezTo>
                    <a:pt x="2574428" y="3375089"/>
                    <a:pt x="2737210" y="3303270"/>
                    <a:pt x="2856083" y="3187160"/>
                  </a:cubicBezTo>
                  <a:cubicBezTo>
                    <a:pt x="2828555" y="3129153"/>
                    <a:pt x="2802933" y="3089148"/>
                    <a:pt x="2792075" y="3000280"/>
                  </a:cubicBezTo>
                  <a:cubicBezTo>
                    <a:pt x="2757499" y="2718626"/>
                    <a:pt x="2741878" y="3009424"/>
                    <a:pt x="2551473" y="2892552"/>
                  </a:cubicBezTo>
                  <a:cubicBezTo>
                    <a:pt x="2454318" y="2832640"/>
                    <a:pt x="2350019" y="2717864"/>
                    <a:pt x="2451842" y="2662523"/>
                  </a:cubicBezTo>
                  <a:cubicBezTo>
                    <a:pt x="2476416" y="2649284"/>
                    <a:pt x="2514230" y="2611755"/>
                    <a:pt x="2545282" y="2534793"/>
                  </a:cubicBezTo>
                  <a:cubicBezTo>
                    <a:pt x="2586239" y="2433257"/>
                    <a:pt x="2909708" y="2636044"/>
                    <a:pt x="3029342" y="2534793"/>
                  </a:cubicBezTo>
                  <a:close/>
                  <a:moveTo>
                    <a:pt x="1411997" y="3014282"/>
                  </a:moveTo>
                  <a:cubicBezTo>
                    <a:pt x="1498389" y="2632234"/>
                    <a:pt x="1118246" y="2478881"/>
                    <a:pt x="952225" y="2554510"/>
                  </a:cubicBezTo>
                  <a:cubicBezTo>
                    <a:pt x="876597" y="2720816"/>
                    <a:pt x="1029949" y="3100673"/>
                    <a:pt x="1411997" y="3014282"/>
                  </a:cubicBezTo>
                  <a:close/>
                  <a:moveTo>
                    <a:pt x="472451" y="2554510"/>
                  </a:moveTo>
                  <a:cubicBezTo>
                    <a:pt x="306145" y="2478881"/>
                    <a:pt x="-73998" y="2632234"/>
                    <a:pt x="12679" y="3014282"/>
                  </a:cubicBezTo>
                  <a:cubicBezTo>
                    <a:pt x="394632" y="3100673"/>
                    <a:pt x="547984" y="2720816"/>
                    <a:pt x="472451" y="2554510"/>
                  </a:cubicBezTo>
                  <a:close/>
                  <a:moveTo>
                    <a:pt x="2395072" y="3749707"/>
                  </a:moveTo>
                  <a:cubicBezTo>
                    <a:pt x="2086462" y="3749707"/>
                    <a:pt x="1836145" y="4000024"/>
                    <a:pt x="1836145" y="4308634"/>
                  </a:cubicBezTo>
                  <a:cubicBezTo>
                    <a:pt x="1836145" y="4430364"/>
                    <a:pt x="1875293" y="4543235"/>
                    <a:pt x="1941492" y="4635056"/>
                  </a:cubicBezTo>
                  <a:cubicBezTo>
                    <a:pt x="1956637" y="4585621"/>
                    <a:pt x="1981211" y="4540282"/>
                    <a:pt x="2012739" y="4501134"/>
                  </a:cubicBezTo>
                  <a:cubicBezTo>
                    <a:pt x="2041123" y="4465987"/>
                    <a:pt x="2075413" y="4436079"/>
                    <a:pt x="2113990" y="4412266"/>
                  </a:cubicBezTo>
                  <a:cubicBezTo>
                    <a:pt x="2079985" y="4360164"/>
                    <a:pt x="2060269" y="4297490"/>
                    <a:pt x="2060269" y="4230529"/>
                  </a:cubicBezTo>
                  <a:cubicBezTo>
                    <a:pt x="2060269" y="4138232"/>
                    <a:pt x="2097797" y="4054507"/>
                    <a:pt x="2158281" y="3994023"/>
                  </a:cubicBezTo>
                  <a:cubicBezTo>
                    <a:pt x="2218765" y="3933254"/>
                    <a:pt x="2302489" y="3896011"/>
                    <a:pt x="2395072" y="3896011"/>
                  </a:cubicBezTo>
                  <a:cubicBezTo>
                    <a:pt x="2487370" y="3896011"/>
                    <a:pt x="2571094" y="3933254"/>
                    <a:pt x="2631578" y="3994023"/>
                  </a:cubicBezTo>
                  <a:cubicBezTo>
                    <a:pt x="2692062" y="4054507"/>
                    <a:pt x="2729591" y="4138232"/>
                    <a:pt x="2729591" y="4230529"/>
                  </a:cubicBezTo>
                  <a:cubicBezTo>
                    <a:pt x="2729591" y="4297490"/>
                    <a:pt x="2709874" y="4359879"/>
                    <a:pt x="2675869" y="4412266"/>
                  </a:cubicBezTo>
                  <a:cubicBezTo>
                    <a:pt x="2716351" y="4437126"/>
                    <a:pt x="2751974" y="4468940"/>
                    <a:pt x="2781216" y="4505992"/>
                  </a:cubicBezTo>
                  <a:cubicBezTo>
                    <a:pt x="2811220" y="4544092"/>
                    <a:pt x="2834175" y="4587526"/>
                    <a:pt x="2848462" y="4634770"/>
                  </a:cubicBezTo>
                  <a:cubicBezTo>
                    <a:pt x="2914566" y="4542949"/>
                    <a:pt x="2953809" y="4430364"/>
                    <a:pt x="2953809" y="4308634"/>
                  </a:cubicBezTo>
                  <a:cubicBezTo>
                    <a:pt x="2953714" y="4000024"/>
                    <a:pt x="2703397" y="3749707"/>
                    <a:pt x="2395072" y="3749707"/>
                  </a:cubicBezTo>
                  <a:close/>
                  <a:moveTo>
                    <a:pt x="2395072" y="4410742"/>
                  </a:moveTo>
                  <a:cubicBezTo>
                    <a:pt x="2444793" y="4410742"/>
                    <a:pt x="2489846" y="4390740"/>
                    <a:pt x="2522231" y="4358069"/>
                  </a:cubicBezTo>
                  <a:cubicBezTo>
                    <a:pt x="2554902" y="4325398"/>
                    <a:pt x="2575190" y="4280345"/>
                    <a:pt x="2575190" y="4230624"/>
                  </a:cubicBezTo>
                  <a:cubicBezTo>
                    <a:pt x="2575190" y="4180904"/>
                    <a:pt x="2554902" y="4135850"/>
                    <a:pt x="2522231" y="4103180"/>
                  </a:cubicBezTo>
                  <a:cubicBezTo>
                    <a:pt x="2489846" y="4070509"/>
                    <a:pt x="2444698" y="4050506"/>
                    <a:pt x="2395072" y="4050506"/>
                  </a:cubicBezTo>
                  <a:cubicBezTo>
                    <a:pt x="2345161" y="4050506"/>
                    <a:pt x="2300013" y="4070509"/>
                    <a:pt x="2267628" y="4103180"/>
                  </a:cubicBezTo>
                  <a:cubicBezTo>
                    <a:pt x="2234957" y="4135850"/>
                    <a:pt x="2214669" y="4180904"/>
                    <a:pt x="2214669" y="4230624"/>
                  </a:cubicBezTo>
                  <a:cubicBezTo>
                    <a:pt x="2214669" y="4280345"/>
                    <a:pt x="2234957" y="4325398"/>
                    <a:pt x="2267628" y="4358069"/>
                  </a:cubicBezTo>
                  <a:cubicBezTo>
                    <a:pt x="2300013" y="4390740"/>
                    <a:pt x="2345161" y="4410742"/>
                    <a:pt x="2395072" y="4410742"/>
                  </a:cubicBezTo>
                  <a:close/>
                  <a:moveTo>
                    <a:pt x="2659963" y="4601337"/>
                  </a:moveTo>
                  <a:cubicBezTo>
                    <a:pt x="2633483" y="4567619"/>
                    <a:pt x="2598145" y="4540854"/>
                    <a:pt x="2557664" y="4525232"/>
                  </a:cubicBezTo>
                  <a:lnTo>
                    <a:pt x="2555473" y="4524471"/>
                  </a:lnTo>
                  <a:cubicBezTo>
                    <a:pt x="2507944" y="4550664"/>
                    <a:pt x="2453175" y="4565523"/>
                    <a:pt x="2395072" y="4565523"/>
                  </a:cubicBezTo>
                  <a:cubicBezTo>
                    <a:pt x="2336779" y="4565523"/>
                    <a:pt x="2281915" y="4550664"/>
                    <a:pt x="2234386" y="4524471"/>
                  </a:cubicBezTo>
                  <a:cubicBezTo>
                    <a:pt x="2194190" y="4539615"/>
                    <a:pt x="2159043" y="4565523"/>
                    <a:pt x="2132373" y="4598194"/>
                  </a:cubicBezTo>
                  <a:cubicBezTo>
                    <a:pt x="2104846" y="4631913"/>
                    <a:pt x="2086462" y="4673251"/>
                    <a:pt x="2080557" y="4717828"/>
                  </a:cubicBezTo>
                  <a:lnTo>
                    <a:pt x="2074366" y="4766120"/>
                  </a:lnTo>
                  <a:cubicBezTo>
                    <a:pt x="2165044" y="4829842"/>
                    <a:pt x="2275819" y="4867371"/>
                    <a:pt x="2395168" y="4867371"/>
                  </a:cubicBezTo>
                  <a:cubicBezTo>
                    <a:pt x="2514230" y="4867371"/>
                    <a:pt x="2624911" y="4829842"/>
                    <a:pt x="2715684" y="4766120"/>
                  </a:cubicBezTo>
                  <a:lnTo>
                    <a:pt x="2709493" y="4717828"/>
                  </a:lnTo>
                  <a:cubicBezTo>
                    <a:pt x="2703683" y="4674489"/>
                    <a:pt x="2686156" y="4634580"/>
                    <a:pt x="2659963" y="4601337"/>
                  </a:cubicBezTo>
                  <a:close/>
                  <a:moveTo>
                    <a:pt x="2524136" y="658559"/>
                  </a:moveTo>
                  <a:cubicBezTo>
                    <a:pt x="2535185" y="657797"/>
                    <a:pt x="2546234" y="657511"/>
                    <a:pt x="2557378" y="657511"/>
                  </a:cubicBezTo>
                  <a:cubicBezTo>
                    <a:pt x="2668916" y="657511"/>
                    <a:pt x="2771215" y="697706"/>
                    <a:pt x="2850368" y="764477"/>
                  </a:cubicBezTo>
                  <a:cubicBezTo>
                    <a:pt x="2825031" y="600361"/>
                    <a:pt x="2683204" y="474726"/>
                    <a:pt x="2512039" y="474726"/>
                  </a:cubicBezTo>
                  <a:cubicBezTo>
                    <a:pt x="2445650" y="474726"/>
                    <a:pt x="2383547" y="493586"/>
                    <a:pt x="2331160" y="526256"/>
                  </a:cubicBezTo>
                  <a:cubicBezTo>
                    <a:pt x="2405645" y="552641"/>
                    <a:pt x="2472320" y="598361"/>
                    <a:pt x="2524136" y="658559"/>
                  </a:cubicBezTo>
                  <a:close/>
                  <a:moveTo>
                    <a:pt x="1846432" y="1411510"/>
                  </a:moveTo>
                  <a:lnTo>
                    <a:pt x="2561951" y="1411510"/>
                  </a:lnTo>
                  <a:cubicBezTo>
                    <a:pt x="2727495" y="1411510"/>
                    <a:pt x="2861893" y="1277303"/>
                    <a:pt x="2861893" y="1111853"/>
                  </a:cubicBezTo>
                  <a:cubicBezTo>
                    <a:pt x="2861893" y="977932"/>
                    <a:pt x="2774168" y="864489"/>
                    <a:pt x="2652914" y="825913"/>
                  </a:cubicBezTo>
                  <a:cubicBezTo>
                    <a:pt x="2652914" y="827246"/>
                    <a:pt x="2653200" y="828865"/>
                    <a:pt x="2653200" y="830199"/>
                  </a:cubicBezTo>
                  <a:cubicBezTo>
                    <a:pt x="2655391" y="859060"/>
                    <a:pt x="2653200" y="888016"/>
                    <a:pt x="2647294" y="923354"/>
                  </a:cubicBezTo>
                  <a:cubicBezTo>
                    <a:pt x="2639960" y="965454"/>
                    <a:pt x="2600336" y="993838"/>
                    <a:pt x="2558236" y="986790"/>
                  </a:cubicBezTo>
                  <a:cubicBezTo>
                    <a:pt x="2516135" y="979456"/>
                    <a:pt x="2487751" y="939832"/>
                    <a:pt x="2494799" y="897731"/>
                  </a:cubicBezTo>
                  <a:cubicBezTo>
                    <a:pt x="2499085" y="872585"/>
                    <a:pt x="2500705" y="854774"/>
                    <a:pt x="2499943" y="840486"/>
                  </a:cubicBezTo>
                  <a:cubicBezTo>
                    <a:pt x="2482893" y="596360"/>
                    <a:pt x="1925395" y="596360"/>
                    <a:pt x="1908631" y="840486"/>
                  </a:cubicBezTo>
                  <a:cubicBezTo>
                    <a:pt x="1907583" y="854774"/>
                    <a:pt x="1909202" y="872585"/>
                    <a:pt x="1913488" y="897731"/>
                  </a:cubicBezTo>
                  <a:cubicBezTo>
                    <a:pt x="1920537" y="939832"/>
                    <a:pt x="1892152" y="979551"/>
                    <a:pt x="1850052" y="986790"/>
                  </a:cubicBezTo>
                  <a:cubicBezTo>
                    <a:pt x="1808237" y="993838"/>
                    <a:pt x="1768232" y="965454"/>
                    <a:pt x="1761184" y="923354"/>
                  </a:cubicBezTo>
                  <a:cubicBezTo>
                    <a:pt x="1755278" y="888016"/>
                    <a:pt x="1753087" y="859060"/>
                    <a:pt x="1754992" y="830199"/>
                  </a:cubicBezTo>
                  <a:cubicBezTo>
                    <a:pt x="1755278" y="828865"/>
                    <a:pt x="1755278" y="827246"/>
                    <a:pt x="1755278" y="825913"/>
                  </a:cubicBezTo>
                  <a:cubicBezTo>
                    <a:pt x="1634311" y="864489"/>
                    <a:pt x="1546585" y="977932"/>
                    <a:pt x="1546585" y="1111853"/>
                  </a:cubicBezTo>
                  <a:cubicBezTo>
                    <a:pt x="1546490" y="1277398"/>
                    <a:pt x="1680697" y="1411510"/>
                    <a:pt x="1846432" y="1411510"/>
                  </a:cubicBezTo>
                  <a:close/>
                  <a:moveTo>
                    <a:pt x="2915900" y="587788"/>
                  </a:moveTo>
                  <a:cubicBezTo>
                    <a:pt x="2937235" y="624745"/>
                    <a:pt x="2984479" y="637223"/>
                    <a:pt x="3021436" y="615887"/>
                  </a:cubicBezTo>
                  <a:lnTo>
                    <a:pt x="3186981" y="520351"/>
                  </a:lnTo>
                  <a:cubicBezTo>
                    <a:pt x="3223747" y="499015"/>
                    <a:pt x="3236416" y="451771"/>
                    <a:pt x="3215080" y="415004"/>
                  </a:cubicBezTo>
                  <a:cubicBezTo>
                    <a:pt x="3193744" y="378047"/>
                    <a:pt x="3146500" y="365570"/>
                    <a:pt x="3109733" y="386906"/>
                  </a:cubicBezTo>
                  <a:lnTo>
                    <a:pt x="2943998" y="482441"/>
                  </a:lnTo>
                  <a:cubicBezTo>
                    <a:pt x="2907232" y="503777"/>
                    <a:pt x="2894563" y="551021"/>
                    <a:pt x="2915900" y="587788"/>
                  </a:cubicBezTo>
                  <a:close/>
                  <a:moveTo>
                    <a:pt x="3243464" y="747046"/>
                  </a:moveTo>
                  <a:lnTo>
                    <a:pt x="3052297" y="747046"/>
                  </a:lnTo>
                  <a:cubicBezTo>
                    <a:pt x="3009626" y="747046"/>
                    <a:pt x="2975050" y="781622"/>
                    <a:pt x="2975050" y="824294"/>
                  </a:cubicBezTo>
                  <a:cubicBezTo>
                    <a:pt x="2975050" y="866965"/>
                    <a:pt x="3009626" y="901541"/>
                    <a:pt x="3052297" y="901541"/>
                  </a:cubicBezTo>
                  <a:lnTo>
                    <a:pt x="3243464" y="901541"/>
                  </a:lnTo>
                  <a:cubicBezTo>
                    <a:pt x="3286136" y="901541"/>
                    <a:pt x="3320712" y="866965"/>
                    <a:pt x="3320712" y="824294"/>
                  </a:cubicBezTo>
                  <a:cubicBezTo>
                    <a:pt x="3320617" y="781622"/>
                    <a:pt x="3286041" y="747046"/>
                    <a:pt x="3243464" y="747046"/>
                  </a:cubicBezTo>
                  <a:close/>
                  <a:moveTo>
                    <a:pt x="2511944" y="345567"/>
                  </a:moveTo>
                  <a:cubicBezTo>
                    <a:pt x="2554616" y="345567"/>
                    <a:pt x="2589192" y="310991"/>
                    <a:pt x="2589192" y="268319"/>
                  </a:cubicBezTo>
                  <a:lnTo>
                    <a:pt x="2589192" y="77248"/>
                  </a:lnTo>
                  <a:cubicBezTo>
                    <a:pt x="2589192" y="34576"/>
                    <a:pt x="2554616" y="0"/>
                    <a:pt x="2511944" y="0"/>
                  </a:cubicBezTo>
                  <a:cubicBezTo>
                    <a:pt x="2469272" y="0"/>
                    <a:pt x="2434696" y="34576"/>
                    <a:pt x="2434696" y="77248"/>
                  </a:cubicBezTo>
                  <a:lnTo>
                    <a:pt x="2434696" y="268415"/>
                  </a:lnTo>
                  <a:cubicBezTo>
                    <a:pt x="2434792" y="310991"/>
                    <a:pt x="2469368" y="345567"/>
                    <a:pt x="2511944" y="345567"/>
                  </a:cubicBezTo>
                  <a:close/>
                  <a:moveTo>
                    <a:pt x="2746354" y="412528"/>
                  </a:moveTo>
                  <a:cubicBezTo>
                    <a:pt x="2783121" y="433864"/>
                    <a:pt x="2830365" y="421196"/>
                    <a:pt x="2851701" y="384429"/>
                  </a:cubicBezTo>
                  <a:lnTo>
                    <a:pt x="2947237" y="218694"/>
                  </a:lnTo>
                  <a:cubicBezTo>
                    <a:pt x="2968573" y="182023"/>
                    <a:pt x="2955904" y="134684"/>
                    <a:pt x="2919138" y="113348"/>
                  </a:cubicBezTo>
                  <a:cubicBezTo>
                    <a:pt x="2882371" y="92012"/>
                    <a:pt x="2835127" y="104680"/>
                    <a:pt x="2813792" y="141446"/>
                  </a:cubicBezTo>
                  <a:lnTo>
                    <a:pt x="2718256" y="307181"/>
                  </a:lnTo>
                  <a:cubicBezTo>
                    <a:pt x="2696920" y="343948"/>
                    <a:pt x="2709397" y="391192"/>
                    <a:pt x="2746354" y="412528"/>
                  </a:cubicBezTo>
                  <a:close/>
                  <a:moveTo>
                    <a:pt x="2170187" y="376619"/>
                  </a:moveTo>
                  <a:cubicBezTo>
                    <a:pt x="2191523" y="413290"/>
                    <a:pt x="2238767" y="426053"/>
                    <a:pt x="2275534" y="404717"/>
                  </a:cubicBezTo>
                  <a:cubicBezTo>
                    <a:pt x="2312300" y="383381"/>
                    <a:pt x="2324968" y="336137"/>
                    <a:pt x="2303632" y="299371"/>
                  </a:cubicBezTo>
                  <a:lnTo>
                    <a:pt x="2208097" y="133826"/>
                  </a:lnTo>
                  <a:cubicBezTo>
                    <a:pt x="2186761" y="96869"/>
                    <a:pt x="2139517" y="84392"/>
                    <a:pt x="2102750" y="105728"/>
                  </a:cubicBezTo>
                  <a:cubicBezTo>
                    <a:pt x="2065793" y="127064"/>
                    <a:pt x="2053315" y="174022"/>
                    <a:pt x="2074651" y="211074"/>
                  </a:cubicBezTo>
                  <a:close/>
                </a:path>
              </a:pathLst>
            </a:custGeom>
            <a:solidFill>
              <a:srgbClr val="2B660F"/>
            </a:solidFill>
            <a:ln w="9525" cap="flat">
              <a:noFill/>
              <a:prstDash val="solid"/>
              <a:miter/>
            </a:ln>
          </p:spPr>
          <p:txBody>
            <a:bodyPr/>
            <a:lstStyle/>
            <a:p>
              <a:endParaRPr lang="en-US"/>
            </a:p>
          </p:txBody>
        </p:sp>
      </p:grpSp>
      <p:grpSp>
        <p:nvGrpSpPr>
          <p:cNvPr id="115" name="Group 114">
            <a:extLst>
              <a:ext uri="{FF2B5EF4-FFF2-40B4-BE49-F238E27FC236}">
                <a16:creationId xmlns:a16="http://schemas.microsoft.com/office/drawing/2014/main" id="{F51E85E7-6B43-64F9-A522-2C4D6B986A94}"/>
              </a:ext>
            </a:extLst>
          </p:cNvPr>
          <p:cNvGrpSpPr/>
          <p:nvPr/>
        </p:nvGrpSpPr>
        <p:grpSpPr>
          <a:xfrm>
            <a:off x="6250778" y="1440815"/>
            <a:ext cx="354334" cy="354334"/>
            <a:chOff x="6250778" y="1440815"/>
            <a:chExt cx="354334" cy="354334"/>
          </a:xfrm>
        </p:grpSpPr>
        <p:sp>
          <p:nvSpPr>
            <p:cNvPr id="36" name="Oval 35">
              <a:extLst>
                <a:ext uri="{FF2B5EF4-FFF2-40B4-BE49-F238E27FC236}">
                  <a16:creationId xmlns:a16="http://schemas.microsoft.com/office/drawing/2014/main" id="{74BCC810-D5C9-B1ED-EF19-7F2D5C63383F}"/>
                </a:ext>
              </a:extLst>
            </p:cNvPr>
            <p:cNvSpPr/>
            <p:nvPr/>
          </p:nvSpPr>
          <p:spPr>
            <a:xfrm>
              <a:off x="6250778" y="1440815"/>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4" name="Group 113">
              <a:extLst>
                <a:ext uri="{FF2B5EF4-FFF2-40B4-BE49-F238E27FC236}">
                  <a16:creationId xmlns:a16="http://schemas.microsoft.com/office/drawing/2014/main" id="{962213BA-4916-D3B4-E037-E54F09CF7472}"/>
                </a:ext>
              </a:extLst>
            </p:cNvPr>
            <p:cNvGrpSpPr/>
            <p:nvPr/>
          </p:nvGrpSpPr>
          <p:grpSpPr>
            <a:xfrm>
              <a:off x="6322676" y="1519193"/>
              <a:ext cx="210538" cy="197578"/>
              <a:chOff x="4224813" y="1672949"/>
              <a:chExt cx="3742372" cy="3511984"/>
            </a:xfrm>
            <a:solidFill>
              <a:srgbClr val="2B660F"/>
            </a:solidFill>
          </p:grpSpPr>
          <p:sp>
            <p:nvSpPr>
              <p:cNvPr id="104" name="Freeform: Shape 103">
                <a:extLst>
                  <a:ext uri="{FF2B5EF4-FFF2-40B4-BE49-F238E27FC236}">
                    <a16:creationId xmlns:a16="http://schemas.microsoft.com/office/drawing/2014/main" id="{DD51CCFC-0D16-82BF-8715-821EBFFF0586}"/>
                  </a:ext>
                </a:extLst>
              </p:cNvPr>
              <p:cNvSpPr/>
              <p:nvPr/>
            </p:nvSpPr>
            <p:spPr>
              <a:xfrm>
                <a:off x="4224813" y="4160464"/>
                <a:ext cx="3742372" cy="1024469"/>
              </a:xfrm>
              <a:custGeom>
                <a:avLst/>
                <a:gdLst>
                  <a:gd name="csX0" fmla="*/ 2847404 w 3742372"/>
                  <a:gd name="csY0" fmla="*/ 436 h 1024469"/>
                  <a:gd name="csX1" fmla="*/ 2794921 w 3742372"/>
                  <a:gd name="csY1" fmla="*/ 65016 h 1024469"/>
                  <a:gd name="csX2" fmla="*/ 2864834 w 3742372"/>
                  <a:gd name="csY2" fmla="*/ 237514 h 1024469"/>
                  <a:gd name="csX3" fmla="*/ 2865215 w 3742372"/>
                  <a:gd name="csY3" fmla="*/ 238180 h 1024469"/>
                  <a:gd name="csX4" fmla="*/ 2840927 w 3742372"/>
                  <a:gd name="csY4" fmla="*/ 358005 h 1024469"/>
                  <a:gd name="csX5" fmla="*/ 2718721 w 3742372"/>
                  <a:gd name="csY5" fmla="*/ 368673 h 1024469"/>
                  <a:gd name="csX6" fmla="*/ 2672429 w 3742372"/>
                  <a:gd name="csY6" fmla="*/ 339812 h 1024469"/>
                  <a:gd name="csX7" fmla="*/ 2228088 w 3742372"/>
                  <a:gd name="csY7" fmla="*/ 292759 h 1024469"/>
                  <a:gd name="csX8" fmla="*/ 1915668 w 3742372"/>
                  <a:gd name="csY8" fmla="*/ 612227 h 1024469"/>
                  <a:gd name="csX9" fmla="*/ 1903095 w 3742372"/>
                  <a:gd name="csY9" fmla="*/ 649756 h 1024469"/>
                  <a:gd name="csX10" fmla="*/ 1806321 w 3742372"/>
                  <a:gd name="csY10" fmla="*/ 719574 h 1024469"/>
                  <a:gd name="csX11" fmla="*/ 1803940 w 3742372"/>
                  <a:gd name="csY11" fmla="*/ 719574 h 1024469"/>
                  <a:gd name="csX12" fmla="*/ 1707928 w 3742372"/>
                  <a:gd name="csY12" fmla="*/ 645565 h 1024469"/>
                  <a:gd name="csX13" fmla="*/ 1400842 w 3742372"/>
                  <a:gd name="csY13" fmla="*/ 309332 h 1024469"/>
                  <a:gd name="csX14" fmla="*/ 947356 w 3742372"/>
                  <a:gd name="csY14" fmla="*/ 350290 h 1024469"/>
                  <a:gd name="csX15" fmla="*/ 898303 w 3742372"/>
                  <a:gd name="csY15" fmla="*/ 380389 h 1024469"/>
                  <a:gd name="csX16" fmla="*/ 778193 w 3742372"/>
                  <a:gd name="csY16" fmla="*/ 370768 h 1024469"/>
                  <a:gd name="csX17" fmla="*/ 750570 w 3742372"/>
                  <a:gd name="csY17" fmla="*/ 253516 h 1024469"/>
                  <a:gd name="csX18" fmla="*/ 768953 w 3742372"/>
                  <a:gd name="csY18" fmla="*/ 209796 h 1024469"/>
                  <a:gd name="csX19" fmla="*/ 813054 w 3742372"/>
                  <a:gd name="csY19" fmla="*/ 91876 h 1024469"/>
                  <a:gd name="csX20" fmla="*/ 752761 w 3742372"/>
                  <a:gd name="csY20" fmla="*/ 29583 h 1024469"/>
                  <a:gd name="csX21" fmla="*/ 302609 w 3742372"/>
                  <a:gd name="csY21" fmla="*/ 293807 h 1024469"/>
                  <a:gd name="csX22" fmla="*/ 0 w 3742372"/>
                  <a:gd name="csY22" fmla="*/ 1024469 h 1024469"/>
                  <a:gd name="csX23" fmla="*/ 3742373 w 3742372"/>
                  <a:gd name="csY23" fmla="*/ 1024469 h 1024469"/>
                  <a:gd name="csX24" fmla="*/ 2847404 w 3742372"/>
                  <a:gd name="csY24" fmla="*/ 341 h 1024469"/>
                  <a:gd name="csX25" fmla="*/ 621506 w 3742372"/>
                  <a:gd name="csY25" fmla="*/ 592510 h 1024469"/>
                  <a:gd name="csX26" fmla="*/ 499491 w 3742372"/>
                  <a:gd name="csY26" fmla="*/ 775771 h 1024469"/>
                  <a:gd name="csX27" fmla="*/ 444913 w 3742372"/>
                  <a:gd name="csY27" fmla="*/ 826159 h 1024469"/>
                  <a:gd name="csX28" fmla="*/ 440531 w 3742372"/>
                  <a:gd name="csY28" fmla="*/ 825968 h 1024469"/>
                  <a:gd name="csX29" fmla="*/ 390239 w 3742372"/>
                  <a:gd name="csY29" fmla="*/ 767008 h 1024469"/>
                  <a:gd name="csX30" fmla="*/ 593122 w 3742372"/>
                  <a:gd name="csY30" fmla="*/ 486592 h 1024469"/>
                  <a:gd name="csX31" fmla="*/ 660083 w 3742372"/>
                  <a:gd name="csY31" fmla="*/ 525645 h 1024469"/>
                  <a:gd name="csX32" fmla="*/ 621506 w 3742372"/>
                  <a:gd name="csY32" fmla="*/ 592415 h 1024469"/>
                  <a:gd name="csX33" fmla="*/ 3286601 w 3742372"/>
                  <a:gd name="csY33" fmla="*/ 754531 h 1024469"/>
                  <a:gd name="csX34" fmla="*/ 3233452 w 3742372"/>
                  <a:gd name="csY34" fmla="*/ 795298 h 1024469"/>
                  <a:gd name="csX35" fmla="*/ 3219355 w 3742372"/>
                  <a:gd name="csY35" fmla="*/ 793488 h 1024469"/>
                  <a:gd name="csX36" fmla="*/ 3016472 w 3742372"/>
                  <a:gd name="csY36" fmla="*/ 513072 h 1024469"/>
                  <a:gd name="csX37" fmla="*/ 3066669 w 3742372"/>
                  <a:gd name="csY37" fmla="*/ 454112 h 1024469"/>
                  <a:gd name="csX38" fmla="*/ 3125724 w 3742372"/>
                  <a:gd name="csY38" fmla="*/ 504309 h 1024469"/>
                  <a:gd name="csX39" fmla="*/ 3247930 w 3742372"/>
                  <a:gd name="csY39" fmla="*/ 687570 h 1024469"/>
                  <a:gd name="csX40" fmla="*/ 3286601 w 3742372"/>
                  <a:gd name="csY40" fmla="*/ 754435 h 102446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Lst>
                <a:rect l="l" t="t" r="r" b="b"/>
                <a:pathLst>
                  <a:path w="3742372" h="1024469">
                    <a:moveTo>
                      <a:pt x="2847404" y="436"/>
                    </a:moveTo>
                    <a:cubicBezTo>
                      <a:pt x="2811494" y="-4326"/>
                      <a:pt x="2783396" y="30726"/>
                      <a:pt x="2794921" y="65016"/>
                    </a:cubicBezTo>
                    <a:cubicBezTo>
                      <a:pt x="2814733" y="123880"/>
                      <a:pt x="2838069" y="181602"/>
                      <a:pt x="2864834" y="237514"/>
                    </a:cubicBezTo>
                    <a:lnTo>
                      <a:pt x="2865215" y="238180"/>
                    </a:lnTo>
                    <a:cubicBezTo>
                      <a:pt x="2884646" y="279424"/>
                      <a:pt x="2874931" y="327525"/>
                      <a:pt x="2840927" y="358005"/>
                    </a:cubicBezTo>
                    <a:cubicBezTo>
                      <a:pt x="2806732" y="388675"/>
                      <a:pt x="2757678" y="392866"/>
                      <a:pt x="2718721" y="368673"/>
                    </a:cubicBezTo>
                    <a:lnTo>
                      <a:pt x="2672429" y="339812"/>
                    </a:lnTo>
                    <a:cubicBezTo>
                      <a:pt x="2538508" y="256468"/>
                      <a:pt x="2376488" y="239228"/>
                      <a:pt x="2228088" y="292759"/>
                    </a:cubicBezTo>
                    <a:cubicBezTo>
                      <a:pt x="2079593" y="346194"/>
                      <a:pt x="1965770" y="462589"/>
                      <a:pt x="1915668" y="612227"/>
                    </a:cubicBezTo>
                    <a:lnTo>
                      <a:pt x="1903095" y="649756"/>
                    </a:lnTo>
                    <a:cubicBezTo>
                      <a:pt x="1888903" y="692333"/>
                      <a:pt x="1850993" y="719574"/>
                      <a:pt x="1806321" y="719574"/>
                    </a:cubicBezTo>
                    <a:lnTo>
                      <a:pt x="1803940" y="719574"/>
                    </a:lnTo>
                    <a:cubicBezTo>
                      <a:pt x="1758220" y="718621"/>
                      <a:pt x="1720501" y="689475"/>
                      <a:pt x="1707928" y="645565"/>
                    </a:cubicBezTo>
                    <a:cubicBezTo>
                      <a:pt x="1663351" y="490307"/>
                      <a:pt x="1551432" y="367816"/>
                      <a:pt x="1400842" y="309332"/>
                    </a:cubicBezTo>
                    <a:cubicBezTo>
                      <a:pt x="1250347" y="250849"/>
                      <a:pt x="1084993" y="265803"/>
                      <a:pt x="947356" y="350290"/>
                    </a:cubicBezTo>
                    <a:lnTo>
                      <a:pt x="898303" y="380389"/>
                    </a:lnTo>
                    <a:cubicBezTo>
                      <a:pt x="859727" y="404106"/>
                      <a:pt x="812578" y="400296"/>
                      <a:pt x="778193" y="370768"/>
                    </a:cubicBezTo>
                    <a:cubicBezTo>
                      <a:pt x="743807" y="341241"/>
                      <a:pt x="732949" y="295235"/>
                      <a:pt x="750570" y="253516"/>
                    </a:cubicBezTo>
                    <a:lnTo>
                      <a:pt x="768953" y="209796"/>
                    </a:lnTo>
                    <a:cubicBezTo>
                      <a:pt x="785336" y="170934"/>
                      <a:pt x="800005" y="131596"/>
                      <a:pt x="813054" y="91876"/>
                    </a:cubicBezTo>
                    <a:cubicBezTo>
                      <a:pt x="825246" y="54634"/>
                      <a:pt x="790480" y="19010"/>
                      <a:pt x="752761" y="29583"/>
                    </a:cubicBezTo>
                    <a:cubicBezTo>
                      <a:pt x="580168" y="78160"/>
                      <a:pt x="425958" y="170458"/>
                      <a:pt x="302609" y="293807"/>
                    </a:cubicBezTo>
                    <a:cubicBezTo>
                      <a:pt x="115634" y="480782"/>
                      <a:pt x="0" y="739100"/>
                      <a:pt x="0" y="1024469"/>
                    </a:cubicBezTo>
                    <a:lnTo>
                      <a:pt x="3742373" y="1024469"/>
                    </a:lnTo>
                    <a:cubicBezTo>
                      <a:pt x="3742373" y="500785"/>
                      <a:pt x="3352705" y="67969"/>
                      <a:pt x="2847404" y="341"/>
                    </a:cubicBezTo>
                    <a:close/>
                    <a:moveTo>
                      <a:pt x="621506" y="592510"/>
                    </a:moveTo>
                    <a:cubicBezTo>
                      <a:pt x="615887" y="594225"/>
                      <a:pt x="511397" y="627086"/>
                      <a:pt x="499491" y="775771"/>
                    </a:cubicBezTo>
                    <a:cubicBezTo>
                      <a:pt x="497205" y="804442"/>
                      <a:pt x="473202" y="826159"/>
                      <a:pt x="444913" y="826159"/>
                    </a:cubicBezTo>
                    <a:cubicBezTo>
                      <a:pt x="443484" y="826159"/>
                      <a:pt x="441960" y="826159"/>
                      <a:pt x="440531" y="825968"/>
                    </a:cubicBezTo>
                    <a:cubicBezTo>
                      <a:pt x="410337" y="823492"/>
                      <a:pt x="387858" y="797108"/>
                      <a:pt x="390239" y="767008"/>
                    </a:cubicBezTo>
                    <a:cubicBezTo>
                      <a:pt x="408527" y="537742"/>
                      <a:pt x="585597" y="488593"/>
                      <a:pt x="593122" y="486592"/>
                    </a:cubicBezTo>
                    <a:cubicBezTo>
                      <a:pt x="622459" y="478877"/>
                      <a:pt x="652367" y="496403"/>
                      <a:pt x="660083" y="525645"/>
                    </a:cubicBezTo>
                    <a:cubicBezTo>
                      <a:pt x="667798" y="554696"/>
                      <a:pt x="650462" y="584509"/>
                      <a:pt x="621506" y="592415"/>
                    </a:cubicBezTo>
                    <a:close/>
                    <a:moveTo>
                      <a:pt x="3286601" y="754531"/>
                    </a:moveTo>
                    <a:cubicBezTo>
                      <a:pt x="3280125" y="779105"/>
                      <a:pt x="3257741" y="795298"/>
                      <a:pt x="3233452" y="795298"/>
                    </a:cubicBezTo>
                    <a:cubicBezTo>
                      <a:pt x="3228785" y="795298"/>
                      <a:pt x="3224117" y="794631"/>
                      <a:pt x="3219355" y="793488"/>
                    </a:cubicBezTo>
                    <a:cubicBezTo>
                      <a:pt x="3211830" y="791488"/>
                      <a:pt x="3034760" y="742339"/>
                      <a:pt x="3016472" y="513072"/>
                    </a:cubicBezTo>
                    <a:cubicBezTo>
                      <a:pt x="3013996" y="482973"/>
                      <a:pt x="3036570" y="456493"/>
                      <a:pt x="3066669" y="454112"/>
                    </a:cubicBezTo>
                    <a:cubicBezTo>
                      <a:pt x="3096578" y="451731"/>
                      <a:pt x="3123248" y="474210"/>
                      <a:pt x="3125724" y="504309"/>
                    </a:cubicBezTo>
                    <a:cubicBezTo>
                      <a:pt x="3137726" y="653947"/>
                      <a:pt x="3243358" y="686332"/>
                      <a:pt x="3247930" y="687570"/>
                    </a:cubicBezTo>
                    <a:cubicBezTo>
                      <a:pt x="3277171" y="695285"/>
                      <a:pt x="3294317" y="725099"/>
                      <a:pt x="3286601" y="754435"/>
                    </a:cubicBezTo>
                    <a:close/>
                  </a:path>
                </a:pathLst>
              </a:custGeom>
              <a:grpFill/>
              <a:ln w="9525" cap="flat">
                <a:noFill/>
                <a:prstDash val="solid"/>
                <a:miter/>
              </a:ln>
            </p:spPr>
            <p:txBody>
              <a:bodyPr/>
              <a:lstStyle/>
              <a:p>
                <a:endParaRPr lang="en-US"/>
              </a:p>
            </p:txBody>
          </p:sp>
          <p:sp>
            <p:nvSpPr>
              <p:cNvPr id="105" name="Freeform: Shape 104">
                <a:extLst>
                  <a:ext uri="{FF2B5EF4-FFF2-40B4-BE49-F238E27FC236}">
                    <a16:creationId xmlns:a16="http://schemas.microsoft.com/office/drawing/2014/main" id="{782EF1CF-7CB9-69CE-4B3D-8B66A6F5B1F2}"/>
                  </a:ext>
                </a:extLst>
              </p:cNvPr>
              <p:cNvSpPr/>
              <p:nvPr/>
            </p:nvSpPr>
            <p:spPr>
              <a:xfrm>
                <a:off x="5051127" y="3300888"/>
                <a:ext cx="1965034" cy="1495329"/>
              </a:xfrm>
              <a:custGeom>
                <a:avLst/>
                <a:gdLst>
                  <a:gd name="csX0" fmla="*/ 6552 w 1965034"/>
                  <a:gd name="csY0" fmla="*/ 1166812 h 1495329"/>
                  <a:gd name="csX1" fmla="*/ 27984 w 1965034"/>
                  <a:gd name="csY1" fmla="*/ 1168527 h 1495329"/>
                  <a:gd name="csX2" fmla="*/ 77132 w 1965034"/>
                  <a:gd name="csY2" fmla="*/ 1138428 h 1495329"/>
                  <a:gd name="csX3" fmla="*/ 604913 w 1965034"/>
                  <a:gd name="csY3" fmla="*/ 1090803 h 1495329"/>
                  <a:gd name="csX4" fmla="*/ 962196 w 1965034"/>
                  <a:gd name="csY4" fmla="*/ 1481995 h 1495329"/>
                  <a:gd name="csX5" fmla="*/ 979436 w 1965034"/>
                  <a:gd name="csY5" fmla="*/ 1495330 h 1495329"/>
                  <a:gd name="csX6" fmla="*/ 997152 w 1965034"/>
                  <a:gd name="csY6" fmla="*/ 1482852 h 1495329"/>
                  <a:gd name="csX7" fmla="*/ 1009725 w 1965034"/>
                  <a:gd name="csY7" fmla="*/ 1445324 h 1495329"/>
                  <a:gd name="csX8" fmla="*/ 1373295 w 1965034"/>
                  <a:gd name="csY8" fmla="*/ 1073468 h 1495329"/>
                  <a:gd name="csX9" fmla="*/ 1890502 w 1965034"/>
                  <a:gd name="csY9" fmla="*/ 1128332 h 1495329"/>
                  <a:gd name="csX10" fmla="*/ 1936698 w 1965034"/>
                  <a:gd name="csY10" fmla="*/ 1157097 h 1495329"/>
                  <a:gd name="csX11" fmla="*/ 1958606 w 1965034"/>
                  <a:gd name="csY11" fmla="*/ 1155192 h 1495329"/>
                  <a:gd name="csX12" fmla="*/ 1962987 w 1965034"/>
                  <a:gd name="csY12" fmla="*/ 1133666 h 1495329"/>
                  <a:gd name="csX13" fmla="*/ 1962606 w 1965034"/>
                  <a:gd name="csY13" fmla="*/ 1132999 h 1495329"/>
                  <a:gd name="csX14" fmla="*/ 1858879 w 1965034"/>
                  <a:gd name="csY14" fmla="*/ 850964 h 1495329"/>
                  <a:gd name="csX15" fmla="*/ 1804206 w 1965034"/>
                  <a:gd name="csY15" fmla="*/ 435388 h 1495329"/>
                  <a:gd name="csX16" fmla="*/ 1804206 w 1965034"/>
                  <a:gd name="csY16" fmla="*/ 0 h 1495329"/>
                  <a:gd name="csX17" fmla="*/ 1605705 w 1965034"/>
                  <a:gd name="csY17" fmla="*/ 109252 h 1495329"/>
                  <a:gd name="csX18" fmla="*/ 975531 w 1965034"/>
                  <a:gd name="csY18" fmla="*/ 205931 h 1495329"/>
                  <a:gd name="csX19" fmla="*/ 345356 w 1965034"/>
                  <a:gd name="csY19" fmla="*/ 109252 h 1495329"/>
                  <a:gd name="csX20" fmla="*/ 146856 w 1965034"/>
                  <a:gd name="csY20" fmla="*/ 0 h 1495329"/>
                  <a:gd name="csX21" fmla="*/ 146856 w 1965034"/>
                  <a:gd name="csY21" fmla="*/ 475012 h 1495329"/>
                  <a:gd name="csX22" fmla="*/ 101421 w 1965034"/>
                  <a:gd name="csY22" fmla="*/ 856202 h 1495329"/>
                  <a:gd name="csX23" fmla="*/ 20078 w 1965034"/>
                  <a:gd name="csY23" fmla="*/ 1102138 h 1495329"/>
                  <a:gd name="csX24" fmla="*/ 1694 w 1965034"/>
                  <a:gd name="csY24" fmla="*/ 1145858 h 1495329"/>
                  <a:gd name="csX25" fmla="*/ 6647 w 1965034"/>
                  <a:gd name="csY25" fmla="*/ 1166908 h 1495329"/>
                  <a:gd name="csX26" fmla="*/ 1421110 w 1965034"/>
                  <a:gd name="csY26" fmla="*/ 697040 h 1495329"/>
                  <a:gd name="csX27" fmla="*/ 1458639 w 1965034"/>
                  <a:gd name="csY27" fmla="*/ 373094 h 1495329"/>
                  <a:gd name="csX28" fmla="*/ 1477117 w 1965034"/>
                  <a:gd name="csY28" fmla="*/ 316706 h 1495329"/>
                  <a:gd name="csX29" fmla="*/ 1533410 w 1965034"/>
                  <a:gd name="csY29" fmla="*/ 334994 h 1495329"/>
                  <a:gd name="csX30" fmla="*/ 1480356 w 1965034"/>
                  <a:gd name="csY30" fmla="*/ 756380 h 1495329"/>
                  <a:gd name="csX31" fmla="*/ 1450733 w 1965034"/>
                  <a:gd name="csY31" fmla="*/ 768668 h 1495329"/>
                  <a:gd name="csX32" fmla="*/ 1421110 w 1965034"/>
                  <a:gd name="csY32" fmla="*/ 756380 h 1495329"/>
                  <a:gd name="csX33" fmla="*/ 1421110 w 1965034"/>
                  <a:gd name="csY33" fmla="*/ 697040 h 1495329"/>
                  <a:gd name="csX34" fmla="*/ 944955 w 1965034"/>
                  <a:gd name="csY34" fmla="*/ 931640 h 1495329"/>
                  <a:gd name="csX35" fmla="*/ 1002677 w 1965034"/>
                  <a:gd name="csY35" fmla="*/ 850773 h 1495329"/>
                  <a:gd name="csX36" fmla="*/ 981531 w 1965034"/>
                  <a:gd name="csY36" fmla="*/ 662464 h 1495329"/>
                  <a:gd name="csX37" fmla="*/ 996295 w 1965034"/>
                  <a:gd name="csY37" fmla="*/ 605028 h 1495329"/>
                  <a:gd name="csX38" fmla="*/ 1053731 w 1965034"/>
                  <a:gd name="csY38" fmla="*/ 619792 h 1495329"/>
                  <a:gd name="csX39" fmla="*/ 1089926 w 1965034"/>
                  <a:gd name="csY39" fmla="*/ 850773 h 1495329"/>
                  <a:gd name="csX40" fmla="*/ 999819 w 1965034"/>
                  <a:gd name="csY40" fmla="*/ 995077 h 1495329"/>
                  <a:gd name="csX41" fmla="*/ 972292 w 1965034"/>
                  <a:gd name="csY41" fmla="*/ 1005268 h 1495329"/>
                  <a:gd name="csX42" fmla="*/ 940574 w 1965034"/>
                  <a:gd name="csY42" fmla="*/ 990695 h 1495329"/>
                  <a:gd name="csX43" fmla="*/ 944955 w 1965034"/>
                  <a:gd name="csY43" fmla="*/ 931545 h 1495329"/>
                  <a:gd name="csX44" fmla="*/ 383742 w 1965034"/>
                  <a:gd name="csY44" fmla="*/ 762571 h 1495329"/>
                  <a:gd name="csX45" fmla="*/ 421271 w 1965034"/>
                  <a:gd name="csY45" fmla="*/ 438626 h 1495329"/>
                  <a:gd name="csX46" fmla="*/ 439749 w 1965034"/>
                  <a:gd name="csY46" fmla="*/ 382238 h 1495329"/>
                  <a:gd name="csX47" fmla="*/ 496042 w 1965034"/>
                  <a:gd name="csY47" fmla="*/ 400526 h 1495329"/>
                  <a:gd name="csX48" fmla="*/ 442988 w 1965034"/>
                  <a:gd name="csY48" fmla="*/ 821912 h 1495329"/>
                  <a:gd name="csX49" fmla="*/ 413365 w 1965034"/>
                  <a:gd name="csY49" fmla="*/ 834200 h 1495329"/>
                  <a:gd name="csX50" fmla="*/ 383742 w 1965034"/>
                  <a:gd name="csY50" fmla="*/ 821912 h 1495329"/>
                  <a:gd name="csX51" fmla="*/ 383742 w 1965034"/>
                  <a:gd name="csY51" fmla="*/ 762571 h 149532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Lst>
                <a:rect l="l" t="t" r="r" b="b"/>
                <a:pathLst>
                  <a:path w="1965034" h="1495329">
                    <a:moveTo>
                      <a:pt x="6552" y="1166812"/>
                    </a:moveTo>
                    <a:cubicBezTo>
                      <a:pt x="10362" y="1170051"/>
                      <a:pt x="18173" y="1174528"/>
                      <a:pt x="27984" y="1168527"/>
                    </a:cubicBezTo>
                    <a:lnTo>
                      <a:pt x="77132" y="1138428"/>
                    </a:lnTo>
                    <a:cubicBezTo>
                      <a:pt x="237248" y="1040130"/>
                      <a:pt x="429653" y="1022794"/>
                      <a:pt x="604913" y="1090803"/>
                    </a:cubicBezTo>
                    <a:cubicBezTo>
                      <a:pt x="780077" y="1158811"/>
                      <a:pt x="910284" y="1301496"/>
                      <a:pt x="962196" y="1481995"/>
                    </a:cubicBezTo>
                    <a:cubicBezTo>
                      <a:pt x="965434" y="1493329"/>
                      <a:pt x="974388" y="1495139"/>
                      <a:pt x="979436" y="1495330"/>
                    </a:cubicBezTo>
                    <a:cubicBezTo>
                      <a:pt x="984579" y="1495330"/>
                      <a:pt x="993533" y="1493901"/>
                      <a:pt x="997152" y="1482852"/>
                    </a:cubicBezTo>
                    <a:lnTo>
                      <a:pt x="1009725" y="1445324"/>
                    </a:lnTo>
                    <a:cubicBezTo>
                      <a:pt x="1068018" y="1271207"/>
                      <a:pt x="1200511" y="1135761"/>
                      <a:pt x="1373295" y="1073468"/>
                    </a:cubicBezTo>
                    <a:cubicBezTo>
                      <a:pt x="1546078" y="1011269"/>
                      <a:pt x="1734578" y="1031272"/>
                      <a:pt x="1890502" y="1128332"/>
                    </a:cubicBezTo>
                    <a:lnTo>
                      <a:pt x="1936698" y="1157097"/>
                    </a:lnTo>
                    <a:cubicBezTo>
                      <a:pt x="1946890" y="1163479"/>
                      <a:pt x="1954796" y="1158621"/>
                      <a:pt x="1958606" y="1155192"/>
                    </a:cubicBezTo>
                    <a:cubicBezTo>
                      <a:pt x="1962416" y="1151763"/>
                      <a:pt x="1968131" y="1144429"/>
                      <a:pt x="1962987" y="1133666"/>
                    </a:cubicBezTo>
                    <a:lnTo>
                      <a:pt x="1962606" y="1132999"/>
                    </a:lnTo>
                    <a:cubicBezTo>
                      <a:pt x="1919363" y="1042702"/>
                      <a:pt x="1884597" y="948023"/>
                      <a:pt x="1858879" y="850964"/>
                    </a:cubicBezTo>
                    <a:cubicBezTo>
                      <a:pt x="1822779" y="715518"/>
                      <a:pt x="1804206" y="575310"/>
                      <a:pt x="1804206" y="435388"/>
                    </a:cubicBezTo>
                    <a:lnTo>
                      <a:pt x="1804206" y="0"/>
                    </a:lnTo>
                    <a:cubicBezTo>
                      <a:pt x="1756771" y="41148"/>
                      <a:pt x="1690001" y="78105"/>
                      <a:pt x="1605705" y="109252"/>
                    </a:cubicBezTo>
                    <a:cubicBezTo>
                      <a:pt x="1436731" y="171641"/>
                      <a:pt x="1212894" y="205931"/>
                      <a:pt x="975531" y="205931"/>
                    </a:cubicBezTo>
                    <a:cubicBezTo>
                      <a:pt x="738168" y="205931"/>
                      <a:pt x="514330" y="171641"/>
                      <a:pt x="345356" y="109252"/>
                    </a:cubicBezTo>
                    <a:cubicBezTo>
                      <a:pt x="260965" y="78105"/>
                      <a:pt x="194195" y="41243"/>
                      <a:pt x="146856" y="0"/>
                    </a:cubicBezTo>
                    <a:lnTo>
                      <a:pt x="146856" y="475012"/>
                    </a:lnTo>
                    <a:cubicBezTo>
                      <a:pt x="146856" y="604552"/>
                      <a:pt x="131615" y="731996"/>
                      <a:pt x="101421" y="856202"/>
                    </a:cubicBezTo>
                    <a:cubicBezTo>
                      <a:pt x="81038" y="939736"/>
                      <a:pt x="53892" y="1021842"/>
                      <a:pt x="20078" y="1102138"/>
                    </a:cubicBezTo>
                    <a:lnTo>
                      <a:pt x="1694" y="1145858"/>
                    </a:lnTo>
                    <a:cubicBezTo>
                      <a:pt x="-2878" y="1156526"/>
                      <a:pt x="2838" y="1163574"/>
                      <a:pt x="6647" y="1166908"/>
                    </a:cubicBezTo>
                    <a:close/>
                    <a:moveTo>
                      <a:pt x="1421110" y="697040"/>
                    </a:moveTo>
                    <a:cubicBezTo>
                      <a:pt x="1553222" y="564928"/>
                      <a:pt x="1462544" y="380809"/>
                      <a:pt x="1458639" y="373094"/>
                    </a:cubicBezTo>
                    <a:cubicBezTo>
                      <a:pt x="1448256" y="352425"/>
                      <a:pt x="1456448" y="327184"/>
                      <a:pt x="1477117" y="316706"/>
                    </a:cubicBezTo>
                    <a:cubicBezTo>
                      <a:pt x="1497691" y="306229"/>
                      <a:pt x="1522932" y="314325"/>
                      <a:pt x="1533410" y="334994"/>
                    </a:cubicBezTo>
                    <a:cubicBezTo>
                      <a:pt x="1576558" y="419291"/>
                      <a:pt x="1620945" y="615886"/>
                      <a:pt x="1480356" y="756380"/>
                    </a:cubicBezTo>
                    <a:cubicBezTo>
                      <a:pt x="1472164" y="764572"/>
                      <a:pt x="1461496" y="768668"/>
                      <a:pt x="1450733" y="768668"/>
                    </a:cubicBezTo>
                    <a:cubicBezTo>
                      <a:pt x="1439970" y="768668"/>
                      <a:pt x="1429301" y="764572"/>
                      <a:pt x="1421110" y="756380"/>
                    </a:cubicBezTo>
                    <a:cubicBezTo>
                      <a:pt x="1404632" y="739997"/>
                      <a:pt x="1404632" y="713423"/>
                      <a:pt x="1421110" y="697040"/>
                    </a:cubicBezTo>
                    <a:close/>
                    <a:moveTo>
                      <a:pt x="944955" y="931640"/>
                    </a:moveTo>
                    <a:cubicBezTo>
                      <a:pt x="974483" y="906113"/>
                      <a:pt x="992485" y="878395"/>
                      <a:pt x="1002677" y="850773"/>
                    </a:cubicBezTo>
                    <a:cubicBezTo>
                      <a:pt x="1037062" y="758571"/>
                      <a:pt x="984484" y="667417"/>
                      <a:pt x="981531" y="662464"/>
                    </a:cubicBezTo>
                    <a:cubicBezTo>
                      <a:pt x="969720" y="642557"/>
                      <a:pt x="976293" y="616839"/>
                      <a:pt x="996295" y="605028"/>
                    </a:cubicBezTo>
                    <a:cubicBezTo>
                      <a:pt x="1016202" y="593217"/>
                      <a:pt x="1041920" y="599789"/>
                      <a:pt x="1053731" y="619792"/>
                    </a:cubicBezTo>
                    <a:cubicBezTo>
                      <a:pt x="1082591" y="668465"/>
                      <a:pt x="1112024" y="759047"/>
                      <a:pt x="1089926" y="850773"/>
                    </a:cubicBezTo>
                    <a:cubicBezTo>
                      <a:pt x="1077924" y="900684"/>
                      <a:pt x="1050778" y="951071"/>
                      <a:pt x="999819" y="995077"/>
                    </a:cubicBezTo>
                    <a:cubicBezTo>
                      <a:pt x="991818" y="1001935"/>
                      <a:pt x="982103" y="1005268"/>
                      <a:pt x="972292" y="1005268"/>
                    </a:cubicBezTo>
                    <a:cubicBezTo>
                      <a:pt x="960576" y="1005268"/>
                      <a:pt x="948860" y="1000411"/>
                      <a:pt x="940574" y="990695"/>
                    </a:cubicBezTo>
                    <a:cubicBezTo>
                      <a:pt x="925429" y="973169"/>
                      <a:pt x="927334" y="946690"/>
                      <a:pt x="944955" y="931545"/>
                    </a:cubicBezTo>
                    <a:close/>
                    <a:moveTo>
                      <a:pt x="383742" y="762571"/>
                    </a:moveTo>
                    <a:cubicBezTo>
                      <a:pt x="515854" y="630460"/>
                      <a:pt x="425176" y="446342"/>
                      <a:pt x="421271" y="438626"/>
                    </a:cubicBezTo>
                    <a:cubicBezTo>
                      <a:pt x="410889" y="417957"/>
                      <a:pt x="419080" y="392716"/>
                      <a:pt x="439749" y="382238"/>
                    </a:cubicBezTo>
                    <a:cubicBezTo>
                      <a:pt x="460323" y="371761"/>
                      <a:pt x="485564" y="379857"/>
                      <a:pt x="496042" y="400526"/>
                    </a:cubicBezTo>
                    <a:cubicBezTo>
                      <a:pt x="539190" y="484823"/>
                      <a:pt x="583577" y="681323"/>
                      <a:pt x="442988" y="821912"/>
                    </a:cubicBezTo>
                    <a:cubicBezTo>
                      <a:pt x="434796" y="830104"/>
                      <a:pt x="424033" y="834200"/>
                      <a:pt x="413365" y="834200"/>
                    </a:cubicBezTo>
                    <a:cubicBezTo>
                      <a:pt x="402697" y="834200"/>
                      <a:pt x="391934" y="830104"/>
                      <a:pt x="383742" y="821912"/>
                    </a:cubicBezTo>
                    <a:cubicBezTo>
                      <a:pt x="367264" y="805529"/>
                      <a:pt x="367264" y="778954"/>
                      <a:pt x="383742" y="762571"/>
                    </a:cubicBezTo>
                    <a:close/>
                  </a:path>
                </a:pathLst>
              </a:custGeom>
              <a:grpFill/>
              <a:ln w="9525" cap="flat">
                <a:noFill/>
                <a:prstDash val="solid"/>
                <a:miter/>
              </a:ln>
            </p:spPr>
            <p:txBody>
              <a:bodyPr/>
              <a:lstStyle/>
              <a:p>
                <a:endParaRPr lang="en-US"/>
              </a:p>
            </p:txBody>
          </p:sp>
          <p:sp>
            <p:nvSpPr>
              <p:cNvPr id="106" name="Freeform: Shape 105">
                <a:extLst>
                  <a:ext uri="{FF2B5EF4-FFF2-40B4-BE49-F238E27FC236}">
                    <a16:creationId xmlns:a16="http://schemas.microsoft.com/office/drawing/2014/main" id="{93D20998-9A07-BE81-9A02-C6CC92235E69}"/>
                  </a:ext>
                </a:extLst>
              </p:cNvPr>
              <p:cNvSpPr/>
              <p:nvPr/>
            </p:nvSpPr>
            <p:spPr>
              <a:xfrm>
                <a:off x="5902053" y="1672949"/>
                <a:ext cx="362927" cy="397882"/>
              </a:xfrm>
              <a:custGeom>
                <a:avLst/>
                <a:gdLst>
                  <a:gd name="csX0" fmla="*/ 157371 w 362927"/>
                  <a:gd name="csY0" fmla="*/ 395023 h 397882"/>
                  <a:gd name="csX1" fmla="*/ 173182 w 362927"/>
                  <a:gd name="csY1" fmla="*/ 394737 h 397882"/>
                  <a:gd name="csX2" fmla="*/ 361206 w 362927"/>
                  <a:gd name="csY2" fmla="*/ 161851 h 397882"/>
                  <a:gd name="csX3" fmla="*/ 359396 w 362927"/>
                  <a:gd name="csY3" fmla="*/ 147087 h 397882"/>
                  <a:gd name="csX4" fmla="*/ 219188 w 362927"/>
                  <a:gd name="csY4" fmla="*/ 3736 h 397882"/>
                  <a:gd name="csX5" fmla="*/ 201281 w 362927"/>
                  <a:gd name="csY5" fmla="*/ 4498 h 397882"/>
                  <a:gd name="csX6" fmla="*/ 2589 w 362927"/>
                  <a:gd name="csY6" fmla="*/ 253291 h 397882"/>
                  <a:gd name="csX7" fmla="*/ 4494 w 362927"/>
                  <a:gd name="csY7" fmla="*/ 270055 h 397882"/>
                  <a:gd name="csX8" fmla="*/ 157275 w 362927"/>
                  <a:gd name="csY8" fmla="*/ 395118 h 3978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62927" h="397882">
                    <a:moveTo>
                      <a:pt x="157371" y="395023"/>
                    </a:moveTo>
                    <a:cubicBezTo>
                      <a:pt x="161943" y="398928"/>
                      <a:pt x="168801" y="398833"/>
                      <a:pt x="173182" y="394737"/>
                    </a:cubicBezTo>
                    <a:cubicBezTo>
                      <a:pt x="243858" y="329110"/>
                      <a:pt x="306437" y="251577"/>
                      <a:pt x="361206" y="161851"/>
                    </a:cubicBezTo>
                    <a:cubicBezTo>
                      <a:pt x="364063" y="157089"/>
                      <a:pt x="363301" y="150993"/>
                      <a:pt x="359396" y="147087"/>
                    </a:cubicBezTo>
                    <a:cubicBezTo>
                      <a:pt x="311962" y="100129"/>
                      <a:pt x="265289" y="52409"/>
                      <a:pt x="219188" y="3736"/>
                    </a:cubicBezTo>
                    <a:cubicBezTo>
                      <a:pt x="214235" y="-1503"/>
                      <a:pt x="205758" y="-1217"/>
                      <a:pt x="201281" y="4498"/>
                    </a:cubicBezTo>
                    <a:lnTo>
                      <a:pt x="2589" y="253291"/>
                    </a:lnTo>
                    <a:cubicBezTo>
                      <a:pt x="-1506" y="258435"/>
                      <a:pt x="-649" y="265959"/>
                      <a:pt x="4494" y="270055"/>
                    </a:cubicBezTo>
                    <a:cubicBezTo>
                      <a:pt x="56025" y="310917"/>
                      <a:pt x="106983" y="352637"/>
                      <a:pt x="157275" y="395118"/>
                    </a:cubicBezTo>
                    <a:close/>
                  </a:path>
                </a:pathLst>
              </a:custGeom>
              <a:grpFill/>
              <a:ln w="9525" cap="flat">
                <a:noFill/>
                <a:prstDash val="solid"/>
                <a:miter/>
              </a:ln>
            </p:spPr>
            <p:txBody>
              <a:bodyPr/>
              <a:lstStyle/>
              <a:p>
                <a:endParaRPr lang="en-US"/>
              </a:p>
            </p:txBody>
          </p:sp>
          <p:sp>
            <p:nvSpPr>
              <p:cNvPr id="109" name="Freeform: Shape 108">
                <a:extLst>
                  <a:ext uri="{FF2B5EF4-FFF2-40B4-BE49-F238E27FC236}">
                    <a16:creationId xmlns:a16="http://schemas.microsoft.com/office/drawing/2014/main" id="{705AA011-F71A-4DA8-209D-45810065D8D4}"/>
                  </a:ext>
                </a:extLst>
              </p:cNvPr>
              <p:cNvSpPr/>
              <p:nvPr/>
            </p:nvSpPr>
            <p:spPr>
              <a:xfrm>
                <a:off x="6583495" y="2299155"/>
                <a:ext cx="1165098" cy="1142671"/>
              </a:xfrm>
              <a:custGeom>
                <a:avLst/>
                <a:gdLst>
                  <a:gd name="csX0" fmla="*/ 185160 w 1165098"/>
                  <a:gd name="csY0" fmla="*/ 8847 h 1142671"/>
                  <a:gd name="csX1" fmla="*/ 4947 w 1165098"/>
                  <a:gd name="csY1" fmla="*/ 225731 h 1142671"/>
                  <a:gd name="csX2" fmla="*/ 9614 w 1165098"/>
                  <a:gd name="csY2" fmla="*/ 267546 h 1142671"/>
                  <a:gd name="csX3" fmla="*/ 722370 w 1165098"/>
                  <a:gd name="csY3" fmla="*/ 1128130 h 1142671"/>
                  <a:gd name="csX4" fmla="*/ 777424 w 1165098"/>
                  <a:gd name="csY4" fmla="*/ 1129749 h 1142671"/>
                  <a:gd name="csX5" fmla="*/ 1157567 w 1165098"/>
                  <a:gd name="csY5" fmla="*/ 653690 h 1142671"/>
                  <a:gd name="csX6" fmla="*/ 1146709 w 1165098"/>
                  <a:gd name="csY6" fmla="*/ 601778 h 1142671"/>
                  <a:gd name="csX7" fmla="*/ 229546 w 1165098"/>
                  <a:gd name="csY7" fmla="*/ 7323 h 1142671"/>
                  <a:gd name="csX8" fmla="*/ 185160 w 1165098"/>
                  <a:gd name="csY8" fmla="*/ 8942 h 1142671"/>
                  <a:gd name="csX9" fmla="*/ 761899 w 1165098"/>
                  <a:gd name="csY9" fmla="*/ 555201 h 1142671"/>
                  <a:gd name="csX10" fmla="*/ 912965 w 1165098"/>
                  <a:gd name="csY10" fmla="*/ 706268 h 1142671"/>
                  <a:gd name="csX11" fmla="*/ 761899 w 1165098"/>
                  <a:gd name="csY11" fmla="*/ 857334 h 1142671"/>
                  <a:gd name="csX12" fmla="*/ 610832 w 1165098"/>
                  <a:gd name="csY12" fmla="*/ 706268 h 1142671"/>
                  <a:gd name="csX13" fmla="*/ 761899 w 1165098"/>
                  <a:gd name="csY13" fmla="*/ 555201 h 11426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1165098" h="1142671">
                    <a:moveTo>
                      <a:pt x="185160" y="8847"/>
                    </a:moveTo>
                    <a:cubicBezTo>
                      <a:pt x="112389" y="74093"/>
                      <a:pt x="52381" y="146198"/>
                      <a:pt x="4947" y="225731"/>
                    </a:cubicBezTo>
                    <a:cubicBezTo>
                      <a:pt x="-3054" y="239162"/>
                      <a:pt x="-1245" y="256307"/>
                      <a:pt x="9614" y="267546"/>
                    </a:cubicBezTo>
                    <a:cubicBezTo>
                      <a:pt x="264979" y="532151"/>
                      <a:pt x="502533" y="818948"/>
                      <a:pt x="722370" y="1128130"/>
                    </a:cubicBezTo>
                    <a:cubicBezTo>
                      <a:pt x="735705" y="1146799"/>
                      <a:pt x="763042" y="1147656"/>
                      <a:pt x="777424" y="1129749"/>
                    </a:cubicBezTo>
                    <a:lnTo>
                      <a:pt x="1157567" y="653690"/>
                    </a:lnTo>
                    <a:cubicBezTo>
                      <a:pt x="1171093" y="636830"/>
                      <a:pt x="1165759" y="611875"/>
                      <a:pt x="1146709" y="601778"/>
                    </a:cubicBezTo>
                    <a:cubicBezTo>
                      <a:pt x="821335" y="429090"/>
                      <a:pt x="515677" y="230875"/>
                      <a:pt x="229546" y="7323"/>
                    </a:cubicBezTo>
                    <a:cubicBezTo>
                      <a:pt x="216307" y="-3059"/>
                      <a:pt x="197638" y="-2297"/>
                      <a:pt x="185160" y="8942"/>
                    </a:cubicBezTo>
                    <a:close/>
                    <a:moveTo>
                      <a:pt x="761899" y="555201"/>
                    </a:moveTo>
                    <a:cubicBezTo>
                      <a:pt x="845338" y="555201"/>
                      <a:pt x="912965" y="622829"/>
                      <a:pt x="912965" y="706268"/>
                    </a:cubicBezTo>
                    <a:cubicBezTo>
                      <a:pt x="912965" y="789707"/>
                      <a:pt x="845338" y="857334"/>
                      <a:pt x="761899" y="857334"/>
                    </a:cubicBezTo>
                    <a:cubicBezTo>
                      <a:pt x="678460" y="857334"/>
                      <a:pt x="610832" y="789707"/>
                      <a:pt x="610832" y="706268"/>
                    </a:cubicBezTo>
                    <a:cubicBezTo>
                      <a:pt x="610832" y="622829"/>
                      <a:pt x="678460" y="555201"/>
                      <a:pt x="761899" y="555201"/>
                    </a:cubicBezTo>
                    <a:close/>
                  </a:path>
                </a:pathLst>
              </a:custGeom>
              <a:grpFill/>
              <a:ln w="9525" cap="flat">
                <a:noFill/>
                <a:prstDash val="solid"/>
                <a:miter/>
              </a:ln>
            </p:spPr>
            <p:txBody>
              <a:bodyPr/>
              <a:lstStyle/>
              <a:p>
                <a:endParaRPr lang="en-US"/>
              </a:p>
            </p:txBody>
          </p:sp>
          <p:sp>
            <p:nvSpPr>
              <p:cNvPr id="112" name="Freeform: Shape 111">
                <a:extLst>
                  <a:ext uri="{FF2B5EF4-FFF2-40B4-BE49-F238E27FC236}">
                    <a16:creationId xmlns:a16="http://schemas.microsoft.com/office/drawing/2014/main" id="{CDA5C8D6-C0DE-C67A-F145-D7BCCF212D82}"/>
                  </a:ext>
                </a:extLst>
              </p:cNvPr>
              <p:cNvSpPr/>
              <p:nvPr/>
            </p:nvSpPr>
            <p:spPr>
              <a:xfrm>
                <a:off x="5197887" y="2880931"/>
                <a:ext cx="1657445" cy="541781"/>
              </a:xfrm>
              <a:custGeom>
                <a:avLst/>
                <a:gdLst>
                  <a:gd name="csX0" fmla="*/ 828675 w 1657445"/>
                  <a:gd name="csY0" fmla="*/ 541782 h 541781"/>
                  <a:gd name="csX1" fmla="*/ 1657445 w 1657445"/>
                  <a:gd name="csY1" fmla="*/ 262699 h 541781"/>
                  <a:gd name="csX2" fmla="*/ 1264349 w 1657445"/>
                  <a:gd name="csY2" fmla="*/ 27527 h 541781"/>
                  <a:gd name="csX3" fmla="*/ 1257681 w 1657445"/>
                  <a:gd name="csY3" fmla="*/ 256699 h 541781"/>
                  <a:gd name="csX4" fmla="*/ 1257967 w 1657445"/>
                  <a:gd name="csY4" fmla="*/ 262604 h 541781"/>
                  <a:gd name="csX5" fmla="*/ 1260062 w 1657445"/>
                  <a:gd name="csY5" fmla="*/ 303085 h 541781"/>
                  <a:gd name="csX6" fmla="*/ 1213580 w 1657445"/>
                  <a:gd name="csY6" fmla="*/ 300704 h 541781"/>
                  <a:gd name="csX7" fmla="*/ 971741 w 1657445"/>
                  <a:gd name="csY7" fmla="*/ 262604 h 541781"/>
                  <a:gd name="csX8" fmla="*/ 554736 w 1657445"/>
                  <a:gd name="csY8" fmla="*/ 0 h 541781"/>
                  <a:gd name="csX9" fmla="*/ 150209 w 1657445"/>
                  <a:gd name="csY9" fmla="*/ 107728 h 541781"/>
                  <a:gd name="csX10" fmla="*/ 0 w 1657445"/>
                  <a:gd name="csY10" fmla="*/ 262604 h 541781"/>
                  <a:gd name="csX11" fmla="*/ 828675 w 1657445"/>
                  <a:gd name="csY11" fmla="*/ 541687 h 5417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1657445" h="541781">
                    <a:moveTo>
                      <a:pt x="828675" y="541782"/>
                    </a:moveTo>
                    <a:cubicBezTo>
                      <a:pt x="1317022" y="541782"/>
                      <a:pt x="1657445" y="394716"/>
                      <a:pt x="1657445" y="262699"/>
                    </a:cubicBezTo>
                    <a:cubicBezTo>
                      <a:pt x="1657445" y="172117"/>
                      <a:pt x="1501235" y="79629"/>
                      <a:pt x="1264349" y="27527"/>
                    </a:cubicBezTo>
                    <a:cubicBezTo>
                      <a:pt x="1255776" y="99917"/>
                      <a:pt x="1253490" y="176213"/>
                      <a:pt x="1257681" y="256699"/>
                    </a:cubicBezTo>
                    <a:lnTo>
                      <a:pt x="1257967" y="262604"/>
                    </a:lnTo>
                    <a:lnTo>
                      <a:pt x="1260062" y="303085"/>
                    </a:lnTo>
                    <a:lnTo>
                      <a:pt x="1213580" y="300704"/>
                    </a:lnTo>
                    <a:cubicBezTo>
                      <a:pt x="1127284" y="296227"/>
                      <a:pt x="1046607" y="283464"/>
                      <a:pt x="971741" y="262604"/>
                    </a:cubicBezTo>
                    <a:cubicBezTo>
                      <a:pt x="803815" y="215932"/>
                      <a:pt x="664559" y="128206"/>
                      <a:pt x="554736" y="0"/>
                    </a:cubicBezTo>
                    <a:cubicBezTo>
                      <a:pt x="394240" y="20098"/>
                      <a:pt x="251174" y="58007"/>
                      <a:pt x="150209" y="107728"/>
                    </a:cubicBezTo>
                    <a:cubicBezTo>
                      <a:pt x="53340" y="155353"/>
                      <a:pt x="0" y="210407"/>
                      <a:pt x="0" y="262604"/>
                    </a:cubicBezTo>
                    <a:cubicBezTo>
                      <a:pt x="0" y="394621"/>
                      <a:pt x="340328" y="541687"/>
                      <a:pt x="828675" y="541687"/>
                    </a:cubicBezTo>
                    <a:close/>
                  </a:path>
                </a:pathLst>
              </a:custGeom>
              <a:grpFill/>
              <a:ln w="9525" cap="flat">
                <a:noFill/>
                <a:prstDash val="solid"/>
                <a:miter/>
              </a:ln>
            </p:spPr>
            <p:txBody>
              <a:bodyPr/>
              <a:lstStyle/>
              <a:p>
                <a:endParaRPr lang="en-US"/>
              </a:p>
            </p:txBody>
          </p:sp>
          <p:sp>
            <p:nvSpPr>
              <p:cNvPr id="113" name="Freeform: Shape 112">
                <a:extLst>
                  <a:ext uri="{FF2B5EF4-FFF2-40B4-BE49-F238E27FC236}">
                    <a16:creationId xmlns:a16="http://schemas.microsoft.com/office/drawing/2014/main" id="{4846D212-98E2-2006-6543-BCBE9B32D4FD}"/>
                  </a:ext>
                </a:extLst>
              </p:cNvPr>
              <p:cNvSpPr/>
              <p:nvPr/>
            </p:nvSpPr>
            <p:spPr>
              <a:xfrm>
                <a:off x="5607519" y="1760850"/>
                <a:ext cx="1224620" cy="1332008"/>
              </a:xfrm>
              <a:custGeom>
                <a:avLst/>
                <a:gdLst>
                  <a:gd name="csX0" fmla="*/ 218066 w 1224620"/>
                  <a:gd name="csY0" fmla="*/ 1077600 h 1332008"/>
                  <a:gd name="csX1" fmla="*/ 743560 w 1224620"/>
                  <a:gd name="csY1" fmla="*/ 1331918 h 1332008"/>
                  <a:gd name="csX2" fmla="*/ 762134 w 1224620"/>
                  <a:gd name="csY2" fmla="*/ 1314868 h 1332008"/>
                  <a:gd name="csX3" fmla="*/ 777565 w 1224620"/>
                  <a:gd name="csY3" fmla="*/ 1096174 h 1332008"/>
                  <a:gd name="csX4" fmla="*/ 1217334 w 1224620"/>
                  <a:gd name="csY4" fmla="*/ 395800 h 1332008"/>
                  <a:gd name="csX5" fmla="*/ 1219048 w 1224620"/>
                  <a:gd name="csY5" fmla="*/ 369416 h 1332008"/>
                  <a:gd name="csX6" fmla="*/ 813569 w 1224620"/>
                  <a:gd name="csY6" fmla="*/ 4323 h 1332008"/>
                  <a:gd name="csX7" fmla="*/ 787090 w 1224620"/>
                  <a:gd name="csY7" fmla="*/ 9466 h 1332008"/>
                  <a:gd name="csX8" fmla="*/ 13279 w 1224620"/>
                  <a:gd name="csY8" fmla="*/ 631735 h 1332008"/>
                  <a:gd name="csX9" fmla="*/ 610 w 1224620"/>
                  <a:gd name="csY9" fmla="*/ 652785 h 1332008"/>
                  <a:gd name="csX10" fmla="*/ 217971 w 1224620"/>
                  <a:gd name="csY10" fmla="*/ 1077695 h 13320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224620" h="1332008">
                    <a:moveTo>
                      <a:pt x="218066" y="1077600"/>
                    </a:moveTo>
                    <a:cubicBezTo>
                      <a:pt x="348558" y="1224285"/>
                      <a:pt x="523057" y="1308391"/>
                      <a:pt x="743560" y="1331918"/>
                    </a:cubicBezTo>
                    <a:cubicBezTo>
                      <a:pt x="753561" y="1332965"/>
                      <a:pt x="762229" y="1324869"/>
                      <a:pt x="762134" y="1314868"/>
                    </a:cubicBezTo>
                    <a:cubicBezTo>
                      <a:pt x="761467" y="1238763"/>
                      <a:pt x="766611" y="1165801"/>
                      <a:pt x="777565" y="1096174"/>
                    </a:cubicBezTo>
                    <a:cubicBezTo>
                      <a:pt x="823284" y="804328"/>
                      <a:pt x="970446" y="569727"/>
                      <a:pt x="1217334" y="395800"/>
                    </a:cubicBezTo>
                    <a:cubicBezTo>
                      <a:pt x="1226287" y="389514"/>
                      <a:pt x="1227144" y="376655"/>
                      <a:pt x="1219048" y="369416"/>
                    </a:cubicBezTo>
                    <a:lnTo>
                      <a:pt x="813569" y="4323"/>
                    </a:lnTo>
                    <a:cubicBezTo>
                      <a:pt x="805282" y="-3202"/>
                      <a:pt x="792138" y="-535"/>
                      <a:pt x="787090" y="9466"/>
                    </a:cubicBezTo>
                    <a:cubicBezTo>
                      <a:pt x="619735" y="343794"/>
                      <a:pt x="359893" y="552677"/>
                      <a:pt x="13279" y="631735"/>
                    </a:cubicBezTo>
                    <a:cubicBezTo>
                      <a:pt x="3849" y="633925"/>
                      <a:pt x="-1962" y="643450"/>
                      <a:pt x="610" y="652785"/>
                    </a:cubicBezTo>
                    <a:cubicBezTo>
                      <a:pt x="50045" y="828617"/>
                      <a:pt x="122149" y="969967"/>
                      <a:pt x="217971" y="1077695"/>
                    </a:cubicBezTo>
                    <a:close/>
                  </a:path>
                </a:pathLst>
              </a:custGeom>
              <a:grpFill/>
              <a:ln w="9525" cap="flat">
                <a:noFill/>
                <a:prstDash val="solid"/>
                <a:miter/>
              </a:ln>
            </p:spPr>
            <p:txBody>
              <a:bodyPr/>
              <a:lstStyle/>
              <a:p>
                <a:endParaRPr lang="en-US"/>
              </a:p>
            </p:txBody>
          </p:sp>
        </p:grpSp>
      </p:grpSp>
      <p:grpSp>
        <p:nvGrpSpPr>
          <p:cNvPr id="129" name="Group 128">
            <a:extLst>
              <a:ext uri="{FF2B5EF4-FFF2-40B4-BE49-F238E27FC236}">
                <a16:creationId xmlns:a16="http://schemas.microsoft.com/office/drawing/2014/main" id="{C84E1C71-4F21-B53A-233D-8668C33CE1FF}"/>
              </a:ext>
            </a:extLst>
          </p:cNvPr>
          <p:cNvGrpSpPr/>
          <p:nvPr/>
        </p:nvGrpSpPr>
        <p:grpSpPr>
          <a:xfrm>
            <a:off x="6250778" y="3205234"/>
            <a:ext cx="354334" cy="354334"/>
            <a:chOff x="6250778" y="3205234"/>
            <a:chExt cx="354334" cy="354334"/>
          </a:xfrm>
        </p:grpSpPr>
        <p:sp>
          <p:nvSpPr>
            <p:cNvPr id="37" name="Oval 36">
              <a:extLst>
                <a:ext uri="{FF2B5EF4-FFF2-40B4-BE49-F238E27FC236}">
                  <a16:creationId xmlns:a16="http://schemas.microsoft.com/office/drawing/2014/main" id="{B99DC259-19E5-4263-C252-8F3674D7397B}"/>
                </a:ext>
              </a:extLst>
            </p:cNvPr>
            <p:cNvSpPr/>
            <p:nvPr/>
          </p:nvSpPr>
          <p:spPr>
            <a:xfrm>
              <a:off x="6250778" y="3205234"/>
              <a:ext cx="354334" cy="3543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8" name="Graphic 116">
              <a:extLst>
                <a:ext uri="{FF2B5EF4-FFF2-40B4-BE49-F238E27FC236}">
                  <a16:creationId xmlns:a16="http://schemas.microsoft.com/office/drawing/2014/main" id="{FB379594-463A-D214-B000-9E656C168807}"/>
                </a:ext>
              </a:extLst>
            </p:cNvPr>
            <p:cNvGrpSpPr/>
            <p:nvPr/>
          </p:nvGrpSpPr>
          <p:grpSpPr>
            <a:xfrm>
              <a:off x="6348202" y="3269230"/>
              <a:ext cx="159487" cy="226342"/>
              <a:chOff x="4383687" y="990600"/>
              <a:chExt cx="3464229" cy="4916404"/>
            </a:xfrm>
            <a:solidFill>
              <a:srgbClr val="2B660F"/>
            </a:solidFill>
          </p:grpSpPr>
          <p:sp>
            <p:nvSpPr>
              <p:cNvPr id="119" name="Freeform: Shape 118">
                <a:extLst>
                  <a:ext uri="{FF2B5EF4-FFF2-40B4-BE49-F238E27FC236}">
                    <a16:creationId xmlns:a16="http://schemas.microsoft.com/office/drawing/2014/main" id="{4D3E6B40-A266-6B95-1EC5-ACE7BF591103}"/>
                  </a:ext>
                </a:extLst>
              </p:cNvPr>
              <p:cNvSpPr/>
              <p:nvPr/>
            </p:nvSpPr>
            <p:spPr>
              <a:xfrm>
                <a:off x="6090496" y="2793496"/>
                <a:ext cx="694988" cy="871745"/>
              </a:xfrm>
              <a:custGeom>
                <a:avLst/>
                <a:gdLst>
                  <a:gd name="csX0" fmla="*/ 573776 w 694988"/>
                  <a:gd name="csY0" fmla="*/ 0 h 871745"/>
                  <a:gd name="csX1" fmla="*/ 335607 w 694988"/>
                  <a:gd name="csY1" fmla="*/ 871745 h 871745"/>
                  <a:gd name="csX2" fmla="*/ 452026 w 694988"/>
                  <a:gd name="csY2" fmla="*/ 670106 h 871745"/>
                  <a:gd name="csX3" fmla="*/ 395841 w 694988"/>
                  <a:gd name="csY3" fmla="*/ 459621 h 871745"/>
                  <a:gd name="csX4" fmla="*/ 185197 w 694988"/>
                  <a:gd name="csY4" fmla="*/ 515841 h 871745"/>
                  <a:gd name="csX5" fmla="*/ 47705 w 694988"/>
                  <a:gd name="csY5" fmla="*/ 753976 h 871745"/>
                  <a:gd name="csX6" fmla="*/ 60 w 694988"/>
                  <a:gd name="csY6" fmla="*/ 575236 h 871745"/>
                  <a:gd name="csX7" fmla="*/ 252826 w 694988"/>
                  <a:gd name="csY7" fmla="*/ 252800 h 871745"/>
                  <a:gd name="csX8" fmla="*/ 573776 w 694988"/>
                  <a:gd name="csY8" fmla="*/ 0 h 8717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694988" h="871745">
                    <a:moveTo>
                      <a:pt x="573776" y="0"/>
                    </a:moveTo>
                    <a:cubicBezTo>
                      <a:pt x="855621" y="516034"/>
                      <a:pt x="591321" y="831721"/>
                      <a:pt x="335607" y="871745"/>
                    </a:cubicBezTo>
                    <a:lnTo>
                      <a:pt x="452026" y="670106"/>
                    </a:lnTo>
                    <a:cubicBezTo>
                      <a:pt x="494477" y="596580"/>
                      <a:pt x="469333" y="502186"/>
                      <a:pt x="395841" y="459621"/>
                    </a:cubicBezTo>
                    <a:cubicBezTo>
                      <a:pt x="322303" y="417023"/>
                      <a:pt x="227705" y="442224"/>
                      <a:pt x="185197" y="515841"/>
                    </a:cubicBezTo>
                    <a:lnTo>
                      <a:pt x="47705" y="753976"/>
                    </a:lnTo>
                    <a:cubicBezTo>
                      <a:pt x="19091" y="708009"/>
                      <a:pt x="1534" y="648660"/>
                      <a:pt x="60" y="575236"/>
                    </a:cubicBezTo>
                    <a:cubicBezTo>
                      <a:pt x="-3013" y="422036"/>
                      <a:pt x="112283" y="297201"/>
                      <a:pt x="252826" y="252800"/>
                    </a:cubicBezTo>
                    <a:cubicBezTo>
                      <a:pt x="330095" y="228393"/>
                      <a:pt x="532992" y="150886"/>
                      <a:pt x="573776" y="0"/>
                    </a:cubicBezTo>
                    <a:close/>
                  </a:path>
                </a:pathLst>
              </a:custGeom>
              <a:grpFill/>
              <a:ln w="113414" cap="flat">
                <a:noFill/>
                <a:prstDash val="solid"/>
                <a:miter/>
              </a:ln>
            </p:spPr>
            <p:txBody>
              <a:bodyPr/>
              <a:lstStyle/>
              <a:p>
                <a:endParaRPr lang="en-US"/>
              </a:p>
            </p:txBody>
          </p:sp>
          <p:sp>
            <p:nvSpPr>
              <p:cNvPr id="120" name="Freeform: Shape 119">
                <a:extLst>
                  <a:ext uri="{FF2B5EF4-FFF2-40B4-BE49-F238E27FC236}">
                    <a16:creationId xmlns:a16="http://schemas.microsoft.com/office/drawing/2014/main" id="{CFE101F8-2297-417D-14C0-B1B9EACB3239}"/>
                  </a:ext>
                </a:extLst>
              </p:cNvPr>
              <p:cNvSpPr/>
              <p:nvPr/>
            </p:nvSpPr>
            <p:spPr>
              <a:xfrm>
                <a:off x="6014039" y="3320504"/>
                <a:ext cx="461030" cy="701949"/>
              </a:xfrm>
              <a:custGeom>
                <a:avLst/>
                <a:gdLst>
                  <a:gd name="csX0" fmla="*/ 452143 w 461030"/>
                  <a:gd name="csY0" fmla="*/ 99025 h 701949"/>
                  <a:gd name="csX1" fmla="*/ 428122 w 461030"/>
                  <a:gd name="csY1" fmla="*/ 8895 h 701949"/>
                  <a:gd name="csX2" fmla="*/ 337992 w 461030"/>
                  <a:gd name="csY2" fmla="*/ 32905 h 701949"/>
                  <a:gd name="csX3" fmla="*/ 8887 w 461030"/>
                  <a:gd name="csY3" fmla="*/ 602924 h 701949"/>
                  <a:gd name="csX4" fmla="*/ 32908 w 461030"/>
                  <a:gd name="csY4" fmla="*/ 693054 h 701949"/>
                  <a:gd name="csX5" fmla="*/ 123039 w 461030"/>
                  <a:gd name="csY5" fmla="*/ 669044 h 701949"/>
                </a:gdLst>
                <a:ahLst/>
                <a:cxnLst>
                  <a:cxn ang="0">
                    <a:pos x="csX0" y="csY0"/>
                  </a:cxn>
                  <a:cxn ang="0">
                    <a:pos x="csX1" y="csY1"/>
                  </a:cxn>
                  <a:cxn ang="0">
                    <a:pos x="csX2" y="csY2"/>
                  </a:cxn>
                  <a:cxn ang="0">
                    <a:pos x="csX3" y="csY3"/>
                  </a:cxn>
                  <a:cxn ang="0">
                    <a:pos x="csX4" y="csY4"/>
                  </a:cxn>
                  <a:cxn ang="0">
                    <a:pos x="csX5" y="csY5"/>
                  </a:cxn>
                </a:cxnLst>
                <a:rect l="l" t="t" r="r" b="b"/>
                <a:pathLst>
                  <a:path w="461030" h="701949">
                    <a:moveTo>
                      <a:pt x="452143" y="99025"/>
                    </a:moveTo>
                    <a:cubicBezTo>
                      <a:pt x="470392" y="67496"/>
                      <a:pt x="459640" y="27144"/>
                      <a:pt x="428122" y="8895"/>
                    </a:cubicBezTo>
                    <a:cubicBezTo>
                      <a:pt x="396604" y="-9364"/>
                      <a:pt x="356252" y="1387"/>
                      <a:pt x="337992" y="32905"/>
                    </a:cubicBezTo>
                    <a:lnTo>
                      <a:pt x="8887" y="602924"/>
                    </a:lnTo>
                    <a:cubicBezTo>
                      <a:pt x="-9361" y="634453"/>
                      <a:pt x="1391" y="674805"/>
                      <a:pt x="32908" y="693054"/>
                    </a:cubicBezTo>
                    <a:cubicBezTo>
                      <a:pt x="64426" y="711314"/>
                      <a:pt x="104779" y="700562"/>
                      <a:pt x="123039" y="669044"/>
                    </a:cubicBezTo>
                    <a:close/>
                  </a:path>
                </a:pathLst>
              </a:custGeom>
              <a:grpFill/>
              <a:ln w="113414" cap="flat">
                <a:noFill/>
                <a:prstDash val="solid"/>
                <a:miter/>
              </a:ln>
            </p:spPr>
            <p:txBody>
              <a:bodyPr/>
              <a:lstStyle/>
              <a:p>
                <a:endParaRPr lang="en-US"/>
              </a:p>
            </p:txBody>
          </p:sp>
          <p:sp>
            <p:nvSpPr>
              <p:cNvPr id="121" name="Freeform: Shape 120">
                <a:extLst>
                  <a:ext uri="{FF2B5EF4-FFF2-40B4-BE49-F238E27FC236}">
                    <a16:creationId xmlns:a16="http://schemas.microsoft.com/office/drawing/2014/main" id="{6582ADBA-F083-F569-FC75-B56331ACAD05}"/>
                  </a:ext>
                </a:extLst>
              </p:cNvPr>
              <p:cNvSpPr/>
              <p:nvPr/>
            </p:nvSpPr>
            <p:spPr>
              <a:xfrm>
                <a:off x="5079039" y="3132944"/>
                <a:ext cx="643448" cy="808312"/>
              </a:xfrm>
              <a:custGeom>
                <a:avLst/>
                <a:gdLst>
                  <a:gd name="csX0" fmla="*/ 0 w 643448"/>
                  <a:gd name="csY0" fmla="*/ 0 h 808312"/>
                  <a:gd name="csX1" fmla="*/ 610394 w 643448"/>
                  <a:gd name="csY1" fmla="*/ 641878 h 808312"/>
                  <a:gd name="csX2" fmla="*/ 492625 w 643448"/>
                  <a:gd name="csY2" fmla="*/ 437891 h 808312"/>
                  <a:gd name="csX3" fmla="*/ 282503 w 643448"/>
                  <a:gd name="csY3" fmla="*/ 381264 h 808312"/>
                  <a:gd name="csX4" fmla="*/ 225807 w 643448"/>
                  <a:gd name="csY4" fmla="*/ 591635 h 808312"/>
                  <a:gd name="csX5" fmla="*/ 350903 w 643448"/>
                  <a:gd name="csY5" fmla="*/ 808313 h 808312"/>
                  <a:gd name="csX6" fmla="*/ 205347 w 643448"/>
                  <a:gd name="csY6" fmla="*/ 762267 h 808312"/>
                  <a:gd name="csX7" fmla="*/ 56809 w 643448"/>
                  <a:gd name="csY7" fmla="*/ 392911 h 808312"/>
                  <a:gd name="csX8" fmla="*/ 0 w 643448"/>
                  <a:gd name="csY8" fmla="*/ 0 h 8083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643448" h="808312">
                    <a:moveTo>
                      <a:pt x="0" y="0"/>
                    </a:moveTo>
                    <a:cubicBezTo>
                      <a:pt x="585976" y="13882"/>
                      <a:pt x="715256" y="409005"/>
                      <a:pt x="610394" y="641878"/>
                    </a:cubicBezTo>
                    <a:lnTo>
                      <a:pt x="492625" y="437891"/>
                    </a:lnTo>
                    <a:cubicBezTo>
                      <a:pt x="450231" y="364456"/>
                      <a:pt x="356052" y="338994"/>
                      <a:pt x="282503" y="381264"/>
                    </a:cubicBezTo>
                    <a:cubicBezTo>
                      <a:pt x="208852" y="423578"/>
                      <a:pt x="183322" y="518052"/>
                      <a:pt x="225807" y="591635"/>
                    </a:cubicBezTo>
                    <a:lnTo>
                      <a:pt x="350903" y="808313"/>
                    </a:lnTo>
                    <a:cubicBezTo>
                      <a:pt x="305821" y="805092"/>
                      <a:pt x="256973" y="790711"/>
                      <a:pt x="205347" y="762267"/>
                    </a:cubicBezTo>
                    <a:cubicBezTo>
                      <a:pt x="74933" y="690419"/>
                      <a:pt x="25892" y="532751"/>
                      <a:pt x="56809" y="392911"/>
                    </a:cubicBezTo>
                    <a:cubicBezTo>
                      <a:pt x="73810" y="316017"/>
                      <a:pt x="107165" y="107618"/>
                      <a:pt x="0" y="0"/>
                    </a:cubicBezTo>
                    <a:close/>
                  </a:path>
                </a:pathLst>
              </a:custGeom>
              <a:grpFill/>
              <a:ln w="113414" cap="flat">
                <a:noFill/>
                <a:prstDash val="solid"/>
                <a:miter/>
              </a:ln>
            </p:spPr>
            <p:txBody>
              <a:bodyPr/>
              <a:lstStyle/>
              <a:p>
                <a:endParaRPr lang="en-US"/>
              </a:p>
            </p:txBody>
          </p:sp>
          <p:sp>
            <p:nvSpPr>
              <p:cNvPr id="122" name="Freeform: Shape 121">
                <a:extLst>
                  <a:ext uri="{FF2B5EF4-FFF2-40B4-BE49-F238E27FC236}">
                    <a16:creationId xmlns:a16="http://schemas.microsoft.com/office/drawing/2014/main" id="{FC522289-C7F5-1CF8-7F8B-0CEC5F25CC91}"/>
                  </a:ext>
                </a:extLst>
              </p:cNvPr>
              <p:cNvSpPr/>
              <p:nvPr/>
            </p:nvSpPr>
            <p:spPr>
              <a:xfrm>
                <a:off x="5372422" y="3581873"/>
                <a:ext cx="396715" cy="590744"/>
              </a:xfrm>
              <a:custGeom>
                <a:avLst/>
                <a:gdLst>
                  <a:gd name="csX0" fmla="*/ 122903 w 396715"/>
                  <a:gd name="csY0" fmla="*/ 33034 h 590744"/>
                  <a:gd name="csX1" fmla="*/ 33034 w 396715"/>
                  <a:gd name="csY1" fmla="*/ 8764 h 590744"/>
                  <a:gd name="csX2" fmla="*/ 8764 w 396715"/>
                  <a:gd name="csY2" fmla="*/ 98633 h 590744"/>
                  <a:gd name="csX3" fmla="*/ 273801 w 396715"/>
                  <a:gd name="csY3" fmla="*/ 557710 h 590744"/>
                  <a:gd name="csX4" fmla="*/ 363681 w 396715"/>
                  <a:gd name="csY4" fmla="*/ 581981 h 590744"/>
                  <a:gd name="csX5" fmla="*/ 387952 w 396715"/>
                  <a:gd name="csY5" fmla="*/ 492111 h 590744"/>
                </a:gdLst>
                <a:ahLst/>
                <a:cxnLst>
                  <a:cxn ang="0">
                    <a:pos x="csX0" y="csY0"/>
                  </a:cxn>
                  <a:cxn ang="0">
                    <a:pos x="csX1" y="csY1"/>
                  </a:cxn>
                  <a:cxn ang="0">
                    <a:pos x="csX2" y="csY2"/>
                  </a:cxn>
                  <a:cxn ang="0">
                    <a:pos x="csX3" y="csY3"/>
                  </a:cxn>
                  <a:cxn ang="0">
                    <a:pos x="csX4" y="csY4"/>
                  </a:cxn>
                  <a:cxn ang="0">
                    <a:pos x="csX5" y="csY5"/>
                  </a:cxn>
                </a:cxnLst>
                <a:rect l="l" t="t" r="r" b="b"/>
                <a:pathLst>
                  <a:path w="396715" h="590744">
                    <a:moveTo>
                      <a:pt x="122903" y="33034"/>
                    </a:moveTo>
                    <a:cubicBezTo>
                      <a:pt x="104791" y="1517"/>
                      <a:pt x="64552" y="-9349"/>
                      <a:pt x="33034" y="8764"/>
                    </a:cubicBezTo>
                    <a:cubicBezTo>
                      <a:pt x="1517" y="26876"/>
                      <a:pt x="-9349" y="67115"/>
                      <a:pt x="8764" y="98633"/>
                    </a:cubicBezTo>
                    <a:lnTo>
                      <a:pt x="273801" y="557710"/>
                    </a:lnTo>
                    <a:cubicBezTo>
                      <a:pt x="291913" y="589228"/>
                      <a:pt x="332152" y="600093"/>
                      <a:pt x="363681" y="581981"/>
                    </a:cubicBezTo>
                    <a:cubicBezTo>
                      <a:pt x="395199" y="563868"/>
                      <a:pt x="406064" y="523629"/>
                      <a:pt x="387952" y="492111"/>
                    </a:cubicBezTo>
                    <a:close/>
                  </a:path>
                </a:pathLst>
              </a:custGeom>
              <a:grpFill/>
              <a:ln w="113414" cap="flat">
                <a:noFill/>
                <a:prstDash val="solid"/>
                <a:miter/>
              </a:ln>
            </p:spPr>
            <p:txBody>
              <a:bodyPr/>
              <a:lstStyle/>
              <a:p>
                <a:endParaRPr lang="en-US"/>
              </a:p>
            </p:txBody>
          </p:sp>
          <p:sp>
            <p:nvSpPr>
              <p:cNvPr id="123" name="Freeform: Shape 122">
                <a:extLst>
                  <a:ext uri="{FF2B5EF4-FFF2-40B4-BE49-F238E27FC236}">
                    <a16:creationId xmlns:a16="http://schemas.microsoft.com/office/drawing/2014/main" id="{D6A4633A-A9BE-F997-6BEC-EC2B074DFC14}"/>
                  </a:ext>
                </a:extLst>
              </p:cNvPr>
              <p:cNvSpPr/>
              <p:nvPr/>
            </p:nvSpPr>
            <p:spPr>
              <a:xfrm>
                <a:off x="4383687" y="4661684"/>
                <a:ext cx="1324232" cy="1245319"/>
              </a:xfrm>
              <a:custGeom>
                <a:avLst/>
                <a:gdLst>
                  <a:gd name="csX0" fmla="*/ 1324233 w 1324232"/>
                  <a:gd name="csY0" fmla="*/ 943071 h 1245319"/>
                  <a:gd name="csX1" fmla="*/ 1053706 w 1324232"/>
                  <a:gd name="csY1" fmla="*/ 1245319 h 1245319"/>
                  <a:gd name="csX2" fmla="*/ 0 w 1324232"/>
                  <a:gd name="csY2" fmla="*/ 302260 h 1245319"/>
                  <a:gd name="csX3" fmla="*/ 270526 w 1324232"/>
                  <a:gd name="csY3" fmla="*/ 0 h 1245319"/>
                  <a:gd name="csX4" fmla="*/ 370206 w 1324232"/>
                  <a:gd name="csY4" fmla="*/ 445785 h 1245319"/>
                  <a:gd name="csX5" fmla="*/ 463183 w 1324232"/>
                  <a:gd name="csY5" fmla="*/ 438549 h 1245319"/>
                  <a:gd name="csX6" fmla="*/ 455947 w 1324232"/>
                  <a:gd name="csY6" fmla="*/ 345584 h 1245319"/>
                  <a:gd name="csX7" fmla="*/ 320428 w 1324232"/>
                  <a:gd name="csY7" fmla="*/ 229436 h 1245319"/>
                  <a:gd name="csX8" fmla="*/ 227463 w 1324232"/>
                  <a:gd name="csY8" fmla="*/ 236672 h 1245319"/>
                  <a:gd name="csX9" fmla="*/ 234699 w 1324232"/>
                  <a:gd name="csY9" fmla="*/ 329637 h 1245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324232" h="1245319">
                    <a:moveTo>
                      <a:pt x="1324233" y="943071"/>
                    </a:moveTo>
                    <a:lnTo>
                      <a:pt x="1053706" y="1245319"/>
                    </a:lnTo>
                    <a:lnTo>
                      <a:pt x="0" y="302260"/>
                    </a:lnTo>
                    <a:lnTo>
                      <a:pt x="270526" y="0"/>
                    </a:lnTo>
                    <a:close/>
                    <a:moveTo>
                      <a:pt x="370206" y="445785"/>
                    </a:moveTo>
                    <a:cubicBezTo>
                      <a:pt x="397879" y="469455"/>
                      <a:pt x="439513" y="466222"/>
                      <a:pt x="463183" y="438549"/>
                    </a:cubicBezTo>
                    <a:cubicBezTo>
                      <a:pt x="486852" y="410887"/>
                      <a:pt x="483620" y="369253"/>
                      <a:pt x="455947" y="345584"/>
                    </a:cubicBezTo>
                    <a:lnTo>
                      <a:pt x="320428" y="229436"/>
                    </a:lnTo>
                    <a:cubicBezTo>
                      <a:pt x="292767" y="205767"/>
                      <a:pt x="251132" y="208999"/>
                      <a:pt x="227463" y="236672"/>
                    </a:cubicBezTo>
                    <a:cubicBezTo>
                      <a:pt x="203794" y="264345"/>
                      <a:pt x="207026" y="305968"/>
                      <a:pt x="234699" y="329637"/>
                    </a:cubicBezTo>
                    <a:close/>
                  </a:path>
                </a:pathLst>
              </a:custGeom>
              <a:grpFill/>
              <a:ln w="113414" cap="flat">
                <a:noFill/>
                <a:prstDash val="solid"/>
                <a:miter/>
              </a:ln>
            </p:spPr>
            <p:txBody>
              <a:bodyPr/>
              <a:lstStyle/>
              <a:p>
                <a:endParaRPr lang="en-US"/>
              </a:p>
            </p:txBody>
          </p:sp>
          <p:sp>
            <p:nvSpPr>
              <p:cNvPr id="125" name="Freeform: Shape 124">
                <a:extLst>
                  <a:ext uri="{FF2B5EF4-FFF2-40B4-BE49-F238E27FC236}">
                    <a16:creationId xmlns:a16="http://schemas.microsoft.com/office/drawing/2014/main" id="{1892388F-0910-AB12-A849-B5326E5296D1}"/>
                  </a:ext>
                </a:extLst>
              </p:cNvPr>
              <p:cNvSpPr/>
              <p:nvPr/>
            </p:nvSpPr>
            <p:spPr>
              <a:xfrm>
                <a:off x="6550903" y="990600"/>
                <a:ext cx="1297013" cy="1276201"/>
              </a:xfrm>
              <a:custGeom>
                <a:avLst/>
                <a:gdLst>
                  <a:gd name="csX0" fmla="*/ 0 w 1297013"/>
                  <a:gd name="csY0" fmla="*/ 290975 h 1276201"/>
                  <a:gd name="csX1" fmla="*/ 282605 w 1297013"/>
                  <a:gd name="csY1" fmla="*/ 0 h 1276201"/>
                  <a:gd name="csX2" fmla="*/ 1297014 w 1297013"/>
                  <a:gd name="csY2" fmla="*/ 985216 h 1276201"/>
                  <a:gd name="csX3" fmla="*/ 1014397 w 1297013"/>
                  <a:gd name="csY3" fmla="*/ 1276202 h 1276201"/>
                  <a:gd name="csX4" fmla="*/ 938047 w 1297013"/>
                  <a:gd name="csY4" fmla="*/ 818282 h 1276201"/>
                  <a:gd name="csX5" fmla="*/ 844855 w 1297013"/>
                  <a:gd name="csY5" fmla="*/ 821389 h 1276201"/>
                  <a:gd name="csX6" fmla="*/ 847962 w 1297013"/>
                  <a:gd name="csY6" fmla="*/ 914593 h 1276201"/>
                  <a:gd name="csX7" fmla="*/ 978196 w 1297013"/>
                  <a:gd name="csY7" fmla="*/ 1036626 h 1276201"/>
                  <a:gd name="csX8" fmla="*/ 1071399 w 1297013"/>
                  <a:gd name="csY8" fmla="*/ 1033519 h 1276201"/>
                  <a:gd name="csX9" fmla="*/ 1068292 w 1297013"/>
                  <a:gd name="csY9" fmla="*/ 940315 h 127620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297013" h="1276201">
                    <a:moveTo>
                      <a:pt x="0" y="290975"/>
                    </a:moveTo>
                    <a:lnTo>
                      <a:pt x="282605" y="0"/>
                    </a:lnTo>
                    <a:lnTo>
                      <a:pt x="1297014" y="985216"/>
                    </a:lnTo>
                    <a:lnTo>
                      <a:pt x="1014397" y="1276202"/>
                    </a:lnTo>
                    <a:close/>
                    <a:moveTo>
                      <a:pt x="938047" y="818282"/>
                    </a:moveTo>
                    <a:cubicBezTo>
                      <a:pt x="911463" y="793410"/>
                      <a:pt x="869726" y="794805"/>
                      <a:pt x="844855" y="821389"/>
                    </a:cubicBezTo>
                    <a:cubicBezTo>
                      <a:pt x="819971" y="847985"/>
                      <a:pt x="821367" y="889721"/>
                      <a:pt x="847962" y="914593"/>
                    </a:cubicBezTo>
                    <a:lnTo>
                      <a:pt x="978196" y="1036626"/>
                    </a:lnTo>
                    <a:cubicBezTo>
                      <a:pt x="1004791" y="1061498"/>
                      <a:pt x="1046527" y="1060103"/>
                      <a:pt x="1071399" y="1033519"/>
                    </a:cubicBezTo>
                    <a:cubicBezTo>
                      <a:pt x="1096271" y="1006923"/>
                      <a:pt x="1094887" y="965187"/>
                      <a:pt x="1068292" y="940315"/>
                    </a:cubicBezTo>
                    <a:close/>
                  </a:path>
                </a:pathLst>
              </a:custGeom>
              <a:grpFill/>
              <a:ln w="113414" cap="flat">
                <a:noFill/>
                <a:prstDash val="solid"/>
                <a:miter/>
              </a:ln>
            </p:spPr>
            <p:txBody>
              <a:bodyPr/>
              <a:lstStyle/>
              <a:p>
                <a:endParaRPr lang="en-US"/>
              </a:p>
            </p:txBody>
          </p:sp>
          <p:sp>
            <p:nvSpPr>
              <p:cNvPr id="126" name="Freeform: Shape 125">
                <a:extLst>
                  <a:ext uri="{FF2B5EF4-FFF2-40B4-BE49-F238E27FC236}">
                    <a16:creationId xmlns:a16="http://schemas.microsoft.com/office/drawing/2014/main" id="{15D70505-CAEE-03B8-A4E9-80368BA7A33E}"/>
                  </a:ext>
                </a:extLst>
              </p:cNvPr>
              <p:cNvSpPr/>
              <p:nvPr/>
            </p:nvSpPr>
            <p:spPr>
              <a:xfrm>
                <a:off x="4427661" y="1523169"/>
                <a:ext cx="2904970" cy="1540475"/>
              </a:xfrm>
              <a:custGeom>
                <a:avLst/>
                <a:gdLst>
                  <a:gd name="csX0" fmla="*/ 1776853 w 2904970"/>
                  <a:gd name="csY0" fmla="*/ 711412 h 1540475"/>
                  <a:gd name="csX1" fmla="*/ 1820926 w 2904970"/>
                  <a:gd name="csY1" fmla="*/ 667339 h 1540475"/>
                  <a:gd name="csX2" fmla="*/ 1776853 w 2904970"/>
                  <a:gd name="csY2" fmla="*/ 623266 h 1540475"/>
                  <a:gd name="csX3" fmla="*/ 1164021 w 2904970"/>
                  <a:gd name="csY3" fmla="*/ 623266 h 1540475"/>
                  <a:gd name="csX4" fmla="*/ 975130 w 2904970"/>
                  <a:gd name="csY4" fmla="*/ 776421 h 1540475"/>
                  <a:gd name="csX5" fmla="*/ 426173 w 2904970"/>
                  <a:gd name="csY5" fmla="*/ 1399608 h 1540475"/>
                  <a:gd name="csX6" fmla="*/ 101797 w 2904970"/>
                  <a:gd name="csY6" fmla="*/ 1535035 h 1540475"/>
                  <a:gd name="csX7" fmla="*/ 50670 w 2904970"/>
                  <a:gd name="csY7" fmla="*/ 1507113 h 1540475"/>
                  <a:gd name="csX8" fmla="*/ 5679 w 2904970"/>
                  <a:gd name="csY8" fmla="*/ 1435106 h 1540475"/>
                  <a:gd name="csX9" fmla="*/ 8174 w 2904970"/>
                  <a:gd name="csY9" fmla="*/ 1338307 h 1540475"/>
                  <a:gd name="csX10" fmla="*/ 57861 w 2904970"/>
                  <a:gd name="csY10" fmla="*/ 1250729 h 1540475"/>
                  <a:gd name="csX11" fmla="*/ 1017071 w 2904970"/>
                  <a:gd name="csY11" fmla="*/ 136074 h 1540475"/>
                  <a:gd name="csX12" fmla="*/ 1104354 w 2904970"/>
                  <a:gd name="csY12" fmla="*/ 83098 h 1540475"/>
                  <a:gd name="csX13" fmla="*/ 1259765 w 2904970"/>
                  <a:gd name="csY13" fmla="*/ 57637 h 1540475"/>
                  <a:gd name="csX14" fmla="*/ 1462572 w 2904970"/>
                  <a:gd name="csY14" fmla="*/ 64294 h 1540475"/>
                  <a:gd name="csX15" fmla="*/ 2245469 w 2904970"/>
                  <a:gd name="csY15" fmla="*/ 0 h 1540475"/>
                  <a:gd name="csX16" fmla="*/ 2904971 w 2904970"/>
                  <a:gd name="csY16" fmla="*/ 640528 h 1540475"/>
                  <a:gd name="csX17" fmla="*/ 2747904 w 2904970"/>
                  <a:gd name="csY17" fmla="*/ 813224 h 1540475"/>
                  <a:gd name="csX18" fmla="*/ 2495807 w 2904970"/>
                  <a:gd name="csY18" fmla="*/ 955932 h 1540475"/>
                  <a:gd name="csX19" fmla="*/ 2490012 w 2904970"/>
                  <a:gd name="csY19" fmla="*/ 955671 h 1540475"/>
                  <a:gd name="csX20" fmla="*/ 2490012 w 2904970"/>
                  <a:gd name="csY20" fmla="*/ 955830 h 1540475"/>
                  <a:gd name="csX21" fmla="*/ 1165280 w 2904970"/>
                  <a:gd name="csY21" fmla="*/ 983435 h 1540475"/>
                  <a:gd name="csX22" fmla="*/ 1054803 w 2904970"/>
                  <a:gd name="csY22" fmla="*/ 925174 h 1540475"/>
                  <a:gd name="csX23" fmla="*/ 1045413 w 2904970"/>
                  <a:gd name="csY23" fmla="*/ 869511 h 1540475"/>
                  <a:gd name="csX24" fmla="*/ 1057775 w 2904970"/>
                  <a:gd name="csY24" fmla="*/ 806725 h 1540475"/>
                  <a:gd name="csX25" fmla="*/ 1164021 w 2904970"/>
                  <a:gd name="csY25" fmla="*/ 711412 h 15404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Lst>
                <a:rect l="l" t="t" r="r" b="b"/>
                <a:pathLst>
                  <a:path w="2904970" h="1540475">
                    <a:moveTo>
                      <a:pt x="1776853" y="711412"/>
                    </a:moveTo>
                    <a:cubicBezTo>
                      <a:pt x="1801192" y="711412"/>
                      <a:pt x="1820926" y="691678"/>
                      <a:pt x="1820926" y="667339"/>
                    </a:cubicBezTo>
                    <a:cubicBezTo>
                      <a:pt x="1820926" y="643000"/>
                      <a:pt x="1801192" y="623266"/>
                      <a:pt x="1776853" y="623266"/>
                    </a:cubicBezTo>
                    <a:lnTo>
                      <a:pt x="1164021" y="623266"/>
                    </a:lnTo>
                    <a:cubicBezTo>
                      <a:pt x="1074969" y="623266"/>
                      <a:pt x="1005911" y="692585"/>
                      <a:pt x="975130" y="776421"/>
                    </a:cubicBezTo>
                    <a:cubicBezTo>
                      <a:pt x="900129" y="980781"/>
                      <a:pt x="590078" y="1270304"/>
                      <a:pt x="426173" y="1399608"/>
                    </a:cubicBezTo>
                    <a:cubicBezTo>
                      <a:pt x="302869" y="1496860"/>
                      <a:pt x="184181" y="1559907"/>
                      <a:pt x="101797" y="1535035"/>
                    </a:cubicBezTo>
                    <a:cubicBezTo>
                      <a:pt x="82404" y="1529183"/>
                      <a:pt x="65165" y="1519577"/>
                      <a:pt x="50670" y="1507113"/>
                    </a:cubicBezTo>
                    <a:cubicBezTo>
                      <a:pt x="29110" y="1488558"/>
                      <a:pt x="13482" y="1463584"/>
                      <a:pt x="5679" y="1435106"/>
                    </a:cubicBezTo>
                    <a:cubicBezTo>
                      <a:pt x="-2351" y="1405845"/>
                      <a:pt x="-2169" y="1372592"/>
                      <a:pt x="8174" y="1338307"/>
                    </a:cubicBezTo>
                    <a:cubicBezTo>
                      <a:pt x="16952" y="1309239"/>
                      <a:pt x="33125" y="1279480"/>
                      <a:pt x="57861" y="1250729"/>
                    </a:cubicBezTo>
                    <a:lnTo>
                      <a:pt x="1017071" y="136074"/>
                    </a:lnTo>
                    <a:cubicBezTo>
                      <a:pt x="1037644" y="112166"/>
                      <a:pt x="1069139" y="95109"/>
                      <a:pt x="1104354" y="83098"/>
                    </a:cubicBezTo>
                    <a:cubicBezTo>
                      <a:pt x="1155470" y="65655"/>
                      <a:pt x="1213209" y="59123"/>
                      <a:pt x="1259765" y="57637"/>
                    </a:cubicBezTo>
                    <a:cubicBezTo>
                      <a:pt x="1306605" y="56151"/>
                      <a:pt x="1378600" y="59917"/>
                      <a:pt x="1462572" y="64294"/>
                    </a:cubicBezTo>
                    <a:cubicBezTo>
                      <a:pt x="1711402" y="77280"/>
                      <a:pt x="2061931" y="95551"/>
                      <a:pt x="2245469" y="0"/>
                    </a:cubicBezTo>
                    <a:lnTo>
                      <a:pt x="2904971" y="640528"/>
                    </a:lnTo>
                    <a:cubicBezTo>
                      <a:pt x="2859333" y="697212"/>
                      <a:pt x="2805178" y="759080"/>
                      <a:pt x="2747904" y="813224"/>
                    </a:cubicBezTo>
                    <a:cubicBezTo>
                      <a:pt x="2662208" y="894224"/>
                      <a:pt x="2570785" y="957645"/>
                      <a:pt x="2495807" y="955932"/>
                    </a:cubicBezTo>
                    <a:cubicBezTo>
                      <a:pt x="2493902" y="955717"/>
                      <a:pt x="2491974" y="955637"/>
                      <a:pt x="2490012" y="955671"/>
                    </a:cubicBezTo>
                    <a:lnTo>
                      <a:pt x="2490012" y="955830"/>
                    </a:lnTo>
                    <a:lnTo>
                      <a:pt x="1165280" y="983435"/>
                    </a:lnTo>
                    <a:cubicBezTo>
                      <a:pt x="1103708" y="984717"/>
                      <a:pt x="1069105" y="959698"/>
                      <a:pt x="1054803" y="925174"/>
                    </a:cubicBezTo>
                    <a:cubicBezTo>
                      <a:pt x="1047885" y="908480"/>
                      <a:pt x="1044936" y="889358"/>
                      <a:pt x="1045413" y="869511"/>
                    </a:cubicBezTo>
                    <a:cubicBezTo>
                      <a:pt x="1045912" y="848790"/>
                      <a:pt x="1050233" y="827264"/>
                      <a:pt x="1057775" y="806725"/>
                    </a:cubicBezTo>
                    <a:cubicBezTo>
                      <a:pt x="1076919" y="754554"/>
                      <a:pt x="1116183" y="711412"/>
                      <a:pt x="1164021" y="711412"/>
                    </a:cubicBezTo>
                    <a:close/>
                  </a:path>
                </a:pathLst>
              </a:custGeom>
              <a:grpFill/>
              <a:ln w="113414" cap="flat">
                <a:noFill/>
                <a:prstDash val="solid"/>
                <a:miter/>
              </a:ln>
            </p:spPr>
            <p:txBody>
              <a:bodyPr/>
              <a:lstStyle/>
              <a:p>
                <a:endParaRPr lang="en-US"/>
              </a:p>
            </p:txBody>
          </p:sp>
          <p:sp>
            <p:nvSpPr>
              <p:cNvPr id="127" name="Freeform: Shape 126">
                <a:extLst>
                  <a:ext uri="{FF2B5EF4-FFF2-40B4-BE49-F238E27FC236}">
                    <a16:creationId xmlns:a16="http://schemas.microsoft.com/office/drawing/2014/main" id="{A9A72FA3-91D6-8D34-6EBA-46DEA089EEDF}"/>
                  </a:ext>
                </a:extLst>
              </p:cNvPr>
              <p:cNvSpPr/>
              <p:nvPr/>
            </p:nvSpPr>
            <p:spPr>
              <a:xfrm>
                <a:off x="4874906" y="3814002"/>
                <a:ext cx="2926370" cy="1538940"/>
              </a:xfrm>
              <a:custGeom>
                <a:avLst/>
                <a:gdLst>
                  <a:gd name="csX0" fmla="*/ 1761092 w 2926370"/>
                  <a:gd name="csY0" fmla="*/ 557048 h 1538940"/>
                  <a:gd name="csX1" fmla="*/ 440205 w 2926370"/>
                  <a:gd name="csY1" fmla="*/ 584562 h 1538940"/>
                  <a:gd name="csX2" fmla="*/ 433389 w 2926370"/>
                  <a:gd name="csY2" fmla="*/ 584766 h 1538940"/>
                  <a:gd name="csX3" fmla="*/ 433400 w 2926370"/>
                  <a:gd name="csY3" fmla="*/ 584641 h 1538940"/>
                  <a:gd name="csX4" fmla="*/ 178468 w 2926370"/>
                  <a:gd name="csY4" fmla="*/ 727248 h 1538940"/>
                  <a:gd name="csX5" fmla="*/ 0 w 2926370"/>
                  <a:gd name="csY5" fmla="*/ 926913 h 1538940"/>
                  <a:gd name="csX6" fmla="*/ 683829 w 2926370"/>
                  <a:gd name="csY6" fmla="*/ 1538940 h 1538940"/>
                  <a:gd name="csX7" fmla="*/ 1463789 w 2926370"/>
                  <a:gd name="csY7" fmla="*/ 1476177 h 1538940"/>
                  <a:gd name="csX8" fmla="*/ 1666607 w 2926370"/>
                  <a:gd name="csY8" fmla="*/ 1482834 h 1538940"/>
                  <a:gd name="csX9" fmla="*/ 1822018 w 2926370"/>
                  <a:gd name="csY9" fmla="*/ 1457373 h 1538940"/>
                  <a:gd name="csX10" fmla="*/ 1909301 w 2926370"/>
                  <a:gd name="csY10" fmla="*/ 1404397 h 1538940"/>
                  <a:gd name="csX11" fmla="*/ 2868500 w 2926370"/>
                  <a:gd name="csY11" fmla="*/ 289742 h 1538940"/>
                  <a:gd name="csX12" fmla="*/ 2918186 w 2926370"/>
                  <a:gd name="csY12" fmla="*/ 202175 h 1538940"/>
                  <a:gd name="csX13" fmla="*/ 2920693 w 2926370"/>
                  <a:gd name="csY13" fmla="*/ 105365 h 1538940"/>
                  <a:gd name="csX14" fmla="*/ 2875690 w 2926370"/>
                  <a:gd name="csY14" fmla="*/ 33370 h 1538940"/>
                  <a:gd name="csX15" fmla="*/ 2824575 w 2926370"/>
                  <a:gd name="csY15" fmla="*/ 5436 h 1538940"/>
                  <a:gd name="csX16" fmla="*/ 2500199 w 2926370"/>
                  <a:gd name="csY16" fmla="*/ 140875 h 1538940"/>
                  <a:gd name="csX17" fmla="*/ 1951242 w 2926370"/>
                  <a:gd name="csY17" fmla="*/ 764051 h 1538940"/>
                  <a:gd name="csX18" fmla="*/ 1762351 w 2926370"/>
                  <a:gd name="csY18" fmla="*/ 917216 h 1538940"/>
                  <a:gd name="csX19" fmla="*/ 1149519 w 2926370"/>
                  <a:gd name="csY19" fmla="*/ 917216 h 1538940"/>
                  <a:gd name="csX20" fmla="*/ 1105446 w 2926370"/>
                  <a:gd name="csY20" fmla="*/ 873132 h 1538940"/>
                  <a:gd name="csX21" fmla="*/ 1149519 w 2926370"/>
                  <a:gd name="csY21" fmla="*/ 829060 h 1538940"/>
                  <a:gd name="csX22" fmla="*/ 1762351 w 2926370"/>
                  <a:gd name="csY22" fmla="*/ 829060 h 1538940"/>
                  <a:gd name="csX23" fmla="*/ 1868597 w 2926370"/>
                  <a:gd name="csY23" fmla="*/ 733747 h 1538940"/>
                  <a:gd name="csX24" fmla="*/ 1880948 w 2926370"/>
                  <a:gd name="csY24" fmla="*/ 670972 h 1538940"/>
                  <a:gd name="csX25" fmla="*/ 1871568 w 2926370"/>
                  <a:gd name="csY25" fmla="*/ 615308 h 1538940"/>
                  <a:gd name="csX26" fmla="*/ 1761092 w 2926370"/>
                  <a:gd name="csY26" fmla="*/ 557048 h 153894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Lst>
                <a:rect l="l" t="t" r="r" b="b"/>
                <a:pathLst>
                  <a:path w="2926370" h="1538940">
                    <a:moveTo>
                      <a:pt x="1761092" y="557048"/>
                    </a:moveTo>
                    <a:lnTo>
                      <a:pt x="440205" y="584562"/>
                    </a:lnTo>
                    <a:cubicBezTo>
                      <a:pt x="437971" y="584800"/>
                      <a:pt x="435702" y="584868"/>
                      <a:pt x="433389" y="584766"/>
                    </a:cubicBezTo>
                    <a:lnTo>
                      <a:pt x="433400" y="584641"/>
                    </a:lnTo>
                    <a:cubicBezTo>
                      <a:pt x="357900" y="581216"/>
                      <a:pt x="265253" y="645227"/>
                      <a:pt x="178468" y="727248"/>
                    </a:cubicBezTo>
                    <a:cubicBezTo>
                      <a:pt x="111951" y="790125"/>
                      <a:pt x="49653" y="863424"/>
                      <a:pt x="0" y="926913"/>
                    </a:cubicBezTo>
                    <a:lnTo>
                      <a:pt x="683829" y="1538940"/>
                    </a:lnTo>
                    <a:cubicBezTo>
                      <a:pt x="868161" y="1445102"/>
                      <a:pt x="1216297" y="1463270"/>
                      <a:pt x="1463789" y="1476177"/>
                    </a:cubicBezTo>
                    <a:cubicBezTo>
                      <a:pt x="1547772" y="1480566"/>
                      <a:pt x="1619767" y="1484320"/>
                      <a:pt x="1666607" y="1482834"/>
                    </a:cubicBezTo>
                    <a:cubicBezTo>
                      <a:pt x="1713163" y="1481360"/>
                      <a:pt x="1770891" y="1474828"/>
                      <a:pt x="1822018" y="1457373"/>
                    </a:cubicBezTo>
                    <a:cubicBezTo>
                      <a:pt x="1857233" y="1445363"/>
                      <a:pt x="1888728" y="1428316"/>
                      <a:pt x="1909301" y="1404397"/>
                    </a:cubicBezTo>
                    <a:lnTo>
                      <a:pt x="2868500" y="289742"/>
                    </a:lnTo>
                    <a:cubicBezTo>
                      <a:pt x="2893247" y="260992"/>
                      <a:pt x="2909419" y="231232"/>
                      <a:pt x="2918186" y="202175"/>
                    </a:cubicBezTo>
                    <a:cubicBezTo>
                      <a:pt x="2928541" y="167879"/>
                      <a:pt x="2928722" y="134626"/>
                      <a:pt x="2920693" y="105365"/>
                    </a:cubicBezTo>
                    <a:cubicBezTo>
                      <a:pt x="2912879" y="76887"/>
                      <a:pt x="2897250" y="51913"/>
                      <a:pt x="2875690" y="33370"/>
                    </a:cubicBezTo>
                    <a:cubicBezTo>
                      <a:pt x="2861207" y="20894"/>
                      <a:pt x="2843968" y="11288"/>
                      <a:pt x="2824575" y="5436"/>
                    </a:cubicBezTo>
                    <a:cubicBezTo>
                      <a:pt x="2742191" y="-19424"/>
                      <a:pt x="2623503" y="43611"/>
                      <a:pt x="2500199" y="140875"/>
                    </a:cubicBezTo>
                    <a:cubicBezTo>
                      <a:pt x="2336282" y="270167"/>
                      <a:pt x="2026242" y="559690"/>
                      <a:pt x="1951242" y="764051"/>
                    </a:cubicBezTo>
                    <a:cubicBezTo>
                      <a:pt x="1920461" y="847898"/>
                      <a:pt x="1851403" y="917216"/>
                      <a:pt x="1762351" y="917216"/>
                    </a:cubicBezTo>
                    <a:lnTo>
                      <a:pt x="1149519" y="917216"/>
                    </a:lnTo>
                    <a:cubicBezTo>
                      <a:pt x="1125180" y="917216"/>
                      <a:pt x="1105446" y="897471"/>
                      <a:pt x="1105446" y="873132"/>
                    </a:cubicBezTo>
                    <a:cubicBezTo>
                      <a:pt x="1105446" y="848794"/>
                      <a:pt x="1125180" y="829060"/>
                      <a:pt x="1149519" y="829060"/>
                    </a:cubicBezTo>
                    <a:lnTo>
                      <a:pt x="1762351" y="829060"/>
                    </a:lnTo>
                    <a:cubicBezTo>
                      <a:pt x="1810177" y="829060"/>
                      <a:pt x="1849441" y="785928"/>
                      <a:pt x="1868597" y="733747"/>
                    </a:cubicBezTo>
                    <a:cubicBezTo>
                      <a:pt x="1876128" y="713219"/>
                      <a:pt x="1880449" y="691693"/>
                      <a:pt x="1880948" y="670972"/>
                    </a:cubicBezTo>
                    <a:cubicBezTo>
                      <a:pt x="1881424" y="651113"/>
                      <a:pt x="1878475" y="631992"/>
                      <a:pt x="1871568" y="615308"/>
                    </a:cubicBezTo>
                    <a:cubicBezTo>
                      <a:pt x="1857267" y="580774"/>
                      <a:pt x="1822653" y="555755"/>
                      <a:pt x="1761092" y="557048"/>
                    </a:cubicBezTo>
                    <a:close/>
                  </a:path>
                </a:pathLst>
              </a:custGeom>
              <a:grpFill/>
              <a:ln w="113414" cap="flat">
                <a:noFill/>
                <a:prstDash val="solid"/>
                <a:miter/>
              </a:ln>
            </p:spPr>
            <p:txBody>
              <a:bodyPr/>
              <a:lstStyle/>
              <a:p>
                <a:endParaRPr lang="en-US"/>
              </a:p>
            </p:txBody>
          </p:sp>
          <p:sp>
            <p:nvSpPr>
              <p:cNvPr id="128" name="Freeform: Shape 127">
                <a:extLst>
                  <a:ext uri="{FF2B5EF4-FFF2-40B4-BE49-F238E27FC236}">
                    <a16:creationId xmlns:a16="http://schemas.microsoft.com/office/drawing/2014/main" id="{8C2CA054-4846-3607-E14D-EA056F028972}"/>
                  </a:ext>
                </a:extLst>
              </p:cNvPr>
              <p:cNvSpPr/>
              <p:nvPr/>
            </p:nvSpPr>
            <p:spPr>
              <a:xfrm>
                <a:off x="5456969" y="3954631"/>
                <a:ext cx="1208085" cy="352804"/>
              </a:xfrm>
              <a:custGeom>
                <a:avLst/>
                <a:gdLst>
                  <a:gd name="csX0" fmla="*/ 1208085 w 1208085"/>
                  <a:gd name="csY0" fmla="*/ 329362 h 352804"/>
                  <a:gd name="csX1" fmla="*/ 1034460 w 1208085"/>
                  <a:gd name="csY1" fmla="*/ 117380 h 352804"/>
                  <a:gd name="csX2" fmla="*/ 895380 w 1208085"/>
                  <a:gd name="csY2" fmla="*/ 82608 h 352804"/>
                  <a:gd name="csX3" fmla="*/ 623039 w 1208085"/>
                  <a:gd name="csY3" fmla="*/ 1857 h 352804"/>
                  <a:gd name="csX4" fmla="*/ 246335 w 1208085"/>
                  <a:gd name="csY4" fmla="*/ 152153 h 352804"/>
                  <a:gd name="csX5" fmla="*/ 0 w 1208085"/>
                  <a:gd name="csY5" fmla="*/ 352805 h 352804"/>
                  <a:gd name="csX6" fmla="*/ 1177191 w 1208085"/>
                  <a:gd name="csY6" fmla="*/ 328285 h 352804"/>
                  <a:gd name="csX7" fmla="*/ 1208085 w 1208085"/>
                  <a:gd name="csY7" fmla="*/ 329362 h 35280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208085" h="352804">
                    <a:moveTo>
                      <a:pt x="1208085" y="329362"/>
                    </a:moveTo>
                    <a:cubicBezTo>
                      <a:pt x="1195927" y="188048"/>
                      <a:pt x="1034460" y="117380"/>
                      <a:pt x="1034460" y="117380"/>
                    </a:cubicBezTo>
                    <a:cubicBezTo>
                      <a:pt x="999687" y="71016"/>
                      <a:pt x="895380" y="82608"/>
                      <a:pt x="895380" y="82608"/>
                    </a:cubicBezTo>
                    <a:cubicBezTo>
                      <a:pt x="813110" y="11554"/>
                      <a:pt x="716357" y="-6400"/>
                      <a:pt x="623039" y="1857"/>
                    </a:cubicBezTo>
                    <a:cubicBezTo>
                      <a:pt x="427128" y="19209"/>
                      <a:pt x="246335" y="152153"/>
                      <a:pt x="246335" y="152153"/>
                    </a:cubicBezTo>
                    <a:cubicBezTo>
                      <a:pt x="90675" y="144736"/>
                      <a:pt x="26233" y="265079"/>
                      <a:pt x="0" y="352805"/>
                    </a:cubicBezTo>
                    <a:lnTo>
                      <a:pt x="1177191" y="328285"/>
                    </a:lnTo>
                    <a:cubicBezTo>
                      <a:pt x="1187603" y="328069"/>
                      <a:pt x="1197924" y="328421"/>
                      <a:pt x="1208085" y="329362"/>
                    </a:cubicBezTo>
                    <a:close/>
                  </a:path>
                </a:pathLst>
              </a:custGeom>
              <a:grpFill/>
              <a:ln w="113414" cap="flat">
                <a:noFill/>
                <a:prstDash val="solid"/>
                <a:miter/>
              </a:ln>
            </p:spPr>
            <p:txBody>
              <a:bodyPr/>
              <a:lstStyle/>
              <a:p>
                <a:endParaRPr lang="en-US"/>
              </a:p>
            </p:txBody>
          </p:sp>
        </p:grpSp>
      </p:grpSp>
    </p:spTree>
    <p:extLst>
      <p:ext uri="{BB962C8B-B14F-4D97-AF65-F5344CB8AC3E}">
        <p14:creationId xmlns:p14="http://schemas.microsoft.com/office/powerpoint/2010/main" val="3107250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E40EA4C-6E7E-D929-164D-2B9AD62A407C}"/>
              </a:ext>
            </a:extLst>
          </p:cNvPr>
          <p:cNvGraphicFramePr>
            <a:graphicFrameLocks/>
          </p:cNvGraphicFramePr>
          <p:nvPr>
            <p:custDataLst>
              <p:tags r:id="rId1"/>
            </p:custDataLst>
            <p:extLst>
              <p:ext uri="{D42A27DB-BD31-4B8C-83A1-F6EECF244321}">
                <p14:modId xmlns:p14="http://schemas.microsoft.com/office/powerpoint/2010/main" val="2523363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think-cell data - do not delete" hidden="1">
                        <a:extLst>
                          <a:ext uri="{FF2B5EF4-FFF2-40B4-BE49-F238E27FC236}">
                            <a16:creationId xmlns:a16="http://schemas.microsoft.com/office/drawing/2014/main" id="{DE40EA4C-6E7E-D929-164D-2B9AD62A40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8B995A-64CF-120E-6933-923AEACD8E1D}"/>
              </a:ext>
            </a:extLst>
          </p:cNvPr>
          <p:cNvSpPr>
            <a:spLocks noGrp="1"/>
          </p:cNvSpPr>
          <p:nvPr>
            <p:ph type="ctrTitle"/>
          </p:nvPr>
        </p:nvSpPr>
        <p:spPr>
          <a:xfrm>
            <a:off x="304796" y="2286596"/>
            <a:ext cx="11582402" cy="2284807"/>
          </a:xfrm>
        </p:spPr>
        <p:txBody>
          <a:bodyPr vert="horz" rIns="91440">
            <a:normAutofit/>
          </a:bodyPr>
          <a:lstStyle/>
          <a:p>
            <a:r>
              <a:rPr lang="en-US"/>
              <a:t>Water</a:t>
            </a:r>
          </a:p>
        </p:txBody>
      </p:sp>
      <p:pic>
        <p:nvPicPr>
          <p:cNvPr id="6" name="Picture 5" descr="A green leaves on a black background&#10;&#10;Description automatically generated">
            <a:extLst>
              <a:ext uri="{FF2B5EF4-FFF2-40B4-BE49-F238E27FC236}">
                <a16:creationId xmlns:a16="http://schemas.microsoft.com/office/drawing/2014/main" id="{5BD082BC-0875-EE40-67B0-B74AB7FFC7CC}"/>
              </a:ext>
            </a:extLst>
          </p:cNvPr>
          <p:cNvPicPr>
            <a:picLocks noChangeAspect="1"/>
          </p:cNvPicPr>
          <p:nvPr/>
        </p:nvPicPr>
        <p:blipFill>
          <a:blip r:embed="rId5">
            <a:alphaModFix amt="8000"/>
            <a:extLst>
              <a:ext uri="{BEBA8EAE-BF5A-486C-A8C5-ECC9F3942E4B}">
                <a14:imgProps xmlns:a14="http://schemas.microsoft.com/office/drawing/2010/main">
                  <a14:imgLayer r:embed="rId6">
                    <a14:imgEffect>
                      <a14:brightnessContrast bright="-100000"/>
                    </a14:imgEffect>
                  </a14:imgLayer>
                </a14:imgProps>
              </a:ext>
            </a:extLst>
          </a:blip>
          <a:srcRect l="143" t="22843" r="1127" b="-347"/>
          <a:stretch>
            <a:fillRect/>
          </a:stretch>
        </p:blipFill>
        <p:spPr>
          <a:xfrm rot="20940000" flipH="1">
            <a:off x="-347445" y="-295347"/>
            <a:ext cx="3909087" cy="3380830"/>
          </a:xfrm>
          <a:custGeom>
            <a:avLst/>
            <a:gdLst>
              <a:gd name="csX0" fmla="*/ 0 w 3387264"/>
              <a:gd name="csY0" fmla="*/ 547729 h 2929524"/>
              <a:gd name="csX1" fmla="*/ 2817822 w 3387264"/>
              <a:gd name="csY1" fmla="*/ 0 h 2929524"/>
              <a:gd name="csX2" fmla="*/ 3387264 w 3387264"/>
              <a:gd name="csY2" fmla="*/ 2929524 h 2929524"/>
              <a:gd name="csX3" fmla="*/ 0 w 3387264"/>
              <a:gd name="csY3" fmla="*/ 2929524 h 2929524"/>
            </a:gdLst>
            <a:ahLst/>
            <a:cxnLst>
              <a:cxn ang="0">
                <a:pos x="csX0" y="csY0"/>
              </a:cxn>
              <a:cxn ang="0">
                <a:pos x="csX1" y="csY1"/>
              </a:cxn>
              <a:cxn ang="0">
                <a:pos x="csX2" y="csY2"/>
              </a:cxn>
              <a:cxn ang="0">
                <a:pos x="csX3" y="csY3"/>
              </a:cxn>
            </a:cxnLst>
            <a:rect l="l" t="t" r="r" b="b"/>
            <a:pathLst>
              <a:path w="3387264" h="2929524">
                <a:moveTo>
                  <a:pt x="0" y="547729"/>
                </a:moveTo>
                <a:lnTo>
                  <a:pt x="2817822" y="0"/>
                </a:lnTo>
                <a:lnTo>
                  <a:pt x="3387264" y="2929524"/>
                </a:lnTo>
                <a:lnTo>
                  <a:pt x="0" y="2929524"/>
                </a:lnTo>
                <a:close/>
              </a:path>
            </a:pathLst>
          </a:custGeom>
        </p:spPr>
      </p:pic>
      <p:pic>
        <p:nvPicPr>
          <p:cNvPr id="7" name="Picture 6" descr="A green leaves on a black background&#10;&#10;Description automatically generated">
            <a:extLst>
              <a:ext uri="{FF2B5EF4-FFF2-40B4-BE49-F238E27FC236}">
                <a16:creationId xmlns:a16="http://schemas.microsoft.com/office/drawing/2014/main" id="{C01247C3-8889-59AA-F775-DEAEF78F126E}"/>
              </a:ext>
            </a:extLst>
          </p:cNvPr>
          <p:cNvPicPr>
            <a:picLocks noChangeAspect="1"/>
          </p:cNvPicPr>
          <p:nvPr/>
        </p:nvPicPr>
        <p:blipFill rotWithShape="1">
          <a:blip r:embed="rId7">
            <a:alphaModFix amt="8000"/>
            <a:extLst>
              <a:ext uri="{BEBA8EAE-BF5A-486C-A8C5-ECC9F3942E4B}">
                <a14:imgProps xmlns:a14="http://schemas.microsoft.com/office/drawing/2010/main">
                  <a14:imgLayer r:embed="rId8">
                    <a14:imgEffect>
                      <a14:brightnessContrast bright="-100000"/>
                    </a14:imgEffect>
                  </a14:imgLayer>
                </a14:imgProps>
              </a:ext>
            </a:extLst>
          </a:blip>
          <a:srcRect b="14982"/>
          <a:stretch/>
        </p:blipFill>
        <p:spPr>
          <a:xfrm flipH="1">
            <a:off x="8244114" y="4113638"/>
            <a:ext cx="3947886" cy="2744362"/>
          </a:xfrm>
          <a:prstGeom prst="rect">
            <a:avLst/>
          </a:prstGeom>
        </p:spPr>
      </p:pic>
      <p:pic>
        <p:nvPicPr>
          <p:cNvPr id="9" name="Graphic 8">
            <a:extLst>
              <a:ext uri="{FF2B5EF4-FFF2-40B4-BE49-F238E27FC236}">
                <a16:creationId xmlns:a16="http://schemas.microsoft.com/office/drawing/2014/main" id="{2334C1AF-396D-AD8C-A8A6-63550702033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89550" y="820002"/>
            <a:ext cx="1612900" cy="1612900"/>
          </a:xfrm>
          <a:prstGeom prst="rect">
            <a:avLst/>
          </a:prstGeom>
        </p:spPr>
      </p:pic>
    </p:spTree>
    <p:extLst>
      <p:ext uri="{BB962C8B-B14F-4D97-AF65-F5344CB8AC3E}">
        <p14:creationId xmlns:p14="http://schemas.microsoft.com/office/powerpoint/2010/main" val="336173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7726CE5BAA9244C9987C4B2E450BFFD" ma:contentTypeVersion="20" ma:contentTypeDescription="Create a new document." ma:contentTypeScope="" ma:versionID="21f754c42cad6d0e38db9f60400a846c">
  <xsd:schema xmlns:xsd="http://www.w3.org/2001/XMLSchema" xmlns:xs="http://www.w3.org/2001/XMLSchema" xmlns:p="http://schemas.microsoft.com/office/2006/metadata/properties" xmlns:ns1="http://schemas.microsoft.com/sharepoint/v3" xmlns:ns2="d7077447-3598-4916-b6b1-69ae6445436e" xmlns:ns3="7b1e4d0a-2ac3-47a8-86da-de6d4f972a03" targetNamespace="http://schemas.microsoft.com/office/2006/metadata/properties" ma:root="true" ma:fieldsID="71ed0410ea0c0fc3688cba768d33b300" ns1:_="" ns2:_="" ns3:_="">
    <xsd:import namespace="http://schemas.microsoft.com/sharepoint/v3"/>
    <xsd:import namespace="d7077447-3598-4916-b6b1-69ae6445436e"/>
    <xsd:import namespace="7b1e4d0a-2ac3-47a8-86da-de6d4f972a0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element ref="ns2:MediaServiceBillingMetadata" minOccurs="0"/>
                <xsd:element ref="ns2:Date" minOccurs="0"/>
                <xsd:element ref="ns1:_dlc_Exempt" minOccurs="0"/>
                <xsd:element ref="ns1:_dlc_ExpireDateSaved" minOccurs="0"/>
                <xsd:element ref="ns1:_dlc_Expire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23" nillable="true" ma:displayName="Exempt from Policy" ma:hidden="true" ma:internalName="_dlc_Exempt" ma:readOnly="true">
      <xsd:simpleType>
        <xsd:restriction base="dms:Unknown"/>
      </xsd:simpleType>
    </xsd:element>
    <xsd:element name="_dlc_ExpireDateSaved" ma:index="24" nillable="true" ma:displayName="Original Expiration Date" ma:hidden="true" ma:internalName="_dlc_ExpireDateSaved" ma:readOnly="true">
      <xsd:simpleType>
        <xsd:restriction base="dms:DateTime"/>
      </xsd:simpleType>
    </xsd:element>
    <xsd:element name="_dlc_ExpireDate" ma:index="25"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7077447-3598-4916-b6b1-69ae644543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Location" ma:index="16" nillable="true" ma:displayName="Location" ma:indexed="true" ma:internalName="MediaServiceLocatio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d6d14119-9ae9-4cc6-a406-008d392c1a1c"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BillingMetadata" ma:index="21" nillable="true" ma:displayName="MediaServiceBillingMetadata" ma:hidden="true" ma:internalName="MediaServiceBillingMetadata" ma:readOnly="true">
      <xsd:simpleType>
        <xsd:restriction base="dms:Note"/>
      </xsd:simpleType>
    </xsd:element>
    <xsd:element name="Date" ma:index="22" nillable="true" ma:displayName="Date" ma:default="[today]" ma:format="DateOnly" ma:internalNam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b1e4d0a-2ac3-47a8-86da-de6d4f972a03"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f2e92943-0682-4d32-9feb-cfdcb33c5110}" ma:internalName="TaxCatchAll" ma:showField="CatchAllData" ma:web="7b1e4d0a-2ac3-47a8-86da-de6d4f972a0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p:Policy xmlns:p="office.server.policy" id="" local="true">
  <p:Name>Document</p:Name>
  <p:Description/>
  <p:Statement/>
  <p:PolicyItems>
    <p:PolicyItem featureId="Microsoft.Office.RecordsManagement.PolicyFeatures.Expiration" staticId="0x01010007726CE5BAA9244C9987C4B2E450BFFD|-369733750" UniqueId="302e9ec1-c298-49b4-b57d-26e52c8687ad">
      <p:Name>Retention</p:Name>
      <p:Description>Automatic scheduling of content for processing, and performing a retention action on content that has reached its due date.</p:Description>
      <p:CustomData>
        <Schedules nextStageId="2">
          <Schedule type="Default">
            <stages>
              <data stageId="1" recur="true" offset="7" unit="days">
                <formula id="Microsoft.Office.RecordsManagement.PolicyFeatures.Expiration.Formula.BuiltIn">
                  <number>30</number>
                  <property>Modified</property>
                  <propertyId>28cf69c5-fa48-462a-b5cd-27b6f9d2bd5f</propertyId>
                  <period>days</period>
                </formula>
                <action type="action" id="Microsoft.Office.RecordsManagement.PolicyFeatures.Expiration.Action.DeletePreviousVersions"/>
              </data>
            </stages>
          </Schedule>
        </Schedules>
      </p:CustomData>
    </p:PolicyItem>
  </p:PolicyItems>
</p:Policy>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d7077447-3598-4916-b6b1-69ae6445436e">
      <Terms xmlns="http://schemas.microsoft.com/office/infopath/2007/PartnerControls"/>
    </lcf76f155ced4ddcb4097134ff3c332f>
    <TaxCatchAll xmlns="7b1e4d0a-2ac3-47a8-86da-de6d4f972a03" xsi:nil="true"/>
    <Date xmlns="d7077447-3598-4916-b6b1-69ae6445436e">2026-06-29T09:39:06+00:00</Date>
    <_dlc_ExpireDateSaved xmlns="http://schemas.microsoft.com/sharepoint/v3" xsi:nil="true"/>
    <_dlc_ExpireDate xmlns="http://schemas.microsoft.com/sharepoint/v3">2026-07-29T14:37:12+00:00</_dlc_ExpireDate>
  </documentManagement>
</p:properties>
</file>

<file path=customXml/item5.xml><?xml version="1.0" encoding="utf-8"?>
<?mso-contentType ?>
<PolicyDirtyBag xmlns="microsoft.office.server.policy.changes">
  <Microsoft.Office.RecordsManagement.PolicyFeatures.Expiration op="Change"/>
</PolicyDirtyBag>
</file>

<file path=customXml/itemProps1.xml><?xml version="1.0" encoding="utf-8"?>
<ds:datastoreItem xmlns:ds="http://schemas.openxmlformats.org/officeDocument/2006/customXml" ds:itemID="{0B7E13FC-7D68-463E-8C29-B7CFE5927372}">
  <ds:schemaRefs>
    <ds:schemaRef ds:uri="7b1e4d0a-2ac3-47a8-86da-de6d4f972a03"/>
    <ds:schemaRef ds:uri="d7077447-3598-4916-b6b1-69ae6445436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4FCF79C-FF8C-40E8-BAAE-AC41127B8C38}">
  <ds:schemaRefs>
    <ds:schemaRef ds:uri="http://schemas.microsoft.com/sharepoint/v3/contenttype/forms"/>
  </ds:schemaRefs>
</ds:datastoreItem>
</file>

<file path=customXml/itemProps3.xml><?xml version="1.0" encoding="utf-8"?>
<ds:datastoreItem xmlns:ds="http://schemas.openxmlformats.org/officeDocument/2006/customXml" ds:itemID="{63DFFD8E-333D-460C-88F9-39EE7EC40C46}">
  <ds:schemaRefs>
    <ds:schemaRef ds:uri="office.server.policy"/>
  </ds:schemaRefs>
</ds:datastoreItem>
</file>

<file path=customXml/itemProps4.xml><?xml version="1.0" encoding="utf-8"?>
<ds:datastoreItem xmlns:ds="http://schemas.openxmlformats.org/officeDocument/2006/customXml" ds:itemID="{96E741FD-624B-477A-9BF6-82CBDA985F57}">
  <ds:schemaRefs>
    <ds:schemaRef ds:uri="http://purl.org/dc/terms/"/>
    <ds:schemaRef ds:uri="http://purl.org/dc/elements/1.1/"/>
    <ds:schemaRef ds:uri="http://www.w3.org/XML/1998/namespace"/>
    <ds:schemaRef ds:uri="http://purl.org/dc/dcmitype/"/>
    <ds:schemaRef ds:uri="http://schemas.microsoft.com/office/2006/documentManagement/types"/>
    <ds:schemaRef ds:uri="7b1e4d0a-2ac3-47a8-86da-de6d4f972a03"/>
    <ds:schemaRef ds:uri="http://schemas.microsoft.com/office/infopath/2007/PartnerControls"/>
    <ds:schemaRef ds:uri="http://schemas.openxmlformats.org/package/2006/metadata/core-properties"/>
    <ds:schemaRef ds:uri="d7077447-3598-4916-b6b1-69ae6445436e"/>
    <ds:schemaRef ds:uri="http://schemas.microsoft.com/sharepoint/v3"/>
    <ds:schemaRef ds:uri="http://schemas.microsoft.com/office/2006/metadata/properties"/>
  </ds:schemaRefs>
</ds:datastoreItem>
</file>

<file path=customXml/itemProps5.xml><?xml version="1.0" encoding="utf-8"?>
<ds:datastoreItem xmlns:ds="http://schemas.openxmlformats.org/officeDocument/2006/customXml" ds:itemID="{BB5B8200-ED8B-456D-BEED-433E2967DE19}">
  <ds:schemaRefs>
    <ds:schemaRef ds:uri="microsoft.office.server.policy.changes"/>
  </ds:schemaRefs>
</ds:datastoreItem>
</file>

<file path=docMetadata/LabelInfo.xml><?xml version="1.0" encoding="utf-8"?>
<clbl:labelList xmlns:clbl="http://schemas.microsoft.com/office/2020/mipLabelMetadata">
  <clbl:label id="{42cc3295-cd0e-449c-b98e-5ce5b560c1d3}" enabled="0" method="" siteId="{42cc3295-cd0e-449c-b98e-5ce5b560c1d3}" removed="1"/>
</clbl:labelList>
</file>

<file path=docProps/app.xml><?xml version="1.0" encoding="utf-8"?>
<Properties xmlns="http://schemas.openxmlformats.org/officeDocument/2006/extended-properties" xmlns:vt="http://schemas.openxmlformats.org/officeDocument/2006/docPropsVTypes">
  <Template/>
  <TotalTime>0</TotalTime>
  <Words>1680</Words>
  <Application>Microsoft Office PowerPoint</Application>
  <PresentationFormat>Widescreen</PresentationFormat>
  <Paragraphs>98</Paragraphs>
  <Slides>14</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Arial Narrow</vt:lpstr>
      <vt:lpstr>Calibri</vt:lpstr>
      <vt:lpstr>Gilroy Medium</vt:lpstr>
      <vt:lpstr>GT Pressura LCG Black</vt:lpstr>
      <vt:lpstr>Office Theme</vt:lpstr>
      <vt:lpstr>think-cell Slide</vt:lpstr>
      <vt:lpstr>SUSTAINABILITY GLOSSARY </vt:lpstr>
      <vt:lpstr>General</vt:lpstr>
      <vt:lpstr>GENERAL</vt:lpstr>
      <vt:lpstr>Carbon &amp; Energy</vt:lpstr>
      <vt:lpstr>CARBON &amp; ENERGY</vt:lpstr>
      <vt:lpstr>CARBON &amp; ENERGY</vt:lpstr>
      <vt:lpstr>Nature &amp; Agriculture</vt:lpstr>
      <vt:lpstr>NATURE AND AGRICULTURE</vt:lpstr>
      <vt:lpstr>Water</vt:lpstr>
      <vt:lpstr>WATER</vt:lpstr>
      <vt:lpstr>Packaging</vt:lpstr>
      <vt:lpstr>PACKAGING</vt:lpstr>
      <vt:lpstr>Waste &amp; Circularity</vt:lpstr>
      <vt:lpstr>WASTE &amp; CIRCULAR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ndows User</dc:creator>
  <cp:lastModifiedBy>Popowski, Nicole {PEP}</cp:lastModifiedBy>
  <cp:revision>4</cp:revision>
  <dcterms:created xsi:type="dcterms:W3CDTF">2020-09-30T06:22:14Z</dcterms:created>
  <dcterms:modified xsi:type="dcterms:W3CDTF">2026-07-01T16:3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726CE5BAA9244C9987C4B2E450BFFD</vt:lpwstr>
  </property>
  <property fmtid="{D5CDD505-2E9C-101B-9397-08002B2CF9AE}" pid="3" name="_dlc_policyId">
    <vt:lpwstr>0x01010007726CE5BAA9244C9987C4B2E450BFFD|-369733750</vt:lpwstr>
  </property>
  <property fmtid="{D5CDD505-2E9C-101B-9397-08002B2CF9AE}" pid="4"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y fmtid="{D5CDD505-2E9C-101B-9397-08002B2CF9AE}" pid="5" name="MediaServiceImageTags">
    <vt:lpwstr/>
  </property>
</Properties>
</file>